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</p:sldMasterIdLst>
  <p:notesMasterIdLst>
    <p:notesMasterId r:id="rId19"/>
  </p:notesMasterIdLst>
  <p:sldIdLst>
    <p:sldId id="6130" r:id="rId2"/>
    <p:sldId id="256" r:id="rId3"/>
    <p:sldId id="2134806341" r:id="rId4"/>
    <p:sldId id="2134806342" r:id="rId5"/>
    <p:sldId id="2134806343" r:id="rId6"/>
    <p:sldId id="2134806346" r:id="rId7"/>
    <p:sldId id="2134806338" r:id="rId8"/>
    <p:sldId id="2134806340" r:id="rId9"/>
    <p:sldId id="2134806348" r:id="rId10"/>
    <p:sldId id="2134806358" r:id="rId11"/>
    <p:sldId id="2134806350" r:id="rId12"/>
    <p:sldId id="2134806351" r:id="rId13"/>
    <p:sldId id="2134806352" r:id="rId14"/>
    <p:sldId id="2134806334" r:id="rId15"/>
    <p:sldId id="2134806333" r:id="rId16"/>
    <p:sldId id="2134806335" r:id="rId17"/>
    <p:sldId id="2134806336" r:id="rId1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03A10FD-5BB5-4C1F-8FF1-9D87EF6BC5CF}">
          <p14:sldIdLst>
            <p14:sldId id="6130"/>
            <p14:sldId id="256"/>
            <p14:sldId id="2134806341"/>
            <p14:sldId id="2134806342"/>
            <p14:sldId id="2134806343"/>
            <p14:sldId id="2134806346"/>
            <p14:sldId id="2134806338"/>
            <p14:sldId id="2134806340"/>
            <p14:sldId id="2134806348"/>
            <p14:sldId id="2134806358"/>
            <p14:sldId id="2134806350"/>
            <p14:sldId id="2134806351"/>
            <p14:sldId id="2134806352"/>
            <p14:sldId id="2134806334"/>
            <p14:sldId id="2134806333"/>
            <p14:sldId id="2134806335"/>
            <p14:sldId id="21348063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stasiya Zatsepina" initials="AZ" lastIdx="2" clrIdx="0">
    <p:extLst>
      <p:ext uri="{19B8F6BF-5375-455C-9EA6-DF929625EA0E}">
        <p15:presenceInfo xmlns:p15="http://schemas.microsoft.com/office/powerpoint/2012/main" userId="S-1-5-21-3869924688-3661338636-2919006879-16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DEEF4"/>
    <a:srgbClr val="D6DCE5"/>
    <a:srgbClr val="7FBB48"/>
    <a:srgbClr val="F4F4F4"/>
    <a:srgbClr val="E7E6E6"/>
    <a:srgbClr val="76AF3E"/>
    <a:srgbClr val="EDEEF3"/>
    <a:srgbClr val="70AD47"/>
    <a:srgbClr val="B430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40" autoAdjust="0"/>
    <p:restoredTop sz="82930" autoAdjust="0"/>
  </p:normalViewPr>
  <p:slideViewPr>
    <p:cSldViewPr snapToGrid="0">
      <p:cViewPr varScale="1">
        <p:scale>
          <a:sx n="92" d="100"/>
          <a:sy n="92" d="100"/>
        </p:scale>
        <p:origin x="38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2D0FAD-F232-4A9B-9601-E96FF69726DB}" type="datetimeFigureOut">
              <a:rPr lang="ru-RU" smtClean="0"/>
              <a:t>31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A991F2-0CF9-4B74-B010-C68768659D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27603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62567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10226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Z-SPM </a:t>
            </a:r>
            <a:r>
              <a:rPr lang="ru-RU" dirty="0"/>
              <a:t>можно использовать в качестве самостоятельного продукта, но также его потенциал в том, что продукт обеспечивает реализацию эффектов от других продуктов, разработанных ЦИП или самостоятельно. Это происходит за счет того, что </a:t>
            </a:r>
            <a:r>
              <a:rPr lang="en-US" dirty="0"/>
              <a:t>SPM</a:t>
            </a:r>
            <a:r>
              <a:rPr lang="ru-RU" dirty="0"/>
              <a:t> позволяет донести полученные при расчетах </a:t>
            </a:r>
            <a:r>
              <a:rPr lang="ru-RU" dirty="0">
                <a:solidFill>
                  <a:srgbClr val="70AD47"/>
                </a:solidFill>
              </a:rPr>
              <a:t>д</a:t>
            </a:r>
            <a:r>
              <a:rPr lang="ru-RU" dirty="0"/>
              <a:t>анные до ключевых исполнителей с последующим контролем исполнения и мониторингом показателей эффективности. В частности, такую связку обеспечивает модуль СУС (система управления событиями), позволяющая регистрировать отклонения от рассчитанных другими продуктами норм и режимов, а далее – обеспечивать исполнение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23851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качестве примера предлагаем рассмотреть сценарий взаимодействия с </a:t>
            </a:r>
            <a:r>
              <a:rPr lang="en-US" dirty="0"/>
              <a:t>Z-EFAA</a:t>
            </a:r>
            <a:endParaRPr lang="ru-RU" dirty="0"/>
          </a:p>
          <a:p>
            <a:r>
              <a:rPr lang="ru-RU" dirty="0"/>
              <a:t>По аналогичному принципу работы может строиться взаимодействие между любыми производственными направлениями</a:t>
            </a:r>
          </a:p>
          <a:p>
            <a:endParaRPr lang="ru-RU" dirty="0"/>
          </a:p>
          <a:p>
            <a:r>
              <a:rPr lang="ru-RU" dirty="0"/>
              <a:t>Состав </a:t>
            </a:r>
            <a:r>
              <a:rPr lang="en-US" dirty="0"/>
              <a:t>Z-SPM</a:t>
            </a:r>
            <a:r>
              <a:rPr lang="ru-RU" dirty="0"/>
              <a:t>:</a:t>
            </a:r>
          </a:p>
          <a:p>
            <a:r>
              <a:rPr lang="ru-RU" dirty="0"/>
              <a:t>СУС – система управления событиями. </a:t>
            </a:r>
          </a:p>
          <a:p>
            <a:r>
              <a:rPr lang="ru-RU" dirty="0"/>
              <a:t>ЭЖКО – электронный журнал контроля операций</a:t>
            </a:r>
          </a:p>
          <a:p>
            <a:r>
              <a:rPr lang="ru-RU" dirty="0"/>
              <a:t>КПЭ – ключевые показатели эффективност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02005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18079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дукт является новым для компании, поэтому активных клиентов еще немного. Однако, сейчас продукт находится в ОПЭ на предприятиях ГПН, в активной стадии внедрения на предприятиях </a:t>
            </a:r>
            <a:r>
              <a:rPr lang="ru-RU" dirty="0" err="1"/>
              <a:t>Сибура</a:t>
            </a:r>
            <a:r>
              <a:rPr lang="ru-RU" dirty="0"/>
              <a:t> и Белоруснефти, а также успешно был реализован пилот на предприятии </a:t>
            </a:r>
            <a:r>
              <a:rPr lang="ru-RU" dirty="0" err="1"/>
              <a:t>Еврохим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6266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0D9FF-1E11-E845-B1C5-BCE6F5E04F9D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5556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i="0" dirty="0"/>
              <a:t>Основной проблемой типового НПЗ/НХП является отклонение от оптимального плана производства в среднем на 6%, что приводит к общей исполнимости в 94% (*по оценке крупной нефтеперерабатывающей компании)</a:t>
            </a:r>
          </a:p>
          <a:p>
            <a:r>
              <a:rPr lang="ru-RU" i="0" dirty="0"/>
              <a:t>Источниками такой проблемы являются: </a:t>
            </a:r>
          </a:p>
          <a:p>
            <a:pPr marL="228600" indent="-228600">
              <a:buAutoNum type="arabicPeriod"/>
            </a:pPr>
            <a:r>
              <a:rPr lang="ru-RU" i="0" dirty="0"/>
              <a:t>Задержка в обработке событий по отклонениям и принятиям решений по ним до 3-х суток. Это связано с тем, что управляющий персонал на заводах и предприятиях работает по классическому графику 5/2. Завод же с производственным персоналом работают 24/7. В следствие этого, если требуется согласование/ответ руководителя по какому-либо отклонению, его нельзя отработать до выхода руководителя, что является одной из причин снижения исполнимости оптимального плана производства</a:t>
            </a:r>
          </a:p>
          <a:p>
            <a:pPr marL="228600" indent="-228600">
              <a:buAutoNum type="arabicPeriod"/>
            </a:pPr>
            <a:r>
              <a:rPr lang="ru-RU" i="0" dirty="0"/>
              <a:t>Процесс принятия решения по иерархии. Здесь мы говорим о функциональных колодцах, которые существуют на типовых НПЗ и НХП. </a:t>
            </a:r>
            <a:r>
              <a:rPr lang="ru-RU" sz="12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пример, технологи с энергетиками зачастую напрямую не взаимодействуют. Процесс принятия решений идет по иерархиям. Если есть какая-то проблема, то технолог выносит ее вплоть до уровня руководителя. На каждом уровне принимается своя часть решения, потом это спускается к энергетикам и там проходит аналогичная процедура. Т.е. здесь мы имеем потенциал в скорости принятия решений, поскольку низкая скорость в принятии решений несет за собой снижение эффективности актива, и, как следствие, снижение исполнимости оптимального плана производства</a:t>
            </a:r>
          </a:p>
          <a:p>
            <a:pPr marL="228600" indent="-228600">
              <a:buAutoNum type="arabicPeriod"/>
            </a:pPr>
            <a:r>
              <a:rPr lang="ru-RU" sz="12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тсутствие процесса управления отклонениями. С критичными отклонениями процесс работы является более четким и быстрым, но также имеет место фактор времени, за которое отрабатывается событие, зачастую оно сильно различается от смены к смене. На предприятиях также могут происходить так называемые микро-отклонения, которые могут не идентифицировать/не отрабатывать и прочее. При большом количестве и отсутствии реагирования такие события могут влиять на исполнение оптимального плана. </a:t>
            </a:r>
          </a:p>
          <a:p>
            <a:pPr marL="228600" indent="-228600">
              <a:buAutoNum type="arabicPeriod"/>
            </a:pPr>
            <a:r>
              <a:rPr lang="ru-RU" sz="12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зрозненность и непрозрачность фактических данных для передачи заинтересованным лицам. Здесь мы снова возвращаемся к функциональным колодцам, о которых говорили в п 2, но уже с другой стороны. Тут хочется сделать акцент на обмен данными и коммуникацию между подразделениями, которые на типовом предприятии происходят при помощи звонков, что отвлекает исполнителей и задерживает работу над отклонениями</a:t>
            </a:r>
          </a:p>
          <a:p>
            <a:pPr marL="0" indent="0">
              <a:buNone/>
            </a:pPr>
            <a:r>
              <a:rPr lang="ru-RU" sz="12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уммарно все перечисленные причины приводят к разрыву между оптимальным планом и фактом производства, что приводит компанию к финансовым потерям. По нашим подсчетам, компания, мощностью переработки в 10 млн т/год, если не снижает загрузку производства, то теряет 15% от стоимости продук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46314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думать, как обосновать цифры</a:t>
            </a:r>
            <a:br>
              <a:rPr lang="ru-RU" dirty="0"/>
            </a:br>
            <a:br>
              <a:rPr lang="ru-RU" dirty="0"/>
            </a:br>
            <a:r>
              <a:rPr lang="ru-RU" dirty="0"/>
              <a:t>Мы предлагаем перейти к событийному управлению производством, объединив направления исполнимости, качества, энергетики и безопасности единым решением. </a:t>
            </a:r>
          </a:p>
          <a:p>
            <a:pPr algn="l"/>
            <a:endParaRPr lang="ru-RU" dirty="0"/>
          </a:p>
          <a:p>
            <a:pPr algn="l"/>
            <a:r>
              <a:rPr lang="ru-RU" dirty="0"/>
              <a:t>В качестве решения:</a:t>
            </a:r>
          </a:p>
          <a:p>
            <a:r>
              <a:rPr lang="ru-RU" dirty="0"/>
              <a:t>1.Интеграция со смежными системами для оперативной передачи отклонений по перечисленным направлениям. </a:t>
            </a:r>
          </a:p>
          <a:p>
            <a:r>
              <a:rPr lang="ru-RU" dirty="0"/>
              <a:t>2.Выявление и отправка данных по всем необходимым отклонениям в систему </a:t>
            </a:r>
          </a:p>
          <a:p>
            <a:r>
              <a:rPr lang="ru-RU" dirty="0"/>
              <a:t>3.Сквозной процесс управления полученными отклонениями</a:t>
            </a:r>
          </a:p>
          <a:p>
            <a:r>
              <a:rPr lang="ru-RU" dirty="0"/>
              <a:t>4.Мониторинг Ключевых Показателей Эффективности по направлениям исполнимости, безопасности, энергоэффективности и качеству в режиме, близкому к режиму реального времени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В совокупности, использование предлагаемого подхода позволяет </a:t>
            </a:r>
          </a:p>
          <a:p>
            <a:r>
              <a:rPr lang="ru-RU" dirty="0"/>
              <a:t>1.Сократить отклонения от оптимального плана производства</a:t>
            </a:r>
          </a:p>
          <a:p>
            <a:r>
              <a:rPr lang="ru-RU" dirty="0"/>
              <a:t>2.Ускорить принятие решений и реагирование на отклонения</a:t>
            </a:r>
          </a:p>
          <a:p>
            <a:r>
              <a:rPr lang="ru-RU" dirty="0"/>
              <a:t>3.Усилить эффекты продуктов и приложений </a:t>
            </a:r>
            <a:r>
              <a:rPr lang="en-US" dirty="0"/>
              <a:t>MES</a:t>
            </a:r>
            <a:r>
              <a:rPr lang="ru-RU" dirty="0"/>
              <a:t>, разработанных ЦИП или самостоятельно.</a:t>
            </a:r>
          </a:p>
          <a:p>
            <a:r>
              <a:rPr lang="ru-RU" dirty="0"/>
              <a:t>Что приведет к увеличению исполнимости оптимального плана производства на 0,1-1%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5646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/>
              <a:t>Тк</a:t>
            </a:r>
            <a:r>
              <a:rPr lang="ru-RU" dirty="0"/>
              <a:t> мы говорим об устранении отклонений, исполнении диспетчерских зданий и распоряжений, то мы обязаны принять во внимание то, что главным драйвером для достижения исполнимости оптимального плана производства является человек. Недостаточно будет просто идентифицировать отклонения и сказать, что они есть. Всем событиям необходимо обеспечить управляемость и исполнимость.</a:t>
            </a:r>
          </a:p>
          <a:p>
            <a:r>
              <a:rPr lang="ru-RU" dirty="0"/>
              <a:t>К сожалению, на этом уровне также существуют свои недостатки, которые мешают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стижению</a:t>
            </a:r>
            <a:r>
              <a:rPr lang="ru-RU" dirty="0"/>
              <a:t> целевых показателей:</a:t>
            </a:r>
          </a:p>
          <a:p>
            <a:r>
              <a:rPr lang="ru-RU" dirty="0"/>
              <a:t>1.Отсутствие прозрачного контроля выполнения диспетчерских заданий</a:t>
            </a:r>
          </a:p>
          <a:p>
            <a:r>
              <a:rPr lang="ru-RU" dirty="0"/>
              <a:t>2.Риск потери информации по время приема-передачи смены</a:t>
            </a:r>
          </a:p>
          <a:p>
            <a:r>
              <a:rPr lang="ru-RU" dirty="0"/>
              <a:t>3.Несколько источников диспетчерских заданий, которые приводят к непониманию приоритетов выполнения или игнорированию </a:t>
            </a:r>
          </a:p>
          <a:p>
            <a:r>
              <a:rPr lang="ru-RU" dirty="0"/>
              <a:t>4.Разная скорость реакции на события из-за персональных особенностей</a:t>
            </a:r>
          </a:p>
          <a:p>
            <a:r>
              <a:rPr lang="ru-RU" dirty="0"/>
              <a:t>5.Большой неуправляемый поток диспетчерских заданий</a:t>
            </a:r>
          </a:p>
          <a:p>
            <a:r>
              <a:rPr lang="ru-RU" dirty="0"/>
              <a:t>Все это является причинами появления микро-отклонений, которые даже с учетом системы мониторинга событий не позволят достичь целевых показателей по плану производства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2139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аким образом, мы приходим к тому, что помимо системы мониторинга событий необходима система, которая будет также обеспечивать управляемость событий, диспетчерских заданий и распоряжений. </a:t>
            </a:r>
          </a:p>
          <a:p>
            <a:r>
              <a:rPr lang="ru-RU" dirty="0"/>
              <a:t>Благодаря такой синергии будет возможно обеспечить</a:t>
            </a:r>
          </a:p>
          <a:p>
            <a:pPr marL="171450" indent="-171450">
              <a:buFontTx/>
              <a:buChar char="-"/>
            </a:pPr>
            <a:r>
              <a:rPr lang="ru-RU" dirty="0"/>
              <a:t>Прозрачный контроль выполнения диспетчерских заданий и распоряжений</a:t>
            </a:r>
          </a:p>
          <a:p>
            <a:pPr marL="171450" indent="-171450">
              <a:buFontTx/>
              <a:buChar char="-"/>
            </a:pPr>
            <a:r>
              <a:rPr lang="ru-RU" dirty="0"/>
              <a:t>Передачу информации по отклонениям и незакрытым заданиям между сменами без потери данных</a:t>
            </a:r>
          </a:p>
          <a:p>
            <a:pPr marL="171450" indent="-171450">
              <a:buFontTx/>
              <a:buChar char="-"/>
            </a:pPr>
            <a:r>
              <a:rPr lang="ru-RU" dirty="0"/>
              <a:t>Единый источник диспетчерских заданий и списка отклонений с доступом для всех заинтересованных лиц</a:t>
            </a:r>
          </a:p>
          <a:p>
            <a:pPr marL="171450" indent="-171450">
              <a:buFontTx/>
              <a:buChar char="-"/>
            </a:pPr>
            <a:r>
              <a:rPr lang="ru-RU" dirty="0"/>
              <a:t>Достижение единой скорости реакции на события</a:t>
            </a:r>
          </a:p>
          <a:p>
            <a:pPr marL="171450" indent="-171450">
              <a:buFontTx/>
              <a:buChar char="-"/>
            </a:pPr>
            <a:r>
              <a:rPr lang="ru-RU" dirty="0"/>
              <a:t>Управляемый поток заданий с фиксацией изменений и ответственными </a:t>
            </a:r>
          </a:p>
          <a:p>
            <a:pPr marL="0" indent="0">
              <a:buFontTx/>
              <a:buNone/>
            </a:pPr>
            <a:r>
              <a:rPr lang="ru-RU" dirty="0"/>
              <a:t>Достигая таким образом максимальный эффект</a:t>
            </a:r>
          </a:p>
          <a:p>
            <a:pPr marL="0" indent="0">
              <a:buFontTx/>
              <a:buNone/>
            </a:pPr>
            <a:endParaRPr lang="ru-RU" dirty="0"/>
          </a:p>
          <a:p>
            <a:pPr marL="0" indent="0">
              <a:buFontTx/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3269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ru-RU" dirty="0"/>
              <a:t>Все предложенные мероприятия напрямую влияют на работу предприятия</a:t>
            </a:r>
          </a:p>
          <a:p>
            <a:pPr marL="0" indent="0">
              <a:buFontTx/>
              <a:buNone/>
            </a:pPr>
            <a:r>
              <a:rPr lang="ru-RU" dirty="0"/>
              <a:t>Производственному и управляющему персоналу важно понимать, насколько эффективно и как быстро дает результат переход на событийное управление и повышение таким образом управляемости отклонениями и распоряжениями</a:t>
            </a:r>
          </a:p>
          <a:p>
            <a:pPr marL="0" indent="0">
              <a:buFontTx/>
              <a:buNone/>
            </a:pPr>
            <a:r>
              <a:rPr lang="ru-RU" dirty="0"/>
              <a:t>Появляется еще одна задача – отслеживать эффективность предлагаемых мероприяти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90104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ru-RU" dirty="0"/>
              <a:t>Задачу мониторинга эффективности предпринятых мер выполняют ключевые показатели эффективности (КПЭ) производства. Система должна обеспечивать расчет, мониторинг и визуализацию информацию по основным 4-м направлениям КПЭ – исполнимости, безопасности, энергоэффективности и качеству. Также система должна быть источником отклонений от норм по загрузке мощностей, выработке продуктов и их качества, чтобы передавать информацию производственному персоналу для реагирования. Таким образом, мы имеем возможность замкнуть цикл событийного управления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2522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качестве решения, которое позволит решить все перечисленные проблемы, а также позволит исключить причины этих проблем мы предлагаем </a:t>
            </a:r>
            <a:r>
              <a:rPr lang="en-US" dirty="0"/>
              <a:t>Z-SPM</a:t>
            </a:r>
            <a:endParaRPr lang="ru-RU" dirty="0"/>
          </a:p>
          <a:p>
            <a:r>
              <a:rPr lang="en-US" dirty="0"/>
              <a:t>Z-SPM</a:t>
            </a:r>
            <a:r>
              <a:rPr lang="ru-RU" dirty="0"/>
              <a:t> это инструмент, который позволяет решить следующие задачи: </a:t>
            </a:r>
          </a:p>
          <a:p>
            <a:pPr marL="228600" indent="-228600">
              <a:buAutoNum type="arabicPeriod"/>
            </a:pPr>
            <a:r>
              <a:rPr lang="ru-RU" dirty="0"/>
              <a:t>Мониторинг отклонений на предприятии</a:t>
            </a:r>
          </a:p>
          <a:p>
            <a:pPr marL="228600" indent="-228600">
              <a:buAutoNum type="arabicPeriod"/>
            </a:pPr>
            <a:r>
              <a:rPr lang="ru-RU" dirty="0"/>
              <a:t>Иметь единый источник мониторинга диспетчерских заданий и отклонений</a:t>
            </a:r>
          </a:p>
          <a:p>
            <a:pPr marL="228600" indent="-228600">
              <a:buAutoNum type="arabicPeriod"/>
            </a:pPr>
            <a:r>
              <a:rPr lang="ru-RU" dirty="0"/>
              <a:t>Обеспечить управляемость отклонениями и диспетчерскими заданиями в рамках смен</a:t>
            </a:r>
          </a:p>
          <a:p>
            <a:pPr marL="228600" indent="-228600">
              <a:buAutoNum type="arabicPeriod"/>
            </a:pPr>
            <a:r>
              <a:rPr lang="ru-RU" dirty="0"/>
              <a:t>Обеспечить единым источником данных всех заинтересованных лиц 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За счет выполнения этих задач, </a:t>
            </a:r>
            <a:r>
              <a:rPr lang="en-US" dirty="0"/>
              <a:t>SPM</a:t>
            </a:r>
            <a:r>
              <a:rPr lang="ru-RU" dirty="0"/>
              <a:t>:</a:t>
            </a:r>
          </a:p>
          <a:p>
            <a:pPr marL="228600" indent="-228600">
              <a:buAutoNum type="arabicPeriod"/>
            </a:pPr>
            <a:r>
              <a:rPr lang="ru-RU" dirty="0"/>
              <a:t>Обеспечивает минимальное расхождение между планом и фактом производства</a:t>
            </a:r>
          </a:p>
          <a:p>
            <a:pPr marL="228600" indent="-228600">
              <a:buAutoNum type="arabicPeriod"/>
            </a:pPr>
            <a:r>
              <a:rPr lang="ru-RU" dirty="0"/>
              <a:t>Ускоряет принятие решений и реагирование на отклонения</a:t>
            </a:r>
          </a:p>
          <a:p>
            <a:pPr marL="228600" indent="-228600">
              <a:buAutoNum type="arabicPeriod"/>
            </a:pPr>
            <a:r>
              <a:rPr lang="ru-RU" dirty="0"/>
              <a:t>Усиливает эффекты продуктов и приложений </a:t>
            </a:r>
            <a:r>
              <a:rPr lang="en-US" dirty="0"/>
              <a:t>MES</a:t>
            </a:r>
            <a:r>
              <a:rPr lang="ru-RU" dirty="0"/>
              <a:t>, разработанных ЦИП или самостоятельно</a:t>
            </a:r>
          </a:p>
          <a:p>
            <a:pPr marL="228600" indent="-228600">
              <a:buAutoNum type="arabicPeriod"/>
            </a:pPr>
            <a:endParaRPr lang="ru-RU" dirty="0"/>
          </a:p>
          <a:p>
            <a:pPr marL="0" indent="0">
              <a:buNone/>
            </a:pPr>
            <a:r>
              <a:rPr lang="ru-RU" dirty="0"/>
              <a:t>Как итог, мы получаем увеличение исполнимости оптимального плана производства на 0,1-1%, что приводит к эффекту от 70 млн </a:t>
            </a:r>
            <a:r>
              <a:rPr lang="ru-RU" dirty="0" err="1"/>
              <a:t>руб</a:t>
            </a:r>
            <a:r>
              <a:rPr lang="ru-RU" dirty="0"/>
              <a:t> в год в зависимости от мощности переработки предприятия</a:t>
            </a:r>
          </a:p>
          <a:p>
            <a:pPr marL="0" indent="0">
              <a:buNone/>
            </a:pPr>
            <a:r>
              <a:rPr lang="ru-RU" dirty="0"/>
              <a:t>При стоимости внедрения примерно 100 млн р и средней стоимости лицензии в 20 млн р затраты на покупку продукта окупятся примерно за 2 года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Расчет: </a:t>
            </a:r>
          </a:p>
          <a:p>
            <a:pPr marL="0" indent="0">
              <a:buNone/>
            </a:pPr>
            <a:r>
              <a:rPr lang="ru-RU" dirty="0"/>
              <a:t>Годовая мощность переработки: 10 млн т/год</a:t>
            </a:r>
          </a:p>
          <a:p>
            <a:pPr marL="0" indent="0">
              <a:buNone/>
            </a:pPr>
            <a:r>
              <a:rPr lang="ru-RU" dirty="0"/>
              <a:t>Стоимость </a:t>
            </a:r>
            <a:r>
              <a:rPr lang="ru-RU" dirty="0" err="1"/>
              <a:t>высокомаржинальной</a:t>
            </a:r>
            <a:r>
              <a:rPr lang="ru-RU" dirty="0"/>
              <a:t> продукции: 58 000 р/т</a:t>
            </a:r>
          </a:p>
          <a:p>
            <a:pPr marL="0" indent="0">
              <a:buNone/>
            </a:pPr>
            <a:r>
              <a:rPr lang="ru-RU" dirty="0"/>
              <a:t>Потери при снижении исполнимости от стоимости </a:t>
            </a:r>
            <a:r>
              <a:rPr lang="ru-RU" dirty="0" err="1"/>
              <a:t>высокомаржинальной</a:t>
            </a:r>
            <a:r>
              <a:rPr lang="ru-RU" dirty="0"/>
              <a:t> продукции: 15% от стоимости </a:t>
            </a:r>
            <a:r>
              <a:rPr lang="ru-RU" dirty="0" err="1"/>
              <a:t>высокомаржинальной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Увеличение исполнимости: 0,1%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Экономический эффект = (10 млн т/год*58 000 р/т – 10 млн т/год*(58 000 р/т * (100%-15%)))*0,1% = 87 млн р/год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2674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991F2-0CF9-4B74-B010-C68768659DE6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9475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7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7" Type="http://schemas.openxmlformats.org/officeDocument/2006/relationships/image" Target="../media/image27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hyperlink" Target="mailto:general@idp.zyfra.com" TargetMode="Externa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4.svg"/><Relationship Id="rId7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hyperlink" Target="mailto:general@idp.zyfra.com" TargetMode="External"/><Relationship Id="rId5" Type="http://schemas.openxmlformats.org/officeDocument/2006/relationships/image" Target="../media/image27.svg"/><Relationship Id="rId4" Type="http://schemas.openxmlformats.org/officeDocument/2006/relationships/image" Target="../media/image26.png"/><Relationship Id="rId9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BAB11-72D5-49C1-BD43-4C2B8F49AEEC}"/>
              </a:ext>
            </a:extLst>
          </p:cNvPr>
          <p:cNvSpPr/>
          <p:nvPr/>
        </p:nvSpPr>
        <p:spPr>
          <a:xfrm>
            <a:off x="4511412" y="0"/>
            <a:ext cx="7680590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 b="0" i="0" dirty="0">
              <a:latin typeface="Tahoma" panose="020B060403050404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1D23953-C0E8-497A-831C-BA107E3A6989}"/>
              </a:ext>
            </a:extLst>
          </p:cNvPr>
          <p:cNvSpPr/>
          <p:nvPr/>
        </p:nvSpPr>
        <p:spPr>
          <a:xfrm>
            <a:off x="4852558" y="5523389"/>
            <a:ext cx="3006167" cy="457818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799" b="0" i="0" dirty="0" err="1">
                <a:solidFill>
                  <a:srgbClr val="76AF3E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idp.zyfra.com</a:t>
            </a:r>
            <a:endParaRPr lang="en-US" sz="1799" b="0" i="0" dirty="0">
              <a:solidFill>
                <a:srgbClr val="76AF3E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52581" y="3684525"/>
            <a:ext cx="4489574" cy="1404937"/>
          </a:xfrm>
          <a:prstGeom prst="rect">
            <a:avLst/>
          </a:prstGeom>
        </p:spPr>
        <p:txBody>
          <a:bodyPr/>
          <a:lstStyle>
            <a:lvl1pPr>
              <a:defRPr sz="3399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Рисунок 8">
            <a:extLst>
              <a:ext uri="{FF2B5EF4-FFF2-40B4-BE49-F238E27FC236}">
                <a16:creationId xmlns:a16="http://schemas.microsoft.com/office/drawing/2014/main" id="{13CEDD6F-3993-465F-9197-8DCC703C15F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451141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AD9E4B2-E1E1-784F-BEAB-EDFADC2001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41946"/>
          <a:stretch/>
        </p:blipFill>
        <p:spPr>
          <a:xfrm rot="5400000" flipH="1">
            <a:off x="6421651" y="1120901"/>
            <a:ext cx="6891250" cy="4649448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E305EFF-98E9-CF65-161D-6BEB8CF066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8195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886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ольши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E6AC73-AE1E-9E48-9D73-9D969553DB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12296" y="1379913"/>
            <a:ext cx="4219763" cy="458919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CD59569-88F3-344F-9903-9A06CD4954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89860" y="1379913"/>
            <a:ext cx="4219763" cy="4589195"/>
          </a:xfrm>
          <a:prstGeom prst="rect">
            <a:avLst/>
          </a:prstGeom>
        </p:spPr>
      </p:pic>
      <p:sp>
        <p:nvSpPr>
          <p:cNvPr id="8" name="Заголовок 8">
            <a:extLst>
              <a:ext uri="{FF2B5EF4-FFF2-40B4-BE49-F238E27FC236}">
                <a16:creationId xmlns:a16="http://schemas.microsoft.com/office/drawing/2014/main" id="{124C9E06-2614-2E46-B58C-C5D991A71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0821877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0206343-641E-0EEE-B70E-440CB81BE2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3862699F-F15D-952A-CA6A-A53D575E9EAA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3491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для акцента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956712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57596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C320F54D-3806-FE9D-362F-034DB8568915}"/>
              </a:ext>
            </a:extLst>
          </p:cNvPr>
          <p:cNvSpPr/>
          <p:nvPr/>
        </p:nvSpPr>
        <p:spPr>
          <a:xfrm>
            <a:off x="-10952" y="5757282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2" name="Номер слайда 3">
            <a:extLst>
              <a:ext uri="{FF2B5EF4-FFF2-40B4-BE49-F238E27FC236}">
                <a16:creationId xmlns:a16="http://schemas.microsoft.com/office/drawing/2014/main" id="{34962C2E-1B16-7ECE-7A42-109A1454922A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B7ECC8-B6E8-965D-E31A-1567EFCAA4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780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4264" y="0"/>
            <a:ext cx="6027737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D9CBA7AF-4CA2-A040-8643-1F2BC1B5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494563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052F8A5-1749-C442-9097-21227BFC43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4945635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D26FD84-9858-2951-FA1A-912325DA03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672F9BC4-FDA4-36EE-5E5B-57C4FE2F1D84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426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27737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D9CBA7AF-4CA2-A040-8643-1F2BC1B5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7338" y="1"/>
            <a:ext cx="494563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052F8A5-1749-C442-9097-21227BFC43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77339" y="1752600"/>
            <a:ext cx="4945635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12CF27-AF32-96BA-4F97-75F1C387DA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80675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72A23057-65D1-1DEE-778D-B010758E8453}"/>
              </a:ext>
            </a:extLst>
          </p:cNvPr>
          <p:cNvSpPr txBox="1">
            <a:spLocks/>
          </p:cNvSpPr>
          <p:nvPr/>
        </p:nvSpPr>
        <p:spPr>
          <a:xfrm>
            <a:off x="8188499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8158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0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>
            <a:extLst>
              <a:ext uri="{FF2B5EF4-FFF2-40B4-BE49-F238E27FC236}">
                <a16:creationId xmlns:a16="http://schemas.microsoft.com/office/drawing/2014/main" id="{5BB6E8D4-38B7-4CF2-98BC-9388079A47D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94320" y="0"/>
            <a:ext cx="429768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10" name="Заголовок 8">
            <a:extLst>
              <a:ext uri="{FF2B5EF4-FFF2-40B4-BE49-F238E27FC236}">
                <a16:creationId xmlns:a16="http://schemas.microsoft.com/office/drawing/2014/main" id="{8B299FFF-1F05-7644-99FD-D0D812B21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774434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43BC4B4B-4915-5C4D-A5C3-9FFDC27092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774434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26F00FA-D631-8189-1731-D6DD4E5333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F12C7313-FDE6-120B-4F18-55A59E39F6FB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2741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й текст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2">
            <a:extLst>
              <a:ext uri="{FF2B5EF4-FFF2-40B4-BE49-F238E27FC236}">
                <a16:creationId xmlns:a16="http://schemas.microsoft.com/office/drawing/2014/main" id="{3950EA54-4BF1-4C95-B6FA-F052E6EEA0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783777"/>
            <a:ext cx="3587750" cy="36830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Заголовок 8">
            <a:extLst>
              <a:ext uri="{FF2B5EF4-FFF2-40B4-BE49-F238E27FC236}">
                <a16:creationId xmlns:a16="http://schemas.microsoft.com/office/drawing/2014/main" id="{915E00DD-94AE-0247-B03E-AB83713A9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873072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CC8770A-4851-DC4D-AE6D-B591AF1019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2334983"/>
            <a:ext cx="8730725" cy="2828220"/>
          </a:xfrm>
          <a:prstGeom prst="rect">
            <a:avLst/>
          </a:prstGeom>
        </p:spPr>
        <p:txBody>
          <a:bodyPr numCol="2" spcCol="720000"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AF4C8E4-7151-D247-90F0-8A342A3EF3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68C6E7D-48E4-0EBD-6AEA-73F5B00A7E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8D80DC-4E1E-F862-6823-CFE954B63214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119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 в 3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520124F3-3FC1-43B9-8191-17306E2F35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ED8D51A9-7853-4003-9DEA-2F689FE394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0913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76AE00BC-637A-45FC-BA5E-BDA75A43B8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7534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Текст 3">
            <a:extLst>
              <a:ext uri="{FF2B5EF4-FFF2-40B4-BE49-F238E27FC236}">
                <a16:creationId xmlns:a16="http://schemas.microsoft.com/office/drawing/2014/main" id="{E25C8A2B-9ACA-4517-8E68-05164ACE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79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id="{4F372E14-7DF1-435C-9C47-3409856732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297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5" name="Текст 3">
            <a:extLst>
              <a:ext uri="{FF2B5EF4-FFF2-40B4-BE49-F238E27FC236}">
                <a16:creationId xmlns:a16="http://schemas.microsoft.com/office/drawing/2014/main" id="{0EBC328E-D9D0-42DC-9448-516CFAD10E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4115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16" name="Заголовок 8">
            <a:extLst>
              <a:ext uri="{FF2B5EF4-FFF2-40B4-BE49-F238E27FC236}">
                <a16:creationId xmlns:a16="http://schemas.microsoft.com/office/drawing/2014/main" id="{99FCD9E5-03F3-874D-8B5D-635D7C84D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C7BA615-E5BA-F747-AC39-049172458A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704E804-D923-8400-5CE6-2E86A70032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4BF8D8E-9241-B68E-2D39-45B60E761AAE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298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без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496374D-9A2D-B609-1AE6-EFAC1E9025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C77BF6C0-58B3-AEEF-A140-BC0CC0A49950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8000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лайд для акцента чер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956712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9A67770-A09E-1B44-AB93-F744CA6A6AD5}"/>
              </a:ext>
            </a:extLst>
          </p:cNvPr>
          <p:cNvSpPr/>
          <p:nvPr/>
        </p:nvSpPr>
        <p:spPr>
          <a:xfrm>
            <a:off x="-10952" y="5757596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6" name="Прямоугольник 6">
            <a:extLst>
              <a:ext uri="{FF2B5EF4-FFF2-40B4-BE49-F238E27FC236}">
                <a16:creationId xmlns:a16="http://schemas.microsoft.com/office/drawing/2014/main" id="{B9B00191-5BDF-EFFC-41EF-BDC0DA6D91F1}"/>
              </a:ext>
            </a:extLst>
          </p:cNvPr>
          <p:cNvSpPr/>
          <p:nvPr/>
        </p:nvSpPr>
        <p:spPr>
          <a:xfrm>
            <a:off x="0" y="5757283"/>
            <a:ext cx="12205601" cy="1110342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2" name="Номер слайда 3">
            <a:extLst>
              <a:ext uri="{FF2B5EF4-FFF2-40B4-BE49-F238E27FC236}">
                <a16:creationId xmlns:a16="http://schemas.microsoft.com/office/drawing/2014/main" id="{25D52791-32CC-874D-BED6-31DDA55513FC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1F92204-B52A-1F49-ABB8-622FDE3E2C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5242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иски в 3 столбца 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2">
            <a:extLst>
              <a:ext uri="{FF2B5EF4-FFF2-40B4-BE49-F238E27FC236}">
                <a16:creationId xmlns:a16="http://schemas.microsoft.com/office/drawing/2014/main" id="{E5B66E5F-6ECF-7F47-B237-22FBDDD317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id="{A0B45908-A870-4047-829D-EDD31BA895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50913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2" name="Текст 2">
            <a:extLst>
              <a:ext uri="{FF2B5EF4-FFF2-40B4-BE49-F238E27FC236}">
                <a16:creationId xmlns:a16="http://schemas.microsoft.com/office/drawing/2014/main" id="{E85129A1-EB87-3E49-8AD6-F5619F618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75348" y="1890944"/>
            <a:ext cx="3323608" cy="4092344"/>
          </a:xfrm>
          <a:prstGeom prst="rect">
            <a:avLst/>
          </a:prstGeom>
        </p:spPr>
        <p:txBody>
          <a:bodyPr/>
          <a:lstStyle>
            <a:lvl1pPr marL="228531" indent="-228531">
              <a:buClr>
                <a:srgbClr val="76AF3E"/>
              </a:buClr>
              <a:buFont typeface="Wingdings" panose="05000000000000000000" pitchFamily="2" charset="2"/>
              <a:buChar char="§"/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9A9DA73F-D6DA-5943-9BA1-3C972A8601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79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4" name="Текст 3">
            <a:extLst>
              <a:ext uri="{FF2B5EF4-FFF2-40B4-BE49-F238E27FC236}">
                <a16:creationId xmlns:a16="http://schemas.microsoft.com/office/drawing/2014/main" id="{E2A4DE32-5745-8741-B1BB-D9FB7D8EBE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0297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5" name="Текст 3">
            <a:extLst>
              <a:ext uri="{FF2B5EF4-FFF2-40B4-BE49-F238E27FC236}">
                <a16:creationId xmlns:a16="http://schemas.microsoft.com/office/drawing/2014/main" id="{14091E3C-3939-9B4F-813D-DFB3C2FCCD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74115" y="1449390"/>
            <a:ext cx="3324225" cy="369887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dirty="0">
                <a:solidFill>
                  <a:srgbClr val="76AF3E"/>
                </a:solidFill>
                <a:latin typeface="Lato" charset="0"/>
                <a:ea typeface="Lato" charset="0"/>
                <a:cs typeface="Lato" charset="0"/>
              </a:rPr>
              <a:t>Подзаголовок</a:t>
            </a:r>
          </a:p>
        </p:txBody>
      </p:sp>
      <p:sp>
        <p:nvSpPr>
          <p:cNvPr id="36" name="Заголовок 8">
            <a:extLst>
              <a:ext uri="{FF2B5EF4-FFF2-40B4-BE49-F238E27FC236}">
                <a16:creationId xmlns:a16="http://schemas.microsoft.com/office/drawing/2014/main" id="{E05146F2-6D5F-BB40-B69E-E34CC2899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10371862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826C97DE-E1EB-DB4B-9E1B-A7F4C541CB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5762692-7636-AA24-8054-C3F323F893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6046A6B3-92EE-5AEE-4033-B3B0FF46445D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972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 2-3 стро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6EDAD02-E34A-5949-A618-B0FA1F8026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066" t="46752" r="28092"/>
          <a:stretch/>
        </p:blipFill>
        <p:spPr>
          <a:xfrm>
            <a:off x="0" y="-1"/>
            <a:ext cx="12192000" cy="610932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9C582A7-C340-4043-AAF1-52A38439C242}"/>
              </a:ext>
            </a:extLst>
          </p:cNvPr>
          <p:cNvSpPr txBox="1"/>
          <p:nvPr/>
        </p:nvSpPr>
        <p:spPr>
          <a:xfrm>
            <a:off x="527980" y="5589587"/>
            <a:ext cx="1549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i="0" dirty="0" err="1">
                <a:solidFill>
                  <a:schemeClr val="bg1"/>
                </a:solidFill>
                <a:latin typeface="Tahoma" panose="020B0604030504040204" pitchFamily="34" charset="0"/>
              </a:rPr>
              <a:t>idp.zyfra.com</a:t>
            </a:r>
            <a:endParaRPr lang="en-US" b="0" i="0" dirty="0">
              <a:solidFill>
                <a:schemeClr val="bg1"/>
              </a:solidFill>
              <a:latin typeface="Tahom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503F979C-3E36-4D69-9B83-558C1C90CC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444949"/>
            <a:ext cx="10123084" cy="1404937"/>
          </a:xfrm>
          <a:prstGeom prst="rect">
            <a:avLst/>
          </a:prstGeom>
        </p:spPr>
        <p:txBody>
          <a:bodyPr lIns="0"/>
          <a:lstStyle>
            <a:lvl1pPr>
              <a:defRPr sz="3399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 dirty="0"/>
              <a:t>Образец текста </a:t>
            </a:r>
          </a:p>
          <a:p>
            <a:pPr lvl="0"/>
            <a:r>
              <a:rPr lang="ru-RU" dirty="0"/>
              <a:t>на 2-3 строч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362BA80-0A7C-0DFC-C552-18E17B8E61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757" y="1079262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3557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екст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8">
            <a:extLst>
              <a:ext uri="{FF2B5EF4-FFF2-40B4-BE49-F238E27FC236}">
                <a16:creationId xmlns:a16="http://schemas.microsoft.com/office/drawing/2014/main" id="{8EC537AA-DA5A-E048-99F0-4207BC4DB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EB92039-E0C3-2225-93F5-4357C44AF8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4FACF6A7-95AE-95A4-14C2-F7A327D96980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887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BB2DEBEA-F698-6F4E-A618-3557EBEFA31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-7379" y="5039835"/>
            <a:ext cx="12192000" cy="1818165"/>
          </a:xfrm>
          <a:prstGeom prst="rect">
            <a:avLst/>
          </a:prstGeom>
        </p:spPr>
      </p:pic>
      <p:sp>
        <p:nvSpPr>
          <p:cNvPr id="22" name="Заголовок 8">
            <a:extLst>
              <a:ext uri="{FF2B5EF4-FFF2-40B4-BE49-F238E27FC236}">
                <a16:creationId xmlns:a16="http://schemas.microsoft.com/office/drawing/2014/main" id="{8EC537AA-DA5A-E048-99F0-4207BC4DB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D7F99848-8AD8-7647-AA5C-743B6834E2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11061783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D14B446-DDC9-B9BD-9EFF-4022AE4CF1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3B4C044-3BFF-8ED1-0FEE-9F670233C2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E620013C-89A7-3AB1-1D56-5268BDEE3AC5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450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ля скриншотов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09B318-AA58-4749-A8E3-24CCA05C72A1}"/>
              </a:ext>
            </a:extLst>
          </p:cNvPr>
          <p:cNvSpPr/>
          <p:nvPr/>
        </p:nvSpPr>
        <p:spPr>
          <a:xfrm>
            <a:off x="6389649" y="-2"/>
            <a:ext cx="5802351" cy="68580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D5B68061-A0C5-2B4F-891B-4036237C4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10731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7629BAFE-8825-9148-93E9-4F26FBCF43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5107318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568C109-1366-16A3-31B5-F1832829C7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ADBE2FE-C488-1131-5177-6151B63D7CE3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189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криншоты на экране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C09B318-AA58-4749-A8E3-24CCA05C72A1}"/>
              </a:ext>
            </a:extLst>
          </p:cNvPr>
          <p:cNvSpPr/>
          <p:nvPr/>
        </p:nvSpPr>
        <p:spPr>
          <a:xfrm>
            <a:off x="8526780" y="-2"/>
            <a:ext cx="3665220" cy="685800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D5B68061-A0C5-2B4F-891B-4036237C4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107318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7629BAFE-8825-9148-93E9-4F26FBCF43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599"/>
            <a:ext cx="4182680" cy="3531383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BCCA37C6-C61F-B04E-B3DA-BE618532C6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090" y="1931988"/>
            <a:ext cx="5836920" cy="335199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F0ABF23-88F6-F04E-B31A-65A41E000E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5478" y="1616529"/>
            <a:ext cx="7851321" cy="437877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F288882-1A5C-C33C-E368-4068B82449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0C03969-063B-9D1F-CD90-51FC9E71C29C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856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выводы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реугольник 7">
            <a:extLst>
              <a:ext uri="{FF2B5EF4-FFF2-40B4-BE49-F238E27FC236}">
                <a16:creationId xmlns:a16="http://schemas.microsoft.com/office/drawing/2014/main" id="{3F59EFFA-494A-453B-B834-E4FEC8EE443F}"/>
              </a:ext>
            </a:extLst>
          </p:cNvPr>
          <p:cNvSpPr/>
          <p:nvPr/>
        </p:nvSpPr>
        <p:spPr>
          <a:xfrm rot="16200000">
            <a:off x="11874037" y="6540038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 b="0" i="0" dirty="0">
              <a:latin typeface="Tahoma" panose="020B060403050404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314992D-ECBA-45F4-9851-D3ADCC3AAFD0}"/>
              </a:ext>
            </a:extLst>
          </p:cNvPr>
          <p:cNvSpPr/>
          <p:nvPr/>
        </p:nvSpPr>
        <p:spPr>
          <a:xfrm>
            <a:off x="7937500" y="0"/>
            <a:ext cx="4254501" cy="6858000"/>
          </a:xfrm>
          <a:prstGeom prst="rect">
            <a:avLst/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 b="0" i="0" dirty="0">
              <a:latin typeface="Tahoma" panose="020B0604030504040204" pitchFamily="34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E4ECEE-884B-464C-9E59-2E699B01C89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412163" y="625475"/>
            <a:ext cx="3262312" cy="555625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реугольник 7">
            <a:extLst>
              <a:ext uri="{FF2B5EF4-FFF2-40B4-BE49-F238E27FC236}">
                <a16:creationId xmlns:a16="http://schemas.microsoft.com/office/drawing/2014/main" id="{250A70E8-9DC8-4B9E-929B-A6926AAC1DFC}"/>
              </a:ext>
            </a:extLst>
          </p:cNvPr>
          <p:cNvSpPr/>
          <p:nvPr/>
        </p:nvSpPr>
        <p:spPr>
          <a:xfrm rot="16200000">
            <a:off x="11874037" y="6540037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25" name="Заголовок 8">
            <a:extLst>
              <a:ext uri="{FF2B5EF4-FFF2-40B4-BE49-F238E27FC236}">
                <a16:creationId xmlns:a16="http://schemas.microsoft.com/office/drawing/2014/main" id="{B05E4F07-1284-8541-9773-246225029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689349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F47277A8-8FA6-FC43-AE92-9E946CED1EE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1752600"/>
            <a:ext cx="6893495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Треугольник 7">
            <a:extLst>
              <a:ext uri="{FF2B5EF4-FFF2-40B4-BE49-F238E27FC236}">
                <a16:creationId xmlns:a16="http://schemas.microsoft.com/office/drawing/2014/main" id="{9CB83F3B-A1DE-F63F-4075-F5A342493ED2}"/>
              </a:ext>
            </a:extLst>
          </p:cNvPr>
          <p:cNvSpPr/>
          <p:nvPr/>
        </p:nvSpPr>
        <p:spPr>
          <a:xfrm rot="16200000">
            <a:off x="11874037" y="6540037"/>
            <a:ext cx="318428" cy="317498"/>
          </a:xfrm>
          <a:prstGeom prst="triangle">
            <a:avLst>
              <a:gd name="adj" fmla="val 0"/>
            </a:avLst>
          </a:pr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BAE5667-E699-5B9D-BF85-E5FB954FB2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B995FCA-2CD8-4831-CF37-74A842847EA8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0430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66F3746-AFCF-4721-9010-D0C12A5FB90B}"/>
              </a:ext>
            </a:extLst>
          </p:cNvPr>
          <p:cNvSpPr/>
          <p:nvPr/>
        </p:nvSpPr>
        <p:spPr>
          <a:xfrm>
            <a:off x="1" y="2"/>
            <a:ext cx="12192000" cy="29885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 b="0" i="0" dirty="0">
              <a:latin typeface="Tahoma" panose="020B0604030504040204" pitchFamily="34" charset="0"/>
            </a:endParaRP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7D31972-F14F-495C-AA45-C6E4397FFD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5153" y="1773238"/>
            <a:ext cx="3385081" cy="236696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id="{1304E477-2B44-42F5-A158-7273323435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96345" y="1773238"/>
            <a:ext cx="3385081" cy="236696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1" name="Рисунок 2">
            <a:extLst>
              <a:ext uri="{FF2B5EF4-FFF2-40B4-BE49-F238E27FC236}">
                <a16:creationId xmlns:a16="http://schemas.microsoft.com/office/drawing/2014/main" id="{B00AD495-F00C-400D-BE1F-B31BEB80341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69632" y="1773238"/>
            <a:ext cx="3385081" cy="236696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2" name="Текст 21">
            <a:extLst>
              <a:ext uri="{FF2B5EF4-FFF2-40B4-BE49-F238E27FC236}">
                <a16:creationId xmlns:a16="http://schemas.microsoft.com/office/drawing/2014/main" id="{1B664CAE-34A5-48A2-BF69-4347CE1D2C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153" y="4419600"/>
            <a:ext cx="3385081" cy="401638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3" name="Текст 21">
            <a:extLst>
              <a:ext uri="{FF2B5EF4-FFF2-40B4-BE49-F238E27FC236}">
                <a16:creationId xmlns:a16="http://schemas.microsoft.com/office/drawing/2014/main" id="{81216954-A9D3-4141-9788-D09D6E815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96345" y="4419600"/>
            <a:ext cx="3385081" cy="401638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24" name="Текст 21">
            <a:extLst>
              <a:ext uri="{FF2B5EF4-FFF2-40B4-BE49-F238E27FC236}">
                <a16:creationId xmlns:a16="http://schemas.microsoft.com/office/drawing/2014/main" id="{D1130D79-F9B1-467D-900B-4837E26B4C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9632" y="4419600"/>
            <a:ext cx="3385081" cy="401638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</a:t>
            </a:r>
          </a:p>
        </p:txBody>
      </p:sp>
      <p:sp>
        <p:nvSpPr>
          <p:cNvPr id="30" name="Заголовок 8">
            <a:extLst>
              <a:ext uri="{FF2B5EF4-FFF2-40B4-BE49-F238E27FC236}">
                <a16:creationId xmlns:a16="http://schemas.microsoft.com/office/drawing/2014/main" id="{82796D2E-8BA1-B648-813A-2826A1664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9FB63D3-237B-D51D-5D5E-D4B2AFBD58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381B856-3DB0-6F26-010B-3B060EA6F890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80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1/2 справа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3">
            <a:extLst>
              <a:ext uri="{FF2B5EF4-FFF2-40B4-BE49-F238E27FC236}">
                <a16:creationId xmlns:a16="http://schemas.microsoft.com/office/drawing/2014/main" id="{21E61AD1-9C7A-434F-963B-72944C921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4264" y="0"/>
            <a:ext cx="6027737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0B653F93-A16E-AF40-9852-B5FB1562D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50111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D6065965-9891-4044-909B-4CAFBAD66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5011110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BA1ADBF-EF8A-A430-7229-D2449C1949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40EB4D5F-162A-CC80-1308-4979AA2A2390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1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2 слева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3">
            <a:extLst>
              <a:ext uri="{FF2B5EF4-FFF2-40B4-BE49-F238E27FC236}">
                <a16:creationId xmlns:a16="http://schemas.microsoft.com/office/drawing/2014/main" id="{21E61AD1-9C7A-434F-963B-72944C921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430" y="0"/>
            <a:ext cx="6027737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0B653F93-A16E-AF40-9852-B5FB1562D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2103" y="1"/>
            <a:ext cx="50111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D6065965-9891-4044-909B-4CAFBAD664A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32104" y="1752600"/>
            <a:ext cx="5011110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CE870D9-D761-3EE8-3AA5-25E9058764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5921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849E5E24-3DC5-A6D2-BB35-FF5276F89B3A}"/>
              </a:ext>
            </a:extLst>
          </p:cNvPr>
          <p:cNvSpPr txBox="1">
            <a:spLocks/>
          </p:cNvSpPr>
          <p:nvPr/>
        </p:nvSpPr>
        <p:spPr>
          <a:xfrm>
            <a:off x="8053745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329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1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екст + фото 1/3 (2)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3">
            <a:extLst>
              <a:ext uri="{FF2B5EF4-FFF2-40B4-BE49-F238E27FC236}">
                <a16:creationId xmlns:a16="http://schemas.microsoft.com/office/drawing/2014/main" id="{1C2FB568-45C7-47B4-9EB9-D842F19883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894320" y="0"/>
            <a:ext cx="4297680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23" name="Заголовок 8">
            <a:extLst>
              <a:ext uri="{FF2B5EF4-FFF2-40B4-BE49-F238E27FC236}">
                <a16:creationId xmlns:a16="http://schemas.microsoft.com/office/drawing/2014/main" id="{4C9FA80F-80DD-724D-91E6-69D5D3D4D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6585910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67326974-ED61-8949-B1B9-71D7C2D1E8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1752600"/>
            <a:ext cx="6585910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2D0D6C7-1644-CA91-6DA7-1A8058B26D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FBE58DDA-37B8-5ACB-8AD1-84175E3EE97A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684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й объём текста 2 колонки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2">
            <a:extLst>
              <a:ext uri="{FF2B5EF4-FFF2-40B4-BE49-F238E27FC236}">
                <a16:creationId xmlns:a16="http://schemas.microsoft.com/office/drawing/2014/main" id="{29871708-FCE8-D44A-BE7F-B97D197D8A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8" y="1783777"/>
            <a:ext cx="3587750" cy="36830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Заголовок 8">
            <a:extLst>
              <a:ext uri="{FF2B5EF4-FFF2-40B4-BE49-F238E27FC236}">
                <a16:creationId xmlns:a16="http://schemas.microsoft.com/office/drawing/2014/main" id="{C22DDD51-72BA-0C40-B199-DA8226EA1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8730725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474C0EA0-0C3E-6448-BF19-61F76CAEB4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79" y="2334983"/>
            <a:ext cx="8730725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86751B7-5692-E149-8F3C-A228ECFED3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089" r="20454" b="34278"/>
          <a:stretch/>
        </p:blipFill>
        <p:spPr>
          <a:xfrm rot="16200000">
            <a:off x="7662587" y="2328587"/>
            <a:ext cx="6858000" cy="2200826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0209C4B-663A-114B-9371-C86AC1AE27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EE94B2B1-3BAB-D668-191B-08058CC12A1F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7066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лист4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10950" y="4967436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gradFill flip="none" rotWithShape="1">
            <a:gsLst>
              <a:gs pos="0">
                <a:srgbClr val="76AF3E"/>
              </a:gs>
              <a:gs pos="100000">
                <a:srgbClr val="0889E1"/>
              </a:gs>
              <a:gs pos="56000">
                <a:srgbClr val="01C1AD"/>
              </a:gs>
            </a:gsLst>
            <a:lin ang="2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C52D7D8-E11C-2C9B-9360-2BB2F86E3450}"/>
              </a:ext>
            </a:extLst>
          </p:cNvPr>
          <p:cNvGrpSpPr/>
          <p:nvPr/>
        </p:nvGrpSpPr>
        <p:grpSpPr>
          <a:xfrm>
            <a:off x="6012024" y="1412240"/>
            <a:ext cx="7630195" cy="5751241"/>
            <a:chOff x="6464805" y="2640192"/>
            <a:chExt cx="6122380" cy="4614729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CC829FE3-B82F-5B4D-AC35-ECBC00D5C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2E5F9E95-C790-BB49-B6A1-4F8FD6ED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189A03C9-CFB5-CBCD-01C8-919A455007EA}"/>
              </a:ext>
            </a:extLst>
          </p:cNvPr>
          <p:cNvSpPr txBox="1"/>
          <p:nvPr/>
        </p:nvSpPr>
        <p:spPr>
          <a:xfrm>
            <a:off x="517348" y="5404921"/>
            <a:ext cx="1549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i="0" dirty="0" err="1">
                <a:solidFill>
                  <a:schemeClr val="bg1"/>
                </a:solidFill>
                <a:latin typeface="Tahoma" panose="020B0604030504040204" pitchFamily="34" charset="0"/>
              </a:rPr>
              <a:t>idp.zyfra.com</a:t>
            </a:r>
            <a:endParaRPr lang="en-US" b="0" i="0" dirty="0">
              <a:solidFill>
                <a:schemeClr val="bg1"/>
              </a:solidFill>
              <a:latin typeface="Tahoma" panose="020B0604030504040204" pitchFamily="34" charset="0"/>
            </a:endParaRPr>
          </a:p>
        </p:txBody>
      </p:sp>
      <p:sp>
        <p:nvSpPr>
          <p:cNvPr id="18" name="Текст 6">
            <a:extLst>
              <a:ext uri="{FF2B5EF4-FFF2-40B4-BE49-F238E27FC236}">
                <a16:creationId xmlns:a16="http://schemas.microsoft.com/office/drawing/2014/main" id="{3E1F7D7F-6532-54B8-D721-D85FBD343C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8078" y="3737578"/>
            <a:ext cx="5897286" cy="1404937"/>
          </a:xfrm>
          <a:prstGeom prst="rect">
            <a:avLst/>
          </a:prstGeom>
        </p:spPr>
        <p:txBody>
          <a:bodyPr lIns="0"/>
          <a:lstStyle>
            <a:lvl1pPr>
              <a:defRPr sz="3399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C0F1C7-4591-9B28-D505-4A46295F60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5985" y="1007495"/>
            <a:ext cx="2315086" cy="63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5932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темный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C0E7DA9-F929-7A86-4DC5-28DD348F0E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01D5A076-1B2F-2DAF-F810-58275B2BAD67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1051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ажная информация по направлениям 2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68530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ажная информация по направлениям 3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6">
            <a:extLst>
              <a:ext uri="{FF2B5EF4-FFF2-40B4-BE49-F238E27FC236}">
                <a16:creationId xmlns:a16="http://schemas.microsoft.com/office/drawing/2014/main" id="{976D6BA2-E639-3040-987A-DEA8CDA3AE87}"/>
              </a:ext>
            </a:extLst>
          </p:cNvPr>
          <p:cNvSpPr/>
          <p:nvPr/>
        </p:nvSpPr>
        <p:spPr>
          <a:xfrm flipH="1">
            <a:off x="-10950" y="4957497"/>
            <a:ext cx="12211012" cy="1951486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012" h="1127755">
                <a:moveTo>
                  <a:pt x="10950" y="0"/>
                </a:moveTo>
                <a:cubicBezTo>
                  <a:pt x="124742" y="12192"/>
                  <a:pt x="11924567" y="701040"/>
                  <a:pt x="12202951" y="694944"/>
                </a:cubicBezTo>
                <a:lnTo>
                  <a:pt x="12211012" y="1099795"/>
                </a:lnTo>
                <a:lnTo>
                  <a:pt x="0" y="1127755"/>
                </a:lnTo>
                <a:lnTo>
                  <a:pt x="10950" y="0"/>
                </a:ln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19431E3F-1EA1-EDD3-DA46-1D6EC36F711C}"/>
              </a:ext>
            </a:extLst>
          </p:cNvPr>
          <p:cNvGrpSpPr/>
          <p:nvPr/>
        </p:nvGrpSpPr>
        <p:grpSpPr>
          <a:xfrm>
            <a:off x="5749276" y="1365214"/>
            <a:ext cx="7813899" cy="5889707"/>
            <a:chOff x="6464805" y="2640192"/>
            <a:chExt cx="6122380" cy="4614729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F6A5401F-EC34-0354-90E1-6F5C4E4D52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929689">
              <a:off x="6965250" y="2640192"/>
              <a:ext cx="4659971" cy="4614729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7D42D98D-4FF7-F7AA-9F9B-9859C804C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4805" y="2696046"/>
              <a:ext cx="6122380" cy="3687021"/>
            </a:xfrm>
            <a:prstGeom prst="rect">
              <a:avLst/>
            </a:prstGeom>
          </p:spPr>
        </p:pic>
      </p:grpSp>
      <p:sp>
        <p:nvSpPr>
          <p:cNvPr id="17" name="Заголовок 8">
            <a:extLst>
              <a:ext uri="{FF2B5EF4-FFF2-40B4-BE49-F238E27FC236}">
                <a16:creationId xmlns:a16="http://schemas.microsoft.com/office/drawing/2014/main" id="{04239E0F-2D5C-BF46-9002-90D9E6DC51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365214"/>
            <a:ext cx="6585910" cy="1449388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38601C6B-B1EC-A847-A70F-1E98389406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80" y="3009207"/>
            <a:ext cx="6585910" cy="2144683"/>
          </a:xfrm>
          <a:prstGeom prst="rect">
            <a:avLst/>
          </a:prstGeom>
        </p:spPr>
        <p:txBody>
          <a:bodyPr lIns="0"/>
          <a:lstStyle>
            <a:lvl1pPr>
              <a:defRPr sz="18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Номер слайда 3">
            <a:extLst>
              <a:ext uri="{FF2B5EF4-FFF2-40B4-BE49-F238E27FC236}">
                <a16:creationId xmlns:a16="http://schemas.microsoft.com/office/drawing/2014/main" id="{755B40F2-8D5D-79ED-3F0F-C946E5224F35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05D4C4C-21C1-E988-53F7-581E011DC2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1287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инальный слайд Москва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AD134F87-8EEB-2F0C-70D7-BC7E2775E5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737" t="42501" r="2585" b="2598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 7">
            <a:extLst>
              <a:ext uri="{FF2B5EF4-FFF2-40B4-BE49-F238E27FC236}">
                <a16:creationId xmlns:a16="http://schemas.microsoft.com/office/drawing/2014/main" id="{F71304CD-B74E-5482-D389-288A7B533C86}"/>
              </a:ext>
            </a:extLst>
          </p:cNvPr>
          <p:cNvSpPr/>
          <p:nvPr/>
        </p:nvSpPr>
        <p:spPr>
          <a:xfrm>
            <a:off x="6188597" y="4861781"/>
            <a:ext cx="1377274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p.zyfra.com</a:t>
            </a:r>
          </a:p>
        </p:txBody>
      </p:sp>
      <p:grpSp>
        <p:nvGrpSpPr>
          <p:cNvPr id="5" name="Group 15">
            <a:extLst>
              <a:ext uri="{FF2B5EF4-FFF2-40B4-BE49-F238E27FC236}">
                <a16:creationId xmlns:a16="http://schemas.microsoft.com/office/drawing/2014/main" id="{27DE682A-36B3-09B3-C617-FD3B9B7792C4}"/>
              </a:ext>
            </a:extLst>
          </p:cNvPr>
          <p:cNvGrpSpPr/>
          <p:nvPr/>
        </p:nvGrpSpPr>
        <p:grpSpPr>
          <a:xfrm>
            <a:off x="1641471" y="4890359"/>
            <a:ext cx="1888194" cy="307777"/>
            <a:chOff x="2526506" y="5424154"/>
            <a:chExt cx="2345032" cy="382242"/>
          </a:xfrm>
        </p:grpSpPr>
        <p:sp>
          <p:nvSpPr>
            <p:cNvPr id="6" name="Прямоугольник 1">
              <a:hlinkClick r:id="rId4"/>
              <a:extLst>
                <a:ext uri="{FF2B5EF4-FFF2-40B4-BE49-F238E27FC236}">
                  <a16:creationId xmlns:a16="http://schemas.microsoft.com/office/drawing/2014/main" id="{C3BB88F3-2DAD-3562-6DA0-056C258E3F2C}"/>
                </a:ext>
              </a:extLst>
            </p:cNvPr>
            <p:cNvSpPr/>
            <p:nvPr/>
          </p:nvSpPr>
          <p:spPr>
            <a:xfrm>
              <a:off x="2526506" y="5424154"/>
              <a:ext cx="2131203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7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228C10CA-CA43-3BD4-50D2-F4B029E393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9" name="Прямоугольник 2">
              <a:extLst>
                <a:ext uri="{FF2B5EF4-FFF2-40B4-BE49-F238E27FC236}">
                  <a16:creationId xmlns:a16="http://schemas.microsoft.com/office/drawing/2014/main" id="{B66A4C87-AB04-2DDC-15AB-B3C0D8E6DE39}"/>
                </a:ext>
              </a:extLst>
            </p:cNvPr>
            <p:cNvSpPr/>
            <p:nvPr/>
          </p:nvSpPr>
          <p:spPr>
            <a:xfrm>
              <a:off x="2964361" y="5445999"/>
              <a:ext cx="1907177" cy="3249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1100" b="0" i="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ПИСАТЬ НАМ</a:t>
              </a:r>
            </a:p>
          </p:txBody>
        </p:sp>
      </p:grpSp>
      <p:sp>
        <p:nvSpPr>
          <p:cNvPr id="10" name="Прямоугольник 8">
            <a:extLst>
              <a:ext uri="{FF2B5EF4-FFF2-40B4-BE49-F238E27FC236}">
                <a16:creationId xmlns:a16="http://schemas.microsoft.com/office/drawing/2014/main" id="{2B39918A-BB82-2049-7795-E9D5DAD32D99}"/>
              </a:ext>
            </a:extLst>
          </p:cNvPr>
          <p:cNvSpPr/>
          <p:nvPr/>
        </p:nvSpPr>
        <p:spPr>
          <a:xfrm>
            <a:off x="1469872" y="1735599"/>
            <a:ext cx="2231393" cy="135421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endParaRPr lang="mr-IN" sz="1200" b="0" i="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Lato" charset="0"/>
            </a:endParaRPr>
          </a:p>
          <a:p>
            <a:pPr algn="l"/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нкт-Петербург</a:t>
            </a:r>
          </a:p>
          <a:p>
            <a:pPr algn="l"/>
            <a:r>
              <a:rPr lang="ru-RU" sz="1400" b="0" i="0" dirty="0">
                <a:solidFill>
                  <a:schemeClr val="tx2">
                    <a:lumMod val="40000"/>
                    <a:lumOff val="6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л. Кропоткина, д. 1, лит А, пом. 1-Н, комн. 147</a:t>
            </a:r>
          </a:p>
          <a:p>
            <a:pPr algn="l"/>
            <a:r>
              <a:rPr lang="en-US" sz="1400" b="0" i="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ral@idp.zyfra.com</a:t>
            </a:r>
            <a:endParaRPr lang="en-US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8">
            <a:extLst>
              <a:ext uri="{FF2B5EF4-FFF2-40B4-BE49-F238E27FC236}">
                <a16:creationId xmlns:a16="http://schemas.microsoft.com/office/drawing/2014/main" id="{C1BB5866-36E8-45FE-6E16-BDFA8EDD6BAE}"/>
              </a:ext>
            </a:extLst>
          </p:cNvPr>
          <p:cNvSpPr/>
          <p:nvPr/>
        </p:nvSpPr>
        <p:spPr>
          <a:xfrm>
            <a:off x="1469871" y="3170895"/>
            <a:ext cx="2767121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сква, Россия</a:t>
            </a:r>
          </a:p>
          <a:p>
            <a:pPr algn="l"/>
            <a:r>
              <a:rPr lang="ru-RU" sz="140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пр. Вернадского, 6, </a:t>
            </a:r>
            <a:br>
              <a:rPr lang="en-US" sz="140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ru-RU" sz="140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БЦ «Капитолий»</a:t>
            </a:r>
          </a:p>
        </p:txBody>
      </p:sp>
      <p:sp>
        <p:nvSpPr>
          <p:cNvPr id="15" name="Прямоугольник 8">
            <a:extLst>
              <a:ext uri="{FF2B5EF4-FFF2-40B4-BE49-F238E27FC236}">
                <a16:creationId xmlns:a16="http://schemas.microsoft.com/office/drawing/2014/main" id="{BFDF621A-912C-77FC-0F65-FD48BEDE1625}"/>
              </a:ext>
            </a:extLst>
          </p:cNvPr>
          <p:cNvSpPr/>
          <p:nvPr/>
        </p:nvSpPr>
        <p:spPr>
          <a:xfrm>
            <a:off x="1501623" y="4065402"/>
            <a:ext cx="2735370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/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ваново, Россия</a:t>
            </a:r>
          </a:p>
          <a:p>
            <a:pPr algn="l"/>
            <a:r>
              <a:rPr lang="ru-RU" sz="1400" kern="1200" dirty="0">
                <a:solidFill>
                  <a:schemeClr val="tx2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Ул. Парижской Коммуны, 3А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71ED254-4BDF-6815-79A7-FB5A6B2444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73299" y="2037143"/>
            <a:ext cx="2606931" cy="260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441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Финальный слайд Москва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AD134F87-8EEB-2F0C-70D7-BC7E2775E5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737" t="42501" r="2585" b="2598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Рисунок 3">
            <a:extLst>
              <a:ext uri="{FF2B5EF4-FFF2-40B4-BE49-F238E27FC236}">
                <a16:creationId xmlns:a16="http://schemas.microsoft.com/office/drawing/2014/main" id="{12436874-C472-2D44-7A5D-0BAF16ABA54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571155" y="2844074"/>
            <a:ext cx="1800000" cy="1800000"/>
          </a:xfrm>
          <a:prstGeom prst="ellipse">
            <a:avLst/>
          </a:prstGeom>
        </p:spPr>
        <p:txBody>
          <a:bodyPr anchor="ctr"/>
          <a:lstStyle>
            <a:lvl1pPr algn="ctr">
              <a:defRPr b="0" i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Текст 21">
            <a:extLst>
              <a:ext uri="{FF2B5EF4-FFF2-40B4-BE49-F238E27FC236}">
                <a16:creationId xmlns:a16="http://schemas.microsoft.com/office/drawing/2014/main" id="{72093F76-74A3-4825-2827-9CB0CA002D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5642" y="2961603"/>
            <a:ext cx="2286368" cy="55952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ru-RU" sz="1400" b="0" i="0" u="none" strike="noStrike" kern="1200" baseline="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Текст 21">
            <a:extLst>
              <a:ext uri="{FF2B5EF4-FFF2-40B4-BE49-F238E27FC236}">
                <a16:creationId xmlns:a16="http://schemas.microsoft.com/office/drawing/2014/main" id="{A2FA690A-6E99-3CED-5C60-CF0AC52AB3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5642" y="3540182"/>
            <a:ext cx="2286368" cy="27976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ru-RU" sz="1400" b="0" i="0" kern="1200" dirty="0">
                <a:solidFill>
                  <a:srgbClr val="85B42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1" name="Текст 21">
            <a:extLst>
              <a:ext uri="{FF2B5EF4-FFF2-40B4-BE49-F238E27FC236}">
                <a16:creationId xmlns:a16="http://schemas.microsoft.com/office/drawing/2014/main" id="{984C3ECB-13E9-8916-40E4-28701CEAA1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5642" y="3839001"/>
            <a:ext cx="2286368" cy="27976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ru-RU" sz="1400" b="0" i="0" u="none" strike="noStrike" kern="1200" baseline="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sp>
        <p:nvSpPr>
          <p:cNvPr id="2" name="Прямоугольник 7">
            <a:extLst>
              <a:ext uri="{FF2B5EF4-FFF2-40B4-BE49-F238E27FC236}">
                <a16:creationId xmlns:a16="http://schemas.microsoft.com/office/drawing/2014/main" id="{33204E8E-32E3-442E-3BE7-0A33DA6DF0E7}"/>
              </a:ext>
            </a:extLst>
          </p:cNvPr>
          <p:cNvSpPr/>
          <p:nvPr/>
        </p:nvSpPr>
        <p:spPr>
          <a:xfrm>
            <a:off x="6988384" y="4762927"/>
            <a:ext cx="1377274" cy="307777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l"/>
            <a:r>
              <a:rPr lang="en-US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p.zyfra.com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F11318E-EC13-87A7-912D-DA665F1776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62193" y="2037143"/>
            <a:ext cx="2606931" cy="2606931"/>
          </a:xfrm>
          <a:prstGeom prst="rect">
            <a:avLst/>
          </a:prstGeom>
        </p:spPr>
      </p:pic>
      <p:grpSp>
        <p:nvGrpSpPr>
          <p:cNvPr id="5" name="Group 15">
            <a:extLst>
              <a:ext uri="{FF2B5EF4-FFF2-40B4-BE49-F238E27FC236}">
                <a16:creationId xmlns:a16="http://schemas.microsoft.com/office/drawing/2014/main" id="{614F64DF-8954-0547-6D7C-89B532726873}"/>
              </a:ext>
            </a:extLst>
          </p:cNvPr>
          <p:cNvGrpSpPr/>
          <p:nvPr/>
        </p:nvGrpSpPr>
        <p:grpSpPr>
          <a:xfrm>
            <a:off x="3684777" y="4240030"/>
            <a:ext cx="1888194" cy="307777"/>
            <a:chOff x="2526506" y="5424154"/>
            <a:chExt cx="2345032" cy="382242"/>
          </a:xfrm>
        </p:grpSpPr>
        <p:sp>
          <p:nvSpPr>
            <p:cNvPr id="6" name="Прямоугольник 1">
              <a:hlinkClick r:id="rId6"/>
              <a:extLst>
                <a:ext uri="{FF2B5EF4-FFF2-40B4-BE49-F238E27FC236}">
                  <a16:creationId xmlns:a16="http://schemas.microsoft.com/office/drawing/2014/main" id="{B14A6670-EF05-8C21-79A9-74C6BBBC5B07}"/>
                </a:ext>
              </a:extLst>
            </p:cNvPr>
            <p:cNvSpPr/>
            <p:nvPr/>
          </p:nvSpPr>
          <p:spPr>
            <a:xfrm>
              <a:off x="2526506" y="5424154"/>
              <a:ext cx="2131203" cy="382242"/>
            </a:xfrm>
            <a:prstGeom prst="rect">
              <a:avLst/>
            </a:prstGeom>
            <a:solidFill>
              <a:srgbClr val="76AF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5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FCADF537-D32B-B721-5A59-61F3F5716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26774" y="5436247"/>
              <a:ext cx="358056" cy="358056"/>
            </a:xfrm>
            <a:prstGeom prst="rect">
              <a:avLst/>
            </a:prstGeom>
          </p:spPr>
        </p:pic>
        <p:sp>
          <p:nvSpPr>
            <p:cNvPr id="16" name="Прямоугольник 2">
              <a:extLst>
                <a:ext uri="{FF2B5EF4-FFF2-40B4-BE49-F238E27FC236}">
                  <a16:creationId xmlns:a16="http://schemas.microsoft.com/office/drawing/2014/main" id="{2113554A-90C8-4D62-A7F9-B7D7E865232F}"/>
                </a:ext>
              </a:extLst>
            </p:cNvPr>
            <p:cNvSpPr/>
            <p:nvPr/>
          </p:nvSpPr>
          <p:spPr>
            <a:xfrm>
              <a:off x="2964361" y="5445999"/>
              <a:ext cx="1907177" cy="3249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ru-RU" sz="1100" b="0" i="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ПИСАТЬ НАМ</a:t>
              </a:r>
            </a:p>
          </p:txBody>
        </p:sp>
      </p:grp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55423B1-54D5-3F51-7773-A8DE14001E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1155" y="2037143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985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44197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C6A7894-DB7B-ABD4-8947-BB609795A8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4263733-E7DF-F718-55B8-C782B08F46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0771629-C2E8-2A71-64ED-B2FF84773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E25E8-DF6A-4D4B-ABEC-8FDF28679CCE}" type="datetimeFigureOut">
              <a:rPr lang="ru-RU" smtClean="0"/>
              <a:t>31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12BF0C4-C759-4B0C-EBE3-37D4E2C2E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D348B70-959B-D4ED-8926-C38554D99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6E4E06-9677-4091-8F0C-B03E009EDE9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171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6">
            <a:extLst>
              <a:ext uri="{FF2B5EF4-FFF2-40B4-BE49-F238E27FC236}">
                <a16:creationId xmlns:a16="http://schemas.microsoft.com/office/drawing/2014/main" id="{502F7EE8-E139-3645-A6A0-FD9B5DA460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2344636"/>
            <a:ext cx="7780663" cy="1551962"/>
          </a:xfrm>
          <a:prstGeom prst="rect">
            <a:avLst/>
          </a:prstGeom>
        </p:spPr>
        <p:txBody>
          <a:bodyPr anchor="ctr"/>
          <a:lstStyle>
            <a:lvl1pPr>
              <a:defRPr sz="3399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3399" b="1">
                <a:solidFill>
                  <a:schemeClr val="bg1"/>
                </a:solidFill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08953E7-9216-F448-843C-5E066682620C}"/>
              </a:ext>
            </a:extLst>
          </p:cNvPr>
          <p:cNvSpPr/>
          <p:nvPr/>
        </p:nvSpPr>
        <p:spPr>
          <a:xfrm flipH="1">
            <a:off x="-10950" y="4750741"/>
            <a:ext cx="12205601" cy="2123494"/>
          </a:xfrm>
          <a:custGeom>
            <a:avLst/>
            <a:gdLst>
              <a:gd name="connsiteX0" fmla="*/ 0 w 12192001"/>
              <a:gd name="connsiteY0" fmla="*/ 0 h 1714392"/>
              <a:gd name="connsiteX1" fmla="*/ 12192001 w 12192001"/>
              <a:gd name="connsiteY1" fmla="*/ 0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0 w 12192001"/>
              <a:gd name="connsiteY3" fmla="*/ 1714392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994864 h 1714392"/>
              <a:gd name="connsiteX4" fmla="*/ 0 w 12192001"/>
              <a:gd name="connsiteY4" fmla="*/ 0 h 1714392"/>
              <a:gd name="connsiteX0" fmla="*/ 0 w 12192001"/>
              <a:gd name="connsiteY0" fmla="*/ 0 h 1714392"/>
              <a:gd name="connsiteX1" fmla="*/ 12192001 w 12192001"/>
              <a:gd name="connsiteY1" fmla="*/ 694944 h 1714392"/>
              <a:gd name="connsiteX2" fmla="*/ 12192001 w 12192001"/>
              <a:gd name="connsiteY2" fmla="*/ 1714392 h 1714392"/>
              <a:gd name="connsiteX3" fmla="*/ 14990 w 12192001"/>
              <a:gd name="connsiteY3" fmla="*/ 1114785 h 1714392"/>
              <a:gd name="connsiteX4" fmla="*/ 0 w 12192001"/>
              <a:gd name="connsiteY4" fmla="*/ 0 h 1714392"/>
              <a:gd name="connsiteX0" fmla="*/ 0 w 12192001"/>
              <a:gd name="connsiteY0" fmla="*/ 0 h 1114785"/>
              <a:gd name="connsiteX1" fmla="*/ 12192001 w 12192001"/>
              <a:gd name="connsiteY1" fmla="*/ 694944 h 1114785"/>
              <a:gd name="connsiteX2" fmla="*/ 12177010 w 12192001"/>
              <a:gd name="connsiteY2" fmla="*/ 1099795 h 1114785"/>
              <a:gd name="connsiteX3" fmla="*/ 14990 w 12192001"/>
              <a:gd name="connsiteY3" fmla="*/ 1114785 h 1114785"/>
              <a:gd name="connsiteX4" fmla="*/ 0 w 12192001"/>
              <a:gd name="connsiteY4" fmla="*/ 0 h 1114785"/>
              <a:gd name="connsiteX0" fmla="*/ 0 w 12200062"/>
              <a:gd name="connsiteY0" fmla="*/ 0 h 1114785"/>
              <a:gd name="connsiteX1" fmla="*/ 12192001 w 12200062"/>
              <a:gd name="connsiteY1" fmla="*/ 694944 h 1114785"/>
              <a:gd name="connsiteX2" fmla="*/ 12200062 w 12200062"/>
              <a:gd name="connsiteY2" fmla="*/ 1099795 h 1114785"/>
              <a:gd name="connsiteX3" fmla="*/ 14990 w 12200062"/>
              <a:gd name="connsiteY3" fmla="*/ 1114785 h 1114785"/>
              <a:gd name="connsiteX4" fmla="*/ 0 w 12200062"/>
              <a:gd name="connsiteY4" fmla="*/ 0 h 1114785"/>
              <a:gd name="connsiteX0" fmla="*/ 10950 w 12211012"/>
              <a:gd name="connsiteY0" fmla="*/ 0 h 1127755"/>
              <a:gd name="connsiteX1" fmla="*/ 12202951 w 12211012"/>
              <a:gd name="connsiteY1" fmla="*/ 694944 h 1127755"/>
              <a:gd name="connsiteX2" fmla="*/ 12211012 w 12211012"/>
              <a:gd name="connsiteY2" fmla="*/ 1099795 h 1127755"/>
              <a:gd name="connsiteX3" fmla="*/ 0 w 12211012"/>
              <a:gd name="connsiteY3" fmla="*/ 1127755 h 1127755"/>
              <a:gd name="connsiteX4" fmla="*/ 10950 w 12211012"/>
              <a:gd name="connsiteY4" fmla="*/ 0 h 1127755"/>
              <a:gd name="connsiteX0" fmla="*/ 10950 w 12211012"/>
              <a:gd name="connsiteY0" fmla="*/ 0 h 1135778"/>
              <a:gd name="connsiteX1" fmla="*/ 12202951 w 12211012"/>
              <a:gd name="connsiteY1" fmla="*/ 694944 h 1135778"/>
              <a:gd name="connsiteX2" fmla="*/ 12211012 w 12211012"/>
              <a:gd name="connsiteY2" fmla="*/ 1135778 h 1135778"/>
              <a:gd name="connsiteX3" fmla="*/ 0 w 12211012"/>
              <a:gd name="connsiteY3" fmla="*/ 1127755 h 1135778"/>
              <a:gd name="connsiteX4" fmla="*/ 10950 w 12211012"/>
              <a:gd name="connsiteY4" fmla="*/ 0 h 1135778"/>
              <a:gd name="connsiteX0" fmla="*/ 32592 w 12232654"/>
              <a:gd name="connsiteY0" fmla="*/ 0 h 1139338"/>
              <a:gd name="connsiteX1" fmla="*/ 12224593 w 12232654"/>
              <a:gd name="connsiteY1" fmla="*/ 694944 h 1139338"/>
              <a:gd name="connsiteX2" fmla="*/ 12232654 w 12232654"/>
              <a:gd name="connsiteY2" fmla="*/ 1135778 h 1139338"/>
              <a:gd name="connsiteX3" fmla="*/ 0 w 12232654"/>
              <a:gd name="connsiteY3" fmla="*/ 1139338 h 1139338"/>
              <a:gd name="connsiteX4" fmla="*/ 32592 w 12232654"/>
              <a:gd name="connsiteY4" fmla="*/ 0 h 1139338"/>
              <a:gd name="connsiteX0" fmla="*/ 0 w 12200062"/>
              <a:gd name="connsiteY0" fmla="*/ 0 h 1135778"/>
              <a:gd name="connsiteX1" fmla="*/ 12192001 w 12200062"/>
              <a:gd name="connsiteY1" fmla="*/ 694944 h 1135778"/>
              <a:gd name="connsiteX2" fmla="*/ 12200062 w 12200062"/>
              <a:gd name="connsiteY2" fmla="*/ 1135778 h 1135778"/>
              <a:gd name="connsiteX3" fmla="*/ 37746 w 12200062"/>
              <a:gd name="connsiteY3" fmla="*/ 1072738 h 1135778"/>
              <a:gd name="connsiteX4" fmla="*/ 0 w 12200062"/>
              <a:gd name="connsiteY4" fmla="*/ 0 h 1135778"/>
              <a:gd name="connsiteX0" fmla="*/ 5539 w 12205601"/>
              <a:gd name="connsiteY0" fmla="*/ 0 h 1136443"/>
              <a:gd name="connsiteX1" fmla="*/ 12197540 w 12205601"/>
              <a:gd name="connsiteY1" fmla="*/ 694944 h 1136443"/>
              <a:gd name="connsiteX2" fmla="*/ 12205601 w 12205601"/>
              <a:gd name="connsiteY2" fmla="*/ 1135778 h 1136443"/>
              <a:gd name="connsiteX3" fmla="*/ 0 w 12205601"/>
              <a:gd name="connsiteY3" fmla="*/ 1136443 h 1136443"/>
              <a:gd name="connsiteX4" fmla="*/ 5539 w 12205601"/>
              <a:gd name="connsiteY4" fmla="*/ 0 h 1136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5601" h="1136443">
                <a:moveTo>
                  <a:pt x="5539" y="0"/>
                </a:moveTo>
                <a:cubicBezTo>
                  <a:pt x="119331" y="12192"/>
                  <a:pt x="11919156" y="701040"/>
                  <a:pt x="12197540" y="694944"/>
                </a:cubicBezTo>
                <a:lnTo>
                  <a:pt x="12205601" y="1135778"/>
                </a:lnTo>
                <a:lnTo>
                  <a:pt x="0" y="1136443"/>
                </a:lnTo>
                <a:cubicBezTo>
                  <a:pt x="1846" y="757629"/>
                  <a:pt x="3693" y="378814"/>
                  <a:pt x="5539" y="0"/>
                </a:cubicBezTo>
                <a:close/>
              </a:path>
            </a:pathLst>
          </a:custGeom>
          <a:solidFill>
            <a:srgbClr val="76AF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2" name="Номер слайда 3">
            <a:extLst>
              <a:ext uri="{FF2B5EF4-FFF2-40B4-BE49-F238E27FC236}">
                <a16:creationId xmlns:a16="http://schemas.microsoft.com/office/drawing/2014/main" id="{0FE13B6B-2BDE-51F1-6638-DE57A09AE00D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E11F4B1-E5D4-3C8D-3413-F93A6750C6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363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0617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2C3C3F-5D3F-4EF6-B3A9-C9AE5AD10C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1752600"/>
            <a:ext cx="11061783" cy="2828220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277678A-4E37-3547-A234-65170C5C42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856183C-94A4-92BE-1B3D-771AAAC6B5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25" r="7085" b="50000"/>
          <a:stretch/>
        </p:blipFill>
        <p:spPr>
          <a:xfrm>
            <a:off x="0" y="5039835"/>
            <a:ext cx="12192000" cy="1818165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38D2BB4-CA9A-DF1D-D994-8CFE5E2E8F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1568" y="6248506"/>
            <a:ext cx="1388948" cy="381114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FCF2707-1621-9AD1-A22B-69CC72950FA1}"/>
              </a:ext>
            </a:extLst>
          </p:cNvPr>
          <p:cNvSpPr txBox="1">
            <a:spLocks/>
          </p:cNvSpPr>
          <p:nvPr/>
        </p:nvSpPr>
        <p:spPr>
          <a:xfrm>
            <a:off x="2139392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2579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0821877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55F4E4C-7690-DE90-5341-2AB8898F4C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1568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0E18CDB4-8172-8F9F-0A57-69E3276F2622}"/>
              </a:ext>
            </a:extLst>
          </p:cNvPr>
          <p:cNvSpPr txBox="1">
            <a:spLocks/>
          </p:cNvSpPr>
          <p:nvPr/>
        </p:nvSpPr>
        <p:spPr>
          <a:xfrm>
            <a:off x="2139392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1974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с небольшим опис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DE36449-BC9A-5D4C-8146-095E8AFAB0C2}"/>
              </a:ext>
            </a:extLst>
          </p:cNvPr>
          <p:cNvSpPr/>
          <p:nvPr/>
        </p:nvSpPr>
        <p:spPr>
          <a:xfrm>
            <a:off x="623888" y="701040"/>
            <a:ext cx="4969191" cy="4998720"/>
          </a:xfrm>
          <a:prstGeom prst="rect">
            <a:avLst/>
          </a:prstGeom>
          <a:solidFill>
            <a:schemeClr val="tx2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sp>
        <p:nvSpPr>
          <p:cNvPr id="14" name="Заголовок 8">
            <a:extLst>
              <a:ext uri="{FF2B5EF4-FFF2-40B4-BE49-F238E27FC236}">
                <a16:creationId xmlns:a16="http://schemas.microsoft.com/office/drawing/2014/main" id="{75FFB737-4DF5-4D41-A4FA-53549BD7F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618" y="701040"/>
            <a:ext cx="5515086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C9EE1C47-FE64-2046-885C-2633800886D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043" y="2150428"/>
            <a:ext cx="5515086" cy="389727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84A985D4-4B53-6744-AD21-7ADC627EA1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043" y="2540155"/>
            <a:ext cx="5515086" cy="3159606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BC59EEF4-D741-514F-A21C-298E1FD43E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3888" y="701675"/>
            <a:ext cx="4968875" cy="4997450"/>
          </a:xfrm>
          <a:prstGeom prst="rect">
            <a:avLst/>
          </a:prstGeom>
        </p:spPr>
        <p:txBody>
          <a:bodyPr anchor="ctr"/>
          <a:lstStyle>
            <a:lvl1pPr algn="ctr">
              <a:defRPr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8F48B3D-27B2-9E43-6C1F-3AB1CC4130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A8ACC90D-7183-88E2-3CC5-21180B150EBB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0262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важны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476895"/>
            <a:ext cx="6903083" cy="1449388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2C3C3F-5D3F-4EF6-B3A9-C9AE5AD10C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2926284"/>
            <a:ext cx="6903083" cy="2709746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1DEF8D5-07DA-E745-8153-58BFEA23E894}"/>
              </a:ext>
            </a:extLst>
          </p:cNvPr>
          <p:cNvSpPr/>
          <p:nvPr/>
        </p:nvSpPr>
        <p:spPr>
          <a:xfrm>
            <a:off x="8196349" y="0"/>
            <a:ext cx="3995651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Tahoma" panose="020B060403050404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991B83-A3FC-1442-8BC0-A57DC9663B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929689">
            <a:off x="8935636" y="1045447"/>
            <a:ext cx="4659971" cy="461472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759DAA48-3F2E-6246-9E64-EB088F0871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18563" y="1676400"/>
            <a:ext cx="2836862" cy="4041775"/>
          </a:xfrm>
          <a:prstGeom prst="rect">
            <a:avLst/>
          </a:prstGeom>
        </p:spPr>
        <p:txBody>
          <a:bodyPr anchor="ctr"/>
          <a:lstStyle>
            <a:lvl1pPr algn="ctr">
              <a:defRPr sz="5400" b="0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5400">
                <a:solidFill>
                  <a:schemeClr val="bg1"/>
                </a:solidFill>
              </a:defRPr>
            </a:lvl2pPr>
            <a:lvl3pPr>
              <a:defRPr sz="5400">
                <a:solidFill>
                  <a:schemeClr val="bg1"/>
                </a:solidFill>
              </a:defRPr>
            </a:lvl3pPr>
            <a:lvl4pPr>
              <a:defRPr sz="5400">
                <a:solidFill>
                  <a:schemeClr val="bg1"/>
                </a:solidFill>
              </a:defRPr>
            </a:lvl4pPr>
            <a:lvl5pPr>
              <a:defRPr sz="5400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Важные</a:t>
            </a:r>
          </a:p>
          <a:p>
            <a:pPr lvl="0"/>
            <a:r>
              <a:rPr lang="ru-RU" dirty="0"/>
              <a:t>цифр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CCA448D-86CB-DD2D-EB9A-69BCD93FE5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E1B74B45-511D-AA4D-16BB-5AB31274AE36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5533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акцент на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C01089F4-FE24-8B4A-87BA-7B8C993C7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772513"/>
            <a:ext cx="5351807" cy="100618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800" b="0" i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E6AC73-AE1E-9E48-9D73-9D969553DB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12296" y="772513"/>
            <a:ext cx="4885277" cy="5312973"/>
          </a:xfrm>
          <a:prstGeom prst="rect">
            <a:avLst/>
          </a:prstGeom>
        </p:spPr>
      </p:pic>
      <p:sp>
        <p:nvSpPr>
          <p:cNvPr id="14" name="Текст 2">
            <a:extLst>
              <a:ext uri="{FF2B5EF4-FFF2-40B4-BE49-F238E27FC236}">
                <a16:creationId xmlns:a16="http://schemas.microsoft.com/office/drawing/2014/main" id="{C7612E2B-9C8D-CF48-9077-BE8F5CC4EE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9" y="2081938"/>
            <a:ext cx="5351807" cy="2997693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E1501D6-AE62-357C-C472-AD4C142182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357" y="6248506"/>
            <a:ext cx="1388948" cy="381114"/>
          </a:xfrm>
          <a:prstGeom prst="rect">
            <a:avLst/>
          </a:prstGeom>
        </p:spPr>
      </p:pic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5CFD554D-F7C2-0264-ADCD-FE0BCEF9D6E1}"/>
              </a:ext>
            </a:extLst>
          </p:cNvPr>
          <p:cNvSpPr txBox="1">
            <a:spLocks/>
          </p:cNvSpPr>
          <p:nvPr/>
        </p:nvSpPr>
        <p:spPr>
          <a:xfrm>
            <a:off x="2140181" y="6229247"/>
            <a:ext cx="837110" cy="3651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l" defTabSz="914400" rtl="0" eaLnBrk="1" latinLnBrk="0" hangingPunct="1">
              <a:defRPr sz="1400" b="0" i="0" kern="1200">
                <a:solidFill>
                  <a:srgbClr val="A2AFB2"/>
                </a:solidFill>
                <a:latin typeface="Lato" charset="0"/>
                <a:ea typeface="Lato" charset="0"/>
                <a:cs typeface="Lato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|</a:t>
            </a:r>
            <a:r>
              <a:rPr lang="ru-RU" sz="1400" b="0" i="0" dirty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fld id="{740DD4F2-5AF5-1544-A7A5-DD17EA85F4C9}" type="slidenum">
              <a:rPr lang="ru-RU" sz="1400" b="0" i="0" smtClean="0">
                <a:solidFill>
                  <a:srgbClr val="76AF3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‹#›</a:t>
            </a:fld>
            <a:endParaRPr lang="ru-RU" sz="1400" b="0" i="0" dirty="0">
              <a:solidFill>
                <a:srgbClr val="76AF3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4230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4069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  <p:sldLayoutId id="2147483732" r:id="rId34"/>
    <p:sldLayoutId id="2147483733" r:id="rId35"/>
    <p:sldLayoutId id="2147483734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3499" b="1" i="0" kern="1200">
          <a:solidFill>
            <a:srgbClr val="4C5B60"/>
          </a:solidFill>
          <a:latin typeface="Lato Black" charset="0"/>
          <a:ea typeface="Lato Black" charset="0"/>
          <a:cs typeface="Lato Black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4pPr>
      <a:lvl5pPr marL="1828251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b="0" i="0" kern="1200">
          <a:solidFill>
            <a:srgbClr val="4C5B60"/>
          </a:solidFill>
          <a:latin typeface="Lato" charset="0"/>
          <a:ea typeface="Lato" charset="0"/>
          <a:cs typeface="Lato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7287">
          <p15:clr>
            <a:srgbClr val="9FCC3B"/>
          </p15:clr>
        </p15:guide>
        <p15:guide id="10" orient="horz" pos="3861">
          <p15:clr>
            <a:srgbClr val="9FCC3B"/>
          </p15:clr>
        </p15:guide>
        <p15:guide id="11" orient="horz" pos="799">
          <p15:clr>
            <a:srgbClr val="9FCC3B"/>
          </p15:clr>
        </p15:guide>
        <p15:guide id="12" pos="393">
          <p15:clr>
            <a:srgbClr val="9FCC3B"/>
          </p15:clr>
        </p15:guide>
        <p15:guide id="13" pos="2026">
          <p15:clr>
            <a:srgbClr val="5ACBF0"/>
          </p15:clr>
        </p15:guide>
        <p15:guide id="14" pos="2139">
          <p15:clr>
            <a:srgbClr val="5ACBF0"/>
          </p15:clr>
        </p15:guide>
        <p15:guide id="15" pos="3772">
          <p15:clr>
            <a:srgbClr val="5ACBF0"/>
          </p15:clr>
        </p15:guide>
        <p15:guide id="16" pos="3885">
          <p15:clr>
            <a:srgbClr val="5ACBF0"/>
          </p15:clr>
        </p15:guide>
        <p15:guide id="17" pos="5518">
          <p15:clr>
            <a:srgbClr val="5ACBF0"/>
          </p15:clr>
        </p15:guide>
        <p15:guide id="18" pos="5654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microsoft.com/office/2007/relationships/hdphoto" Target="../media/hdphoto3.wdp"/><Relationship Id="rId5" Type="http://schemas.openxmlformats.org/officeDocument/2006/relationships/image" Target="../media/image74.png"/><Relationship Id="rId4" Type="http://schemas.openxmlformats.org/officeDocument/2006/relationships/image" Target="../media/image73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7" Type="http://schemas.openxmlformats.org/officeDocument/2006/relationships/image" Target="../media/image8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svg"/><Relationship Id="rId18" Type="http://schemas.openxmlformats.org/officeDocument/2006/relationships/image" Target="../media/image61.png"/><Relationship Id="rId3" Type="http://schemas.openxmlformats.org/officeDocument/2006/relationships/image" Target="../media/image46.png"/><Relationship Id="rId7" Type="http://schemas.openxmlformats.org/officeDocument/2006/relationships/image" Target="../media/image50.svg"/><Relationship Id="rId12" Type="http://schemas.openxmlformats.org/officeDocument/2006/relationships/image" Target="../media/image55.png"/><Relationship Id="rId17" Type="http://schemas.openxmlformats.org/officeDocument/2006/relationships/image" Target="../media/image60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9.png"/><Relationship Id="rId11" Type="http://schemas.openxmlformats.org/officeDocument/2006/relationships/image" Target="../media/image54.svg"/><Relationship Id="rId5" Type="http://schemas.openxmlformats.org/officeDocument/2006/relationships/image" Target="../media/image48.png"/><Relationship Id="rId15" Type="http://schemas.openxmlformats.org/officeDocument/2006/relationships/image" Target="../media/image58.svg"/><Relationship Id="rId10" Type="http://schemas.openxmlformats.org/officeDocument/2006/relationships/image" Target="../media/image53.png"/><Relationship Id="rId19" Type="http://schemas.openxmlformats.org/officeDocument/2006/relationships/image" Target="../media/image62.svg"/><Relationship Id="rId4" Type="http://schemas.openxmlformats.org/officeDocument/2006/relationships/image" Target="../media/image47.svg"/><Relationship Id="rId9" Type="http://schemas.openxmlformats.org/officeDocument/2006/relationships/image" Target="../media/image52.svg"/><Relationship Id="rId1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48.png"/><Relationship Id="rId7" Type="http://schemas.openxmlformats.org/officeDocument/2006/relationships/image" Target="../media/image66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png"/><Relationship Id="rId5" Type="http://schemas.openxmlformats.org/officeDocument/2006/relationships/image" Target="../media/image64.svg"/><Relationship Id="rId4" Type="http://schemas.openxmlformats.org/officeDocument/2006/relationships/image" Target="../media/image63.png"/><Relationship Id="rId9" Type="http://schemas.openxmlformats.org/officeDocument/2006/relationships/image" Target="../media/image6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6E0B8D5-E8FD-1F12-63A3-5E141195F4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20682" y="4182533"/>
            <a:ext cx="6982628" cy="906929"/>
          </a:xfrm>
        </p:spPr>
        <p:txBody>
          <a:bodyPr>
            <a:normAutofit fontScale="70000" lnSpcReduction="20000"/>
          </a:bodyPr>
          <a:lstStyle/>
          <a:p>
            <a:r>
              <a:rPr lang="ru-RU" sz="36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УПРАВЛЕНИЕ СОБЫТИЯМИ НА ПРОИЗВОДСТВЕ С ПОМОЩЬЮ </a:t>
            </a:r>
            <a:r>
              <a:rPr lang="en-US" sz="36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ZYFRA SMART PLANT MONITORING</a:t>
            </a:r>
            <a:endParaRPr lang="ru-RU" sz="3600" b="1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ECC5C26-A820-3A4B-2E2B-D2BB7FBB78E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Текст 1">
            <a:extLst>
              <a:ext uri="{FF2B5EF4-FFF2-40B4-BE49-F238E27FC236}">
                <a16:creationId xmlns:a16="http://schemas.microsoft.com/office/drawing/2014/main" id="{603F6017-DA88-4A93-ACBB-6B4993F68B29}"/>
              </a:ext>
            </a:extLst>
          </p:cNvPr>
          <p:cNvSpPr txBox="1">
            <a:spLocks/>
          </p:cNvSpPr>
          <p:nvPr/>
        </p:nvSpPr>
        <p:spPr>
          <a:xfrm>
            <a:off x="9069014" y="6045601"/>
            <a:ext cx="2977577" cy="484880"/>
          </a:xfrm>
          <a:prstGeom prst="rect">
            <a:avLst/>
          </a:prstGeom>
        </p:spPr>
        <p:txBody>
          <a:bodyPr vert="horz" lIns="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399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3399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200" b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Владелец продукта: Зацепина Анастасия</a:t>
            </a:r>
            <a:endParaRPr lang="en-US" sz="1200" b="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1200" b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Менеджер продукта: Анисимов Александр</a:t>
            </a:r>
          </a:p>
        </p:txBody>
      </p:sp>
    </p:spTree>
    <p:extLst>
      <p:ext uri="{BB962C8B-B14F-4D97-AF65-F5344CB8AC3E}">
        <p14:creationId xmlns:p14="http://schemas.microsoft.com/office/powerpoint/2010/main" val="1216154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Скругленный прямоугольник 125">
            <a:extLst>
              <a:ext uri="{FF2B5EF4-FFF2-40B4-BE49-F238E27FC236}">
                <a16:creationId xmlns:a16="http://schemas.microsoft.com/office/drawing/2014/main" id="{06681B3B-8366-5B4D-B865-14954948F8E7}"/>
              </a:ext>
            </a:extLst>
          </p:cNvPr>
          <p:cNvSpPr/>
          <p:nvPr/>
        </p:nvSpPr>
        <p:spPr>
          <a:xfrm>
            <a:off x="515025" y="1922024"/>
            <a:ext cx="11150497" cy="4076363"/>
          </a:xfrm>
          <a:prstGeom prst="roundRect">
            <a:avLst>
              <a:gd name="adj" fmla="val 1929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lIns="90000" rtlCol="0" anchor="ctr">
            <a:noAutofit/>
          </a:bodyPr>
          <a:lstStyle/>
          <a:p>
            <a:endParaRPr lang="ru-RU" sz="1000" dirty="0">
              <a:latin typeface="+mn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BE71D859-AE3D-F54A-A6EA-163BF26789B8}"/>
              </a:ext>
            </a:extLst>
          </p:cNvPr>
          <p:cNvSpPr/>
          <p:nvPr/>
        </p:nvSpPr>
        <p:spPr>
          <a:xfrm>
            <a:off x="515025" y="1224600"/>
            <a:ext cx="11150497" cy="540263"/>
          </a:xfrm>
          <a:prstGeom prst="roundRect">
            <a:avLst>
              <a:gd name="adj" fmla="val 15097"/>
            </a:avLst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 wrap="square" lIns="90000" rtlCol="0" anchor="ctr">
            <a:noAutofit/>
          </a:bodyPr>
          <a:lstStyle/>
          <a:p>
            <a:endParaRPr lang="ru-RU" sz="1000" dirty="0">
              <a:latin typeface="+mn-lt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Ключевые пользователи продукта</a:t>
            </a:r>
          </a:p>
        </p:txBody>
      </p:sp>
      <p:sp>
        <p:nvSpPr>
          <p:cNvPr id="7" name="Rectangle: Rounded Corners 12">
            <a:extLst>
              <a:ext uri="{FF2B5EF4-FFF2-40B4-BE49-F238E27FC236}">
                <a16:creationId xmlns:a16="http://schemas.microsoft.com/office/drawing/2014/main" id="{289F51BA-36C9-1142-9464-49CFE6A2EF76}"/>
              </a:ext>
            </a:extLst>
          </p:cNvPr>
          <p:cNvSpPr/>
          <p:nvPr/>
        </p:nvSpPr>
        <p:spPr>
          <a:xfrm>
            <a:off x="2975954" y="1860341"/>
            <a:ext cx="1332000" cy="441852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/>
              <a:t>НАЧАЛЬНИК СМЕНЫ</a:t>
            </a:r>
            <a:endParaRPr lang="en-ID" sz="900" b="1" dirty="0"/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B3E4BB69-3B0C-444D-A6BB-C8C876485B29}"/>
              </a:ext>
            </a:extLst>
          </p:cNvPr>
          <p:cNvSpPr/>
          <p:nvPr/>
        </p:nvSpPr>
        <p:spPr>
          <a:xfrm>
            <a:off x="2975954" y="1290420"/>
            <a:ext cx="1620000" cy="408623"/>
          </a:xfrm>
          <a:prstGeom prst="roundRect">
            <a:avLst/>
          </a:prstGeom>
          <a:solidFill>
            <a:srgbClr val="EDEEF4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ru-RU" sz="900" b="1" dirty="0"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Мониторинг состояния производства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99DE9D2D-367E-1647-BFE3-6D63DD5B174F}"/>
              </a:ext>
            </a:extLst>
          </p:cNvPr>
          <p:cNvSpPr/>
          <p:nvPr/>
        </p:nvSpPr>
        <p:spPr>
          <a:xfrm>
            <a:off x="4778459" y="1290420"/>
            <a:ext cx="1285433" cy="408623"/>
          </a:xfrm>
          <a:prstGeom prst="roundRect">
            <a:avLst/>
          </a:prstGeom>
          <a:solidFill>
            <a:srgbClr val="EDEEF4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buClr>
                <a:srgbClr val="76AF3E"/>
              </a:buClr>
            </a:pPr>
            <a:r>
              <a:rPr lang="ru-RU" sz="900" b="1" dirty="0"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Постановка распоряжений</a:t>
            </a: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9C87265E-66A7-5D40-9CFE-3D5577BAED80}"/>
              </a:ext>
            </a:extLst>
          </p:cNvPr>
          <p:cNvSpPr/>
          <p:nvPr/>
        </p:nvSpPr>
        <p:spPr>
          <a:xfrm>
            <a:off x="6246397" y="1290420"/>
            <a:ext cx="1108846" cy="408623"/>
          </a:xfrm>
          <a:prstGeom prst="roundRect">
            <a:avLst/>
          </a:prstGeom>
          <a:solidFill>
            <a:srgbClr val="EDEEF4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ru-RU" sz="900" b="1" dirty="0"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Мониторинг результатов</a:t>
            </a: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6674657E-B8B6-0445-B2A2-F149969F3E63}"/>
              </a:ext>
            </a:extLst>
          </p:cNvPr>
          <p:cNvSpPr/>
          <p:nvPr/>
        </p:nvSpPr>
        <p:spPr>
          <a:xfrm>
            <a:off x="7537748" y="1290420"/>
            <a:ext cx="2412000" cy="408623"/>
          </a:xfrm>
          <a:prstGeom prst="roundRect">
            <a:avLst/>
          </a:prstGeom>
          <a:solidFill>
            <a:srgbClr val="EDEEF4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buClr>
                <a:srgbClr val="76AF3E"/>
              </a:buClr>
            </a:pPr>
            <a:r>
              <a:rPr lang="ru-RU" sz="900" b="1" dirty="0"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Прием-передача смены </a:t>
            </a:r>
          </a:p>
          <a:p>
            <a:pPr>
              <a:buClr>
                <a:srgbClr val="76AF3E"/>
              </a:buClr>
            </a:pPr>
            <a:r>
              <a:rPr lang="ru-RU" sz="900" dirty="0"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(за исключением Начальника установки)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E41383A8-EDAB-8843-B452-167E17629C7A}"/>
              </a:ext>
            </a:extLst>
          </p:cNvPr>
          <p:cNvSpPr/>
          <p:nvPr/>
        </p:nvSpPr>
        <p:spPr>
          <a:xfrm>
            <a:off x="10132254" y="1290420"/>
            <a:ext cx="1404000" cy="408623"/>
          </a:xfrm>
          <a:prstGeom prst="roundRect">
            <a:avLst/>
          </a:prstGeom>
          <a:solidFill>
            <a:srgbClr val="EDEEF4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>
              <a:buClr>
                <a:srgbClr val="76AF3E"/>
              </a:buClr>
            </a:pPr>
            <a:r>
              <a:rPr lang="ru-RU" sz="900" b="1" dirty="0"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Отслеживание выполнения плана</a:t>
            </a: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D7FF2A20-6D02-8F41-A33E-25245FB293F0}"/>
              </a:ext>
            </a:extLst>
          </p:cNvPr>
          <p:cNvSpPr/>
          <p:nvPr/>
        </p:nvSpPr>
        <p:spPr>
          <a:xfrm>
            <a:off x="4445583" y="1860341"/>
            <a:ext cx="1332000" cy="441852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/>
              <a:t>ГЛАВНЫЙ ИНЖЕНЕР СМЕНЫ</a:t>
            </a:r>
          </a:p>
        </p:txBody>
      </p:sp>
      <p:sp>
        <p:nvSpPr>
          <p:cNvPr id="17" name="Rectangle: Rounded Corners 12">
            <a:extLst>
              <a:ext uri="{FF2B5EF4-FFF2-40B4-BE49-F238E27FC236}">
                <a16:creationId xmlns:a16="http://schemas.microsoft.com/office/drawing/2014/main" id="{14935585-6708-1C42-8E2E-521F4D9CE357}"/>
              </a:ext>
            </a:extLst>
          </p:cNvPr>
          <p:cNvSpPr/>
          <p:nvPr/>
        </p:nvSpPr>
        <p:spPr>
          <a:xfrm>
            <a:off x="5886668" y="1860341"/>
            <a:ext cx="1332000" cy="441852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/>
              <a:t>НАЧАЛЬНИК УСТАНОВКИ</a:t>
            </a:r>
          </a:p>
        </p:txBody>
      </p:sp>
      <p:sp>
        <p:nvSpPr>
          <p:cNvPr id="28" name="Rectangle: Rounded Corners 12">
            <a:extLst>
              <a:ext uri="{FF2B5EF4-FFF2-40B4-BE49-F238E27FC236}">
                <a16:creationId xmlns:a16="http://schemas.microsoft.com/office/drawing/2014/main" id="{A989D341-7E90-284F-94DC-42A1A17AE08C}"/>
              </a:ext>
            </a:extLst>
          </p:cNvPr>
          <p:cNvSpPr/>
          <p:nvPr/>
        </p:nvSpPr>
        <p:spPr>
          <a:xfrm>
            <a:off x="7350734" y="1860341"/>
            <a:ext cx="1332000" cy="441852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/>
              <a:t>ДИСПЕТЧЕР</a:t>
            </a:r>
          </a:p>
        </p:txBody>
      </p:sp>
      <p:sp>
        <p:nvSpPr>
          <p:cNvPr id="34" name="Rectangle: Rounded Corners 12">
            <a:extLst>
              <a:ext uri="{FF2B5EF4-FFF2-40B4-BE49-F238E27FC236}">
                <a16:creationId xmlns:a16="http://schemas.microsoft.com/office/drawing/2014/main" id="{24A5E6C4-74A8-6D46-99F9-DA87DE049FD5}"/>
              </a:ext>
            </a:extLst>
          </p:cNvPr>
          <p:cNvSpPr/>
          <p:nvPr/>
        </p:nvSpPr>
        <p:spPr>
          <a:xfrm>
            <a:off x="8808994" y="1860341"/>
            <a:ext cx="1332000" cy="441852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b="1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ОПЕРАТОР ОБЪЕКТА, ИТР</a:t>
            </a:r>
          </a:p>
        </p:txBody>
      </p:sp>
      <p:sp>
        <p:nvSpPr>
          <p:cNvPr id="40" name="Rectangle: Rounded Corners 12">
            <a:extLst>
              <a:ext uri="{FF2B5EF4-FFF2-40B4-BE49-F238E27FC236}">
                <a16:creationId xmlns:a16="http://schemas.microsoft.com/office/drawing/2014/main" id="{968975B8-4FFE-AE41-901B-617FA8CEFC94}"/>
              </a:ext>
            </a:extLst>
          </p:cNvPr>
          <p:cNvSpPr/>
          <p:nvPr/>
        </p:nvSpPr>
        <p:spPr>
          <a:xfrm>
            <a:off x="10267254" y="1860341"/>
            <a:ext cx="1332000" cy="441852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b="1" kern="1200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УПРАВЛЯЮЩИЙ ПЕРСОНАЛ</a:t>
            </a:r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620B7DB4-D239-CD46-9BB6-466EEA65E82F}"/>
              </a:ext>
            </a:extLst>
          </p:cNvPr>
          <p:cNvSpPr/>
          <p:nvPr/>
        </p:nvSpPr>
        <p:spPr>
          <a:xfrm>
            <a:off x="515025" y="2892470"/>
            <a:ext cx="2264033" cy="504000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ru-RU" sz="900" b="1" dirty="0"/>
              <a:t>Контроль состояния производственных объектов</a:t>
            </a: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C5C734FD-19B4-2847-8BA1-4E5921A701FE}"/>
              </a:ext>
            </a:extLst>
          </p:cNvPr>
          <p:cNvSpPr/>
          <p:nvPr/>
        </p:nvSpPr>
        <p:spPr>
          <a:xfrm>
            <a:off x="515025" y="3421168"/>
            <a:ext cx="2264033" cy="468000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r>
              <a:rPr lang="ru-RU" sz="900" b="1" dirty="0"/>
              <a:t>Управление сменами на производственных объектах</a:t>
            </a:r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5C71DAE3-4ED5-B54E-A24D-BD5591219482}"/>
              </a:ext>
            </a:extLst>
          </p:cNvPr>
          <p:cNvSpPr/>
          <p:nvPr/>
        </p:nvSpPr>
        <p:spPr>
          <a:xfrm>
            <a:off x="515025" y="3913866"/>
            <a:ext cx="1979071" cy="504000"/>
          </a:xfrm>
          <a:prstGeom prst="roundRect">
            <a:avLst/>
          </a:prstGeom>
          <a:noFill/>
          <a:ln>
            <a:noFill/>
          </a:ln>
        </p:spPr>
        <p:txBody>
          <a:bodyPr wrap="square" lIns="90000" rtlCol="0" anchor="ctr">
            <a:noAutofit/>
          </a:bodyPr>
          <a:lstStyle/>
          <a:p>
            <a:r>
              <a:rPr lang="ru-RU" sz="900" b="1" dirty="0"/>
              <a:t>Контроль ключевых показателей эффективности производственных объектов</a:t>
            </a:r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B9FB7706-29B2-2342-8C2F-B8C55A9EAD9F}"/>
              </a:ext>
            </a:extLst>
          </p:cNvPr>
          <p:cNvSpPr/>
          <p:nvPr/>
        </p:nvSpPr>
        <p:spPr>
          <a:xfrm>
            <a:off x="515025" y="4442564"/>
            <a:ext cx="1979071" cy="504000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r>
              <a:rPr lang="ru-RU" sz="900" b="1" dirty="0"/>
              <a:t>Формирование производственных заданий и контроль их исполнения</a:t>
            </a:r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id="{3B37D870-34F2-7945-A67F-ACB54D140583}"/>
              </a:ext>
            </a:extLst>
          </p:cNvPr>
          <p:cNvSpPr/>
          <p:nvPr/>
        </p:nvSpPr>
        <p:spPr>
          <a:xfrm>
            <a:off x="515026" y="4971262"/>
            <a:ext cx="1833728" cy="504000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r>
              <a:rPr lang="ru-RU" sz="900" b="1" dirty="0"/>
              <a:t>Оценка эффективности работы на сменах</a:t>
            </a:r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id="{414192A6-83D2-1C44-9694-A9514F526458}"/>
              </a:ext>
            </a:extLst>
          </p:cNvPr>
          <p:cNvSpPr/>
          <p:nvPr/>
        </p:nvSpPr>
        <p:spPr>
          <a:xfrm>
            <a:off x="515025" y="5499960"/>
            <a:ext cx="1421351" cy="504000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r>
              <a:rPr lang="ru-RU" sz="900" b="1" dirty="0"/>
              <a:t>Электронный вахтовый журнал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68BB30D4-A522-144A-87B4-82DE00612C5A}"/>
              </a:ext>
            </a:extLst>
          </p:cNvPr>
          <p:cNvCxnSpPr/>
          <p:nvPr/>
        </p:nvCxnSpPr>
        <p:spPr>
          <a:xfrm>
            <a:off x="526478" y="2880121"/>
            <a:ext cx="11139044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3C3A7833-9F49-F34D-BB71-C00EE60AB420}"/>
              </a:ext>
            </a:extLst>
          </p:cNvPr>
          <p:cNvCxnSpPr/>
          <p:nvPr/>
        </p:nvCxnSpPr>
        <p:spPr>
          <a:xfrm>
            <a:off x="526478" y="3408819"/>
            <a:ext cx="11139044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55D2F0B7-D591-CD48-AF89-AD65E434F64E}"/>
              </a:ext>
            </a:extLst>
          </p:cNvPr>
          <p:cNvCxnSpPr/>
          <p:nvPr/>
        </p:nvCxnSpPr>
        <p:spPr>
          <a:xfrm>
            <a:off x="526478" y="3901517"/>
            <a:ext cx="11139044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827CA79C-3995-C04B-8364-03E4B9A99B30}"/>
              </a:ext>
            </a:extLst>
          </p:cNvPr>
          <p:cNvCxnSpPr/>
          <p:nvPr/>
        </p:nvCxnSpPr>
        <p:spPr>
          <a:xfrm>
            <a:off x="526478" y="4958913"/>
            <a:ext cx="11139044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4989B3E5-2BD5-3948-AD5E-A56C5CF9A769}"/>
              </a:ext>
            </a:extLst>
          </p:cNvPr>
          <p:cNvCxnSpPr/>
          <p:nvPr/>
        </p:nvCxnSpPr>
        <p:spPr>
          <a:xfrm>
            <a:off x="526478" y="5487611"/>
            <a:ext cx="11139044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0BA5CA14-2580-664A-A92A-CACFF57B8663}"/>
              </a:ext>
            </a:extLst>
          </p:cNvPr>
          <p:cNvGrpSpPr/>
          <p:nvPr/>
        </p:nvGrpSpPr>
        <p:grpSpPr>
          <a:xfrm>
            <a:off x="2974816" y="1922024"/>
            <a:ext cx="7229308" cy="4076363"/>
            <a:chOff x="2974816" y="2002786"/>
            <a:chExt cx="7229308" cy="3995601"/>
          </a:xfrm>
        </p:grpSpPr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BF50A921-1515-CC42-B087-834BC77CAFA9}"/>
                </a:ext>
              </a:extLst>
            </p:cNvPr>
            <p:cNvCxnSpPr>
              <a:cxnSpLocks/>
            </p:cNvCxnSpPr>
            <p:nvPr/>
          </p:nvCxnSpPr>
          <p:spPr>
            <a:xfrm>
              <a:off x="2974816" y="2002786"/>
              <a:ext cx="0" cy="3995601"/>
            </a:xfrm>
            <a:prstGeom prst="line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6" name="Группа 115">
              <a:extLst>
                <a:ext uri="{FF2B5EF4-FFF2-40B4-BE49-F238E27FC236}">
                  <a16:creationId xmlns:a16="http://schemas.microsoft.com/office/drawing/2014/main" id="{7B7C7DA7-9418-9047-84C3-F7FDE303CBA4}"/>
                </a:ext>
              </a:extLst>
            </p:cNvPr>
            <p:cNvGrpSpPr/>
            <p:nvPr/>
          </p:nvGrpSpPr>
          <p:grpSpPr>
            <a:xfrm>
              <a:off x="4371084" y="2002786"/>
              <a:ext cx="5833040" cy="3995601"/>
              <a:chOff x="4371084" y="2107336"/>
              <a:chExt cx="5833040" cy="3891051"/>
            </a:xfrm>
          </p:grpSpPr>
          <p:cxnSp>
            <p:nvCxnSpPr>
              <p:cNvPr id="59" name="Прямая соединительная линия 58">
                <a:extLst>
                  <a:ext uri="{FF2B5EF4-FFF2-40B4-BE49-F238E27FC236}">
                    <a16:creationId xmlns:a16="http://schemas.microsoft.com/office/drawing/2014/main" id="{7FB74808-FC92-264B-ACA0-9B588631523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71084" y="2107336"/>
                <a:ext cx="0" cy="3891051"/>
              </a:xfrm>
              <a:prstGeom prst="line">
                <a:avLst/>
              </a:prstGeom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Прямая соединительная линия 59">
                <a:extLst>
                  <a:ext uri="{FF2B5EF4-FFF2-40B4-BE49-F238E27FC236}">
                    <a16:creationId xmlns:a16="http://schemas.microsoft.com/office/drawing/2014/main" id="{0BEE177F-9F17-3844-ACA9-DF8C2D1C4A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29344" y="2107336"/>
                <a:ext cx="0" cy="3891051"/>
              </a:xfrm>
              <a:prstGeom prst="line">
                <a:avLst/>
              </a:prstGeom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Прямая соединительная линия 60">
                <a:extLst>
                  <a:ext uri="{FF2B5EF4-FFF2-40B4-BE49-F238E27FC236}">
                    <a16:creationId xmlns:a16="http://schemas.microsoft.com/office/drawing/2014/main" id="{A7B59B27-6CD0-8346-95E3-0D3742DD45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287604" y="2107336"/>
                <a:ext cx="0" cy="3891051"/>
              </a:xfrm>
              <a:prstGeom prst="line">
                <a:avLst/>
              </a:prstGeom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Прямая соединительная линия 61">
                <a:extLst>
                  <a:ext uri="{FF2B5EF4-FFF2-40B4-BE49-F238E27FC236}">
                    <a16:creationId xmlns:a16="http://schemas.microsoft.com/office/drawing/2014/main" id="{255EA8D9-914A-364F-A7FE-CE7FCDD3ED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45864" y="2107336"/>
                <a:ext cx="0" cy="3891051"/>
              </a:xfrm>
              <a:prstGeom prst="line">
                <a:avLst/>
              </a:prstGeom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Прямая соединительная линия 62">
                <a:extLst>
                  <a:ext uri="{FF2B5EF4-FFF2-40B4-BE49-F238E27FC236}">
                    <a16:creationId xmlns:a16="http://schemas.microsoft.com/office/drawing/2014/main" id="{40193CAC-5363-224D-801C-4162A4731F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04124" y="2107336"/>
                <a:ext cx="0" cy="3891051"/>
              </a:xfrm>
              <a:prstGeom prst="line">
                <a:avLst/>
              </a:prstGeom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A126A136-7883-684C-9359-5FBC2A5BA4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8380" y="2498631"/>
            <a:ext cx="171290" cy="171290"/>
          </a:xfrm>
          <a:prstGeom prst="rect">
            <a:avLst/>
          </a:prstGeom>
        </p:spPr>
      </p:pic>
      <p:sp>
        <p:nvSpPr>
          <p:cNvPr id="67" name="Скругленный прямоугольник 66">
            <a:extLst>
              <a:ext uri="{FF2B5EF4-FFF2-40B4-BE49-F238E27FC236}">
                <a16:creationId xmlns:a16="http://schemas.microsoft.com/office/drawing/2014/main" id="{72550742-10D6-2B42-BFF9-A47D47024554}"/>
              </a:ext>
            </a:extLst>
          </p:cNvPr>
          <p:cNvSpPr/>
          <p:nvPr/>
        </p:nvSpPr>
        <p:spPr>
          <a:xfrm>
            <a:off x="515025" y="2309065"/>
            <a:ext cx="2394657" cy="561856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ru-RU" sz="900" b="1" dirty="0"/>
              <a:t>Контроль событий, происходящих во время работы смен на производственных объектах</a:t>
            </a: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8B2E4FC8-4843-9040-BC06-F52E68C6AE23}"/>
              </a:ext>
            </a:extLst>
          </p:cNvPr>
          <p:cNvCxnSpPr/>
          <p:nvPr/>
        </p:nvCxnSpPr>
        <p:spPr>
          <a:xfrm>
            <a:off x="526478" y="4430215"/>
            <a:ext cx="11139044" cy="0"/>
          </a:xfrm>
          <a:prstGeom prst="line">
            <a:avLst/>
          </a:prstGeom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5B2C3FCE-918E-F54B-857F-F734E1CF77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8380" y="3054442"/>
            <a:ext cx="171290" cy="171290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591635B3-0EA5-4E44-8A5B-96793EAA4A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8380" y="3574395"/>
            <a:ext cx="171290" cy="171290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92827452-E288-FB43-BC5B-7197DE2BD2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8380" y="4076420"/>
            <a:ext cx="171290" cy="171290"/>
          </a:xfrm>
          <a:prstGeom prst="rect">
            <a:avLst/>
          </a:prstGeom>
        </p:spPr>
      </p:pic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479D5ECE-7622-434C-B1E9-4669191B33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8380" y="4614302"/>
            <a:ext cx="171290" cy="171290"/>
          </a:xfrm>
          <a:prstGeom prst="rect">
            <a:avLst/>
          </a:prstGeom>
        </p:spPr>
      </p:pic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736EED8B-D74E-D14E-97CA-BE042ED17D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8380" y="5170114"/>
            <a:ext cx="171290" cy="171290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593F8E10-85F3-B946-A0FF-D8BD3C5CA6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38380" y="5690066"/>
            <a:ext cx="171290" cy="171290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8185599C-E6BF-E744-AC74-39970850E5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10920" y="3054442"/>
            <a:ext cx="171290" cy="171290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5EA3B922-3B64-B142-AC54-BAC1825582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10920" y="4076420"/>
            <a:ext cx="171290" cy="171290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58E7955D-2E68-F540-9571-FFF91B2BF3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10920" y="4614302"/>
            <a:ext cx="171290" cy="171290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D213E2CF-CECA-7A4B-91EB-540E4E2165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47835" y="2498631"/>
            <a:ext cx="171290" cy="171290"/>
          </a:xfrm>
          <a:prstGeom prst="rect">
            <a:avLst/>
          </a:prstGeom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id="{2DF45F08-D23B-254E-BAE8-8D6DEC52E8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47835" y="3054442"/>
            <a:ext cx="171290" cy="171290"/>
          </a:xfrm>
          <a:prstGeom prst="rect">
            <a:avLst/>
          </a:prstGeom>
        </p:spPr>
      </p:pic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CBD28E6D-701D-0945-A3B1-6ABFE97F11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47835" y="4076420"/>
            <a:ext cx="171290" cy="171290"/>
          </a:xfrm>
          <a:prstGeom prst="rect">
            <a:avLst/>
          </a:prstGeom>
        </p:spPr>
      </p:pic>
      <p:pic>
        <p:nvPicPr>
          <p:cNvPr id="90" name="Рисунок 89">
            <a:extLst>
              <a:ext uri="{FF2B5EF4-FFF2-40B4-BE49-F238E27FC236}">
                <a16:creationId xmlns:a16="http://schemas.microsoft.com/office/drawing/2014/main" id="{7463BCDC-3733-AC47-AADA-191449384E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47835" y="4614302"/>
            <a:ext cx="171290" cy="171290"/>
          </a:xfrm>
          <a:prstGeom prst="rect">
            <a:avLst/>
          </a:prstGeom>
        </p:spPr>
      </p:pic>
      <p:pic>
        <p:nvPicPr>
          <p:cNvPr id="91" name="Рисунок 90">
            <a:extLst>
              <a:ext uri="{FF2B5EF4-FFF2-40B4-BE49-F238E27FC236}">
                <a16:creationId xmlns:a16="http://schemas.microsoft.com/office/drawing/2014/main" id="{0029DC41-5C58-9C4C-8FBA-D6F035ADAF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47835" y="5170114"/>
            <a:ext cx="171290" cy="171290"/>
          </a:xfrm>
          <a:prstGeom prst="rect">
            <a:avLst/>
          </a:prstGeom>
        </p:spPr>
      </p:pic>
      <p:pic>
        <p:nvPicPr>
          <p:cNvPr id="92" name="Рисунок 91">
            <a:extLst>
              <a:ext uri="{FF2B5EF4-FFF2-40B4-BE49-F238E27FC236}">
                <a16:creationId xmlns:a16="http://schemas.microsoft.com/office/drawing/2014/main" id="{4F1A41B5-CB6D-3944-A9D5-C59C3E5B4A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47835" y="5690066"/>
            <a:ext cx="171290" cy="171290"/>
          </a:xfrm>
          <a:prstGeom prst="rect">
            <a:avLst/>
          </a:prstGeom>
        </p:spPr>
      </p:pic>
      <p:pic>
        <p:nvPicPr>
          <p:cNvPr id="93" name="Рисунок 92">
            <a:extLst>
              <a:ext uri="{FF2B5EF4-FFF2-40B4-BE49-F238E27FC236}">
                <a16:creationId xmlns:a16="http://schemas.microsoft.com/office/drawing/2014/main" id="{18D30F2F-5ABE-504D-8FD3-96CCAEDB44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20375" y="2498631"/>
            <a:ext cx="171290" cy="171290"/>
          </a:xfrm>
          <a:prstGeom prst="rect">
            <a:avLst/>
          </a:prstGeom>
        </p:spPr>
      </p:pic>
      <p:pic>
        <p:nvPicPr>
          <p:cNvPr id="94" name="Рисунок 93">
            <a:extLst>
              <a:ext uri="{FF2B5EF4-FFF2-40B4-BE49-F238E27FC236}">
                <a16:creationId xmlns:a16="http://schemas.microsoft.com/office/drawing/2014/main" id="{C7265E6E-54C8-8F4C-8F25-67D0ED93A8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20375" y="3054442"/>
            <a:ext cx="171290" cy="171290"/>
          </a:xfrm>
          <a:prstGeom prst="rect">
            <a:avLst/>
          </a:prstGeom>
        </p:spPr>
      </p:pic>
      <p:pic>
        <p:nvPicPr>
          <p:cNvPr id="95" name="Рисунок 94">
            <a:extLst>
              <a:ext uri="{FF2B5EF4-FFF2-40B4-BE49-F238E27FC236}">
                <a16:creationId xmlns:a16="http://schemas.microsoft.com/office/drawing/2014/main" id="{909BC321-3044-7448-A8DD-9A7F3BB7AC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20375" y="3574395"/>
            <a:ext cx="171290" cy="171290"/>
          </a:xfrm>
          <a:prstGeom prst="rect">
            <a:avLst/>
          </a:prstGeom>
        </p:spPr>
      </p:pic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216CA850-0AD4-734C-AE10-24E50C87E6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20375" y="4076420"/>
            <a:ext cx="171290" cy="171290"/>
          </a:xfrm>
          <a:prstGeom prst="rect">
            <a:avLst/>
          </a:prstGeom>
        </p:spPr>
      </p:pic>
      <p:pic>
        <p:nvPicPr>
          <p:cNvPr id="97" name="Рисунок 96">
            <a:extLst>
              <a:ext uri="{FF2B5EF4-FFF2-40B4-BE49-F238E27FC236}">
                <a16:creationId xmlns:a16="http://schemas.microsoft.com/office/drawing/2014/main" id="{C5FA69E3-52BC-644F-AFA2-8FD01B6AC8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20375" y="4614302"/>
            <a:ext cx="171290" cy="171290"/>
          </a:xfrm>
          <a:prstGeom prst="rect">
            <a:avLst/>
          </a:prstGeom>
        </p:spPr>
      </p:pic>
      <p:pic>
        <p:nvPicPr>
          <p:cNvPr id="100" name="Рисунок 99">
            <a:extLst>
              <a:ext uri="{FF2B5EF4-FFF2-40B4-BE49-F238E27FC236}">
                <a16:creationId xmlns:a16="http://schemas.microsoft.com/office/drawing/2014/main" id="{E102A2FC-CB02-3042-831C-314E4F3418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9165" y="2498631"/>
            <a:ext cx="171290" cy="171290"/>
          </a:xfrm>
          <a:prstGeom prst="rect">
            <a:avLst/>
          </a:prstGeom>
        </p:spPr>
      </p:pic>
      <p:pic>
        <p:nvPicPr>
          <p:cNvPr id="101" name="Рисунок 100">
            <a:extLst>
              <a:ext uri="{FF2B5EF4-FFF2-40B4-BE49-F238E27FC236}">
                <a16:creationId xmlns:a16="http://schemas.microsoft.com/office/drawing/2014/main" id="{C4F222BF-6AAF-1E45-B2B7-0F53B2EF47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9165" y="3054442"/>
            <a:ext cx="171290" cy="171290"/>
          </a:xfrm>
          <a:prstGeom prst="rect">
            <a:avLst/>
          </a:prstGeom>
        </p:spPr>
      </p:pic>
      <p:pic>
        <p:nvPicPr>
          <p:cNvPr id="102" name="Рисунок 101">
            <a:extLst>
              <a:ext uri="{FF2B5EF4-FFF2-40B4-BE49-F238E27FC236}">
                <a16:creationId xmlns:a16="http://schemas.microsoft.com/office/drawing/2014/main" id="{8A6A03BF-F185-CF48-B9D1-5BB514C38D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9165" y="3574395"/>
            <a:ext cx="171290" cy="171290"/>
          </a:xfrm>
          <a:prstGeom prst="rect">
            <a:avLst/>
          </a:prstGeom>
        </p:spPr>
      </p:pic>
      <p:pic>
        <p:nvPicPr>
          <p:cNvPr id="103" name="Рисунок 102">
            <a:extLst>
              <a:ext uri="{FF2B5EF4-FFF2-40B4-BE49-F238E27FC236}">
                <a16:creationId xmlns:a16="http://schemas.microsoft.com/office/drawing/2014/main" id="{8FDAF9F7-71B2-8847-A302-6F515095A4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9165" y="4076420"/>
            <a:ext cx="171290" cy="171290"/>
          </a:xfrm>
          <a:prstGeom prst="rect">
            <a:avLst/>
          </a:prstGeom>
        </p:spPr>
      </p:pic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C67ED1AD-9997-E94E-B5AB-F964E1B691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9165" y="4614302"/>
            <a:ext cx="171290" cy="171290"/>
          </a:xfrm>
          <a:prstGeom prst="rect">
            <a:avLst/>
          </a:prstGeom>
        </p:spPr>
      </p:pic>
      <p:pic>
        <p:nvPicPr>
          <p:cNvPr id="105" name="Рисунок 104">
            <a:extLst>
              <a:ext uri="{FF2B5EF4-FFF2-40B4-BE49-F238E27FC236}">
                <a16:creationId xmlns:a16="http://schemas.microsoft.com/office/drawing/2014/main" id="{7C0F82C4-A19F-E646-9B95-F8DDB9F861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9165" y="5170114"/>
            <a:ext cx="171290" cy="171290"/>
          </a:xfrm>
          <a:prstGeom prst="rect">
            <a:avLst/>
          </a:prstGeom>
        </p:spPr>
      </p:pic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7E1463B6-2C13-3C49-9772-104F983913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69165" y="5690066"/>
            <a:ext cx="171290" cy="171290"/>
          </a:xfrm>
          <a:prstGeom prst="rect">
            <a:avLst/>
          </a:prstGeom>
        </p:spPr>
      </p:pic>
      <p:pic>
        <p:nvPicPr>
          <p:cNvPr id="107" name="Рисунок 106">
            <a:extLst>
              <a:ext uri="{FF2B5EF4-FFF2-40B4-BE49-F238E27FC236}">
                <a16:creationId xmlns:a16="http://schemas.microsoft.com/office/drawing/2014/main" id="{60A2958F-2F1B-9740-8872-E79D4735E9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705" y="2498631"/>
            <a:ext cx="171290" cy="171290"/>
          </a:xfrm>
          <a:prstGeom prst="rect">
            <a:avLst/>
          </a:prstGeom>
        </p:spPr>
      </p:pic>
      <p:pic>
        <p:nvPicPr>
          <p:cNvPr id="108" name="Рисунок 107">
            <a:extLst>
              <a:ext uri="{FF2B5EF4-FFF2-40B4-BE49-F238E27FC236}">
                <a16:creationId xmlns:a16="http://schemas.microsoft.com/office/drawing/2014/main" id="{91A5C92D-B660-AE42-8BF8-652398218A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705" y="3054442"/>
            <a:ext cx="171290" cy="171290"/>
          </a:xfrm>
          <a:prstGeom prst="rect">
            <a:avLst/>
          </a:prstGeom>
        </p:spPr>
      </p:pic>
      <p:pic>
        <p:nvPicPr>
          <p:cNvPr id="109" name="Рисунок 108">
            <a:extLst>
              <a:ext uri="{FF2B5EF4-FFF2-40B4-BE49-F238E27FC236}">
                <a16:creationId xmlns:a16="http://schemas.microsoft.com/office/drawing/2014/main" id="{4B639E8B-38EA-0449-A43B-0CDD09E226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705" y="3574395"/>
            <a:ext cx="171290" cy="171290"/>
          </a:xfrm>
          <a:prstGeom prst="rect">
            <a:avLst/>
          </a:prstGeom>
        </p:spPr>
      </p:pic>
      <p:pic>
        <p:nvPicPr>
          <p:cNvPr id="110" name="Рисунок 109">
            <a:extLst>
              <a:ext uri="{FF2B5EF4-FFF2-40B4-BE49-F238E27FC236}">
                <a16:creationId xmlns:a16="http://schemas.microsoft.com/office/drawing/2014/main" id="{178E0AC0-CD08-614C-A826-8660D2531A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705" y="4076420"/>
            <a:ext cx="171290" cy="171290"/>
          </a:xfrm>
          <a:prstGeom prst="rect">
            <a:avLst/>
          </a:prstGeom>
        </p:spPr>
      </p:pic>
      <p:pic>
        <p:nvPicPr>
          <p:cNvPr id="111" name="Рисунок 110">
            <a:extLst>
              <a:ext uri="{FF2B5EF4-FFF2-40B4-BE49-F238E27FC236}">
                <a16:creationId xmlns:a16="http://schemas.microsoft.com/office/drawing/2014/main" id="{5DEF4074-94EA-7F4A-BDBC-27EC9463F3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41705" y="4614302"/>
            <a:ext cx="171290" cy="171290"/>
          </a:xfrm>
          <a:prstGeom prst="rect">
            <a:avLst/>
          </a:prstGeom>
        </p:spPr>
      </p:pic>
      <p:sp>
        <p:nvSpPr>
          <p:cNvPr id="114" name="Скругленный прямоугольник 113">
            <a:extLst>
              <a:ext uri="{FF2B5EF4-FFF2-40B4-BE49-F238E27FC236}">
                <a16:creationId xmlns:a16="http://schemas.microsoft.com/office/drawing/2014/main" id="{23542F3A-36D3-A34A-9F9A-9E2D9EE7FAF1}"/>
              </a:ext>
            </a:extLst>
          </p:cNvPr>
          <p:cNvSpPr/>
          <p:nvPr/>
        </p:nvSpPr>
        <p:spPr>
          <a:xfrm>
            <a:off x="598129" y="1358524"/>
            <a:ext cx="1895967" cy="272415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ru-RU" sz="1000" b="1" dirty="0">
                <a:solidFill>
                  <a:schemeClr val="accent1"/>
                </a:solidFill>
              </a:rPr>
              <a:t>ЗАДАЧИ ПОЛЬЗОВАТЕЛЯ</a:t>
            </a:r>
          </a:p>
        </p:txBody>
      </p:sp>
      <p:sp>
        <p:nvSpPr>
          <p:cNvPr id="118" name="Скругленный прямоугольник 117">
            <a:extLst>
              <a:ext uri="{FF2B5EF4-FFF2-40B4-BE49-F238E27FC236}">
                <a16:creationId xmlns:a16="http://schemas.microsoft.com/office/drawing/2014/main" id="{5D6FF200-B09D-9D40-977F-39EA75DD22A3}"/>
              </a:ext>
            </a:extLst>
          </p:cNvPr>
          <p:cNvSpPr/>
          <p:nvPr/>
        </p:nvSpPr>
        <p:spPr>
          <a:xfrm>
            <a:off x="551635" y="1954905"/>
            <a:ext cx="2067579" cy="272415"/>
          </a:xfrm>
          <a:prstGeom prst="round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ru-RU" sz="1000" b="1" dirty="0">
                <a:solidFill>
                  <a:schemeClr val="accent1"/>
                </a:solidFill>
              </a:rPr>
              <a:t>ПРЕДЛАГАЕМОЕ РЕШЕНИЕ</a:t>
            </a:r>
          </a:p>
        </p:txBody>
      </p:sp>
      <p:sp>
        <p:nvSpPr>
          <p:cNvPr id="119" name="Нашивка 18">
            <a:extLst>
              <a:ext uri="{FF2B5EF4-FFF2-40B4-BE49-F238E27FC236}">
                <a16:creationId xmlns:a16="http://schemas.microsoft.com/office/drawing/2014/main" id="{EC1DFF27-4649-8341-8695-476A21E7A42E}"/>
              </a:ext>
            </a:extLst>
          </p:cNvPr>
          <p:cNvSpPr/>
          <p:nvPr/>
        </p:nvSpPr>
        <p:spPr>
          <a:xfrm>
            <a:off x="4605167" y="1401159"/>
            <a:ext cx="164079" cy="187145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0" name="Нашивка 18">
            <a:extLst>
              <a:ext uri="{FF2B5EF4-FFF2-40B4-BE49-F238E27FC236}">
                <a16:creationId xmlns:a16="http://schemas.microsoft.com/office/drawing/2014/main" id="{72627E7D-7E4C-1643-8CD1-249CD59F42F3}"/>
              </a:ext>
            </a:extLst>
          </p:cNvPr>
          <p:cNvSpPr/>
          <p:nvPr/>
        </p:nvSpPr>
        <p:spPr>
          <a:xfrm>
            <a:off x="6073105" y="1401159"/>
            <a:ext cx="164079" cy="187145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1" name="Нашивка 18">
            <a:extLst>
              <a:ext uri="{FF2B5EF4-FFF2-40B4-BE49-F238E27FC236}">
                <a16:creationId xmlns:a16="http://schemas.microsoft.com/office/drawing/2014/main" id="{D9049956-9BA8-824C-8EEA-98C5298A6AED}"/>
              </a:ext>
            </a:extLst>
          </p:cNvPr>
          <p:cNvSpPr/>
          <p:nvPr/>
        </p:nvSpPr>
        <p:spPr>
          <a:xfrm>
            <a:off x="7364456" y="1401159"/>
            <a:ext cx="164079" cy="187145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2" name="Нашивка 18">
            <a:extLst>
              <a:ext uri="{FF2B5EF4-FFF2-40B4-BE49-F238E27FC236}">
                <a16:creationId xmlns:a16="http://schemas.microsoft.com/office/drawing/2014/main" id="{DA5CC3A7-4B2E-BF4D-BC5B-0642F073E858}"/>
              </a:ext>
            </a:extLst>
          </p:cNvPr>
          <p:cNvSpPr/>
          <p:nvPr/>
        </p:nvSpPr>
        <p:spPr>
          <a:xfrm>
            <a:off x="9958961" y="1401159"/>
            <a:ext cx="164079" cy="187145"/>
          </a:xfrm>
          <a:prstGeom prst="chevron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32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lass_00">
            <a:extLst>
              <a:ext uri="{FF2B5EF4-FFF2-40B4-BE49-F238E27FC236}">
                <a16:creationId xmlns:a16="http://schemas.microsoft.com/office/drawing/2014/main" id="{1D593E45-1725-6B41-BA98-F60FD28E6E19}"/>
              </a:ext>
            </a:extLst>
          </p:cNvPr>
          <p:cNvSpPr/>
          <p:nvPr/>
        </p:nvSpPr>
        <p:spPr>
          <a:xfrm>
            <a:off x="605895" y="1435761"/>
            <a:ext cx="3476989" cy="4421746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Glass_00">
            <a:extLst>
              <a:ext uri="{FF2B5EF4-FFF2-40B4-BE49-F238E27FC236}">
                <a16:creationId xmlns:a16="http://schemas.microsoft.com/office/drawing/2014/main" id="{B92E136E-01B1-9442-93EF-74E6FF9E176A}"/>
              </a:ext>
            </a:extLst>
          </p:cNvPr>
          <p:cNvSpPr/>
          <p:nvPr/>
        </p:nvSpPr>
        <p:spPr>
          <a:xfrm>
            <a:off x="4356628" y="1435761"/>
            <a:ext cx="3476989" cy="4421746"/>
          </a:xfrm>
          <a:prstGeom prst="roundRect">
            <a:avLst>
              <a:gd name="adj" fmla="val 6509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Glass_00">
            <a:extLst>
              <a:ext uri="{FF2B5EF4-FFF2-40B4-BE49-F238E27FC236}">
                <a16:creationId xmlns:a16="http://schemas.microsoft.com/office/drawing/2014/main" id="{032432A4-934A-8244-A283-8344CE0F3A71}"/>
              </a:ext>
            </a:extLst>
          </p:cNvPr>
          <p:cNvSpPr/>
          <p:nvPr/>
        </p:nvSpPr>
        <p:spPr>
          <a:xfrm>
            <a:off x="8107362" y="1435761"/>
            <a:ext cx="3476989" cy="4421746"/>
          </a:xfrm>
          <a:prstGeom prst="roundRect">
            <a:avLst>
              <a:gd name="adj" fmla="val 456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8795321" cy="1449388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2">
                    <a:lumMod val="50000"/>
                  </a:schemeClr>
                </a:solidFill>
              </a:rPr>
              <a:t>Z-SPM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</a:rPr>
              <a:t> состоит из модулей, позволяющих реализовать процессы управления отклонениями на производстве</a:t>
            </a: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C6F3F3B5-210B-4B48-B404-902383E0D50B}"/>
              </a:ext>
            </a:extLst>
          </p:cNvPr>
          <p:cNvSpPr/>
          <p:nvPr/>
        </p:nvSpPr>
        <p:spPr>
          <a:xfrm>
            <a:off x="4406660" y="3924058"/>
            <a:ext cx="349163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е приемом-передачи смены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FF68E10F-4713-4BDE-9D4B-108ECA0457F7}"/>
              </a:ext>
            </a:extLst>
          </p:cNvPr>
          <p:cNvSpPr/>
          <p:nvPr/>
        </p:nvSpPr>
        <p:spPr>
          <a:xfrm>
            <a:off x="4397905" y="3703588"/>
            <a:ext cx="349163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страция сменного персонала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9128A5D6-7E48-4537-B050-AC49BD9A15E5}"/>
              </a:ext>
            </a:extLst>
          </p:cNvPr>
          <p:cNvSpPr/>
          <p:nvPr/>
        </p:nvSpPr>
        <p:spPr>
          <a:xfrm>
            <a:off x="4404494" y="4144528"/>
            <a:ext cx="3429123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и передача зарегистрированных отклонений, диспетчерских заданий и распоряжений по сменам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6330E846-0000-4C72-9EB5-F23523C563EC}"/>
              </a:ext>
            </a:extLst>
          </p:cNvPr>
          <p:cNvSpPr/>
          <p:nvPr/>
        </p:nvSpPr>
        <p:spPr>
          <a:xfrm>
            <a:off x="4406660" y="4688163"/>
            <a:ext cx="350481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ный вахтовый журнал</a:t>
            </a: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31A9724C-0577-4A1A-9198-3DCFCC7BBD1A}"/>
              </a:ext>
            </a:extLst>
          </p:cNvPr>
          <p:cNvSpPr/>
          <p:nvPr/>
        </p:nvSpPr>
        <p:spPr>
          <a:xfrm>
            <a:off x="4415416" y="4908633"/>
            <a:ext cx="350481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струменты руководителя для передачи распоряжений и мониторинга выполнения 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932D522B-BD4E-434F-92D4-96450B34A885}"/>
              </a:ext>
            </a:extLst>
          </p:cNvPr>
          <p:cNvSpPr/>
          <p:nvPr/>
        </p:nvSpPr>
        <p:spPr>
          <a:xfrm>
            <a:off x="4415416" y="5290685"/>
            <a:ext cx="304321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необходимых для производственного персонала данных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8C9BD762-BAE7-4259-B930-FA0CE7965F1B}"/>
              </a:ext>
            </a:extLst>
          </p:cNvPr>
          <p:cNvSpPr/>
          <p:nvPr/>
        </p:nvSpPr>
        <p:spPr>
          <a:xfrm>
            <a:off x="8198399" y="4214636"/>
            <a:ext cx="33697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леживание влияния отработанных отклонений, диспетчерских заданий и распоряжений в режиме, близкому к режиму реального времени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117B2C57-70F9-4C55-82B5-560567557FDC}"/>
              </a:ext>
            </a:extLst>
          </p:cNvPr>
          <p:cNvSpPr/>
          <p:nvPr/>
        </p:nvSpPr>
        <p:spPr>
          <a:xfrm>
            <a:off x="8204988" y="3813187"/>
            <a:ext cx="3000895" cy="41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чет и мониторинг нескольких уровней КПЭ производственных объектов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F602CF27-88F8-4B24-BE62-F1DB0E5B527E}"/>
              </a:ext>
            </a:extLst>
          </p:cNvPr>
          <p:cNvSpPr/>
          <p:nvPr/>
        </p:nvSpPr>
        <p:spPr>
          <a:xfrm>
            <a:off x="8185219" y="4939251"/>
            <a:ext cx="302066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чет и фиксация отклонений по загрузке и выходящим потокам объектов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11469269-073B-404A-A013-B4BDCF54D285}"/>
              </a:ext>
            </a:extLst>
          </p:cNvPr>
          <p:cNvSpPr/>
          <p:nvPr/>
        </p:nvSpPr>
        <p:spPr>
          <a:xfrm>
            <a:off x="8198398" y="5340699"/>
            <a:ext cx="2792331" cy="4253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чет запасов по качеству с фиксацией отклонений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8AC0ED6-31AE-1C42-B7B9-858CCE14ACA6}"/>
              </a:ext>
            </a:extLst>
          </p:cNvPr>
          <p:cNvSpPr txBox="1"/>
          <p:nvPr/>
        </p:nvSpPr>
        <p:spPr>
          <a:xfrm>
            <a:off x="881425" y="3196205"/>
            <a:ext cx="2662314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Clr>
                <a:srgbClr val="76AF3E"/>
              </a:buClr>
            </a:pPr>
            <a:r>
              <a:rPr lang="ru-RU" sz="1200" b="1" dirty="0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е отклонениями и диспетчерскими заданиями</a:t>
            </a: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2E544BDC-987C-8744-92FF-7F11FA39A7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336" y="1610790"/>
            <a:ext cx="3125184" cy="1479234"/>
          </a:xfrm>
          <a:prstGeom prst="roundRect">
            <a:avLst>
              <a:gd name="adj" fmla="val 9799"/>
            </a:avLst>
          </a:prstGeom>
          <a:effectLst/>
        </p:spPr>
      </p:pic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B276BFD0-D504-1D43-AA7A-47165963B9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3287" y="1610790"/>
            <a:ext cx="3123669" cy="1485906"/>
          </a:xfrm>
          <a:prstGeom prst="roundRect">
            <a:avLst>
              <a:gd name="adj" fmla="val 7550"/>
            </a:avLst>
          </a:prstGeom>
          <a:effectLst/>
        </p:spPr>
      </p:pic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C2794CC5-1A16-2A4B-99D8-94E3F4478FA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895"/>
          <a:stretch/>
        </p:blipFill>
        <p:spPr>
          <a:xfrm>
            <a:off x="8284021" y="1610790"/>
            <a:ext cx="3123669" cy="1485907"/>
          </a:xfrm>
          <a:prstGeom prst="roundRect">
            <a:avLst>
              <a:gd name="adj" fmla="val 7550"/>
            </a:avLst>
          </a:prstGeom>
          <a:effectLst/>
        </p:spPr>
      </p:pic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64AB0C5C-6D7E-6B4C-A44F-64A4D0975C1D}"/>
              </a:ext>
            </a:extLst>
          </p:cNvPr>
          <p:cNvSpPr/>
          <p:nvPr/>
        </p:nvSpPr>
        <p:spPr>
          <a:xfrm>
            <a:off x="791795" y="4079712"/>
            <a:ext cx="308655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ксация истории событий от момента появления до момента закрытия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9C44211A-75E0-794C-9786-28A96FCF6799}"/>
              </a:ext>
            </a:extLst>
          </p:cNvPr>
          <p:cNvSpPr/>
          <p:nvPr/>
        </p:nvSpPr>
        <p:spPr>
          <a:xfrm>
            <a:off x="798385" y="3683241"/>
            <a:ext cx="308655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страция отклонений, диспетчерских заданий и распоряжений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3D495C8C-4A1D-3542-BB98-74D65CD3AB31}"/>
              </a:ext>
            </a:extLst>
          </p:cNvPr>
          <p:cNvSpPr/>
          <p:nvPr/>
        </p:nvSpPr>
        <p:spPr>
          <a:xfrm>
            <a:off x="791795" y="4476183"/>
            <a:ext cx="308072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ь выполнения отклонений, диспетчерских заданий и распоряжений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4415568E-E25D-7A46-B18C-B1196BF9BEAB}"/>
              </a:ext>
            </a:extLst>
          </p:cNvPr>
          <p:cNvSpPr/>
          <p:nvPr/>
        </p:nvSpPr>
        <p:spPr>
          <a:xfrm>
            <a:off x="781908" y="4872654"/>
            <a:ext cx="323058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ческое определение ответственных в соответствии с ролевой моделью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8855EC40-7A42-564F-BA41-965B40BA7952}"/>
              </a:ext>
            </a:extLst>
          </p:cNvPr>
          <p:cNvSpPr/>
          <p:nvPr/>
        </p:nvSpPr>
        <p:spPr>
          <a:xfrm>
            <a:off x="791795" y="5269124"/>
            <a:ext cx="248785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76AF3E"/>
              </a:buClr>
              <a:buFont typeface="Wingdings" panose="05000000000000000000" pitchFamily="2" charset="2"/>
              <a:buChar char="§"/>
            </a:pPr>
            <a:r>
              <a:rPr lang="ru-RU" sz="10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скалация событий в соответствии с ролевой моделью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44667DF-DBCF-ED4C-B9DB-61BFBD4C2356}"/>
              </a:ext>
            </a:extLst>
          </p:cNvPr>
          <p:cNvSpPr txBox="1"/>
          <p:nvPr/>
        </p:nvSpPr>
        <p:spPr>
          <a:xfrm>
            <a:off x="4592813" y="3196205"/>
            <a:ext cx="1843846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Clr>
                <a:srgbClr val="76AF3E"/>
              </a:buClr>
            </a:pPr>
            <a:r>
              <a:rPr lang="ru-RU" sz="1200" b="1">
                <a:solidFill>
                  <a:schemeClr val="accent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е сменами на производстве</a:t>
            </a:r>
            <a:endParaRPr lang="ru-RU" sz="1200" b="1" dirty="0">
              <a:solidFill>
                <a:schemeClr val="accent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EFB8C3AC-497B-C544-896D-81238D0AB583}"/>
              </a:ext>
            </a:extLst>
          </p:cNvPr>
          <p:cNvSpPr txBox="1"/>
          <p:nvPr/>
        </p:nvSpPr>
        <p:spPr>
          <a:xfrm>
            <a:off x="8375919" y="3196205"/>
            <a:ext cx="2829964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buClr>
                <a:srgbClr val="76AF3E"/>
              </a:buClr>
              <a:defRPr sz="1200" b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>
                <a:solidFill>
                  <a:schemeClr val="accent1"/>
                </a:solidFill>
              </a:rPr>
              <a:t>Мониторинг ключевых показателей эффективности производственных объектов</a:t>
            </a:r>
          </a:p>
        </p:txBody>
      </p:sp>
      <p:sp>
        <p:nvSpPr>
          <p:cNvPr id="38" name="Нашивка 18">
            <a:extLst>
              <a:ext uri="{FF2B5EF4-FFF2-40B4-BE49-F238E27FC236}">
                <a16:creationId xmlns:a16="http://schemas.microsoft.com/office/drawing/2014/main" id="{A29F849A-C9F6-2441-B892-4DC86D398C60}"/>
              </a:ext>
            </a:extLst>
          </p:cNvPr>
          <p:cNvSpPr/>
          <p:nvPr/>
        </p:nvSpPr>
        <p:spPr>
          <a:xfrm>
            <a:off x="4048339" y="2174594"/>
            <a:ext cx="308287" cy="351625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9" name="Нашивка 18">
            <a:extLst>
              <a:ext uri="{FF2B5EF4-FFF2-40B4-BE49-F238E27FC236}">
                <a16:creationId xmlns:a16="http://schemas.microsoft.com/office/drawing/2014/main" id="{B287F70D-F40B-CA42-899A-605B4CF9CED1}"/>
              </a:ext>
            </a:extLst>
          </p:cNvPr>
          <p:cNvSpPr/>
          <p:nvPr/>
        </p:nvSpPr>
        <p:spPr>
          <a:xfrm>
            <a:off x="7815667" y="2174594"/>
            <a:ext cx="308287" cy="351625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1" name="Нашивка 18">
            <a:extLst>
              <a:ext uri="{FF2B5EF4-FFF2-40B4-BE49-F238E27FC236}">
                <a16:creationId xmlns:a16="http://schemas.microsoft.com/office/drawing/2014/main" id="{3C767489-D01E-5948-9821-33277F3352BF}"/>
              </a:ext>
            </a:extLst>
          </p:cNvPr>
          <p:cNvSpPr/>
          <p:nvPr/>
        </p:nvSpPr>
        <p:spPr>
          <a:xfrm>
            <a:off x="11461075" y="2174594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2" name="Нашивка 18">
            <a:extLst>
              <a:ext uri="{FF2B5EF4-FFF2-40B4-BE49-F238E27FC236}">
                <a16:creationId xmlns:a16="http://schemas.microsoft.com/office/drawing/2014/main" id="{B9ABF1AA-3228-4444-B262-A3C1014D2F84}"/>
              </a:ext>
            </a:extLst>
          </p:cNvPr>
          <p:cNvSpPr/>
          <p:nvPr/>
        </p:nvSpPr>
        <p:spPr>
          <a:xfrm>
            <a:off x="390739" y="2174594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3" name="Нашивка 18">
            <a:extLst>
              <a:ext uri="{FF2B5EF4-FFF2-40B4-BE49-F238E27FC236}">
                <a16:creationId xmlns:a16="http://schemas.microsoft.com/office/drawing/2014/main" id="{5F0F23C0-CEE7-C742-916B-85885A6A4746}"/>
              </a:ext>
            </a:extLst>
          </p:cNvPr>
          <p:cNvSpPr/>
          <p:nvPr/>
        </p:nvSpPr>
        <p:spPr>
          <a:xfrm>
            <a:off x="11668603" y="2174594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8728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9265222" cy="1449388"/>
          </a:xfrm>
        </p:spPr>
        <p:txBody>
          <a:bodyPr>
            <a:normAutofit/>
          </a:bodyPr>
          <a:lstStyle/>
          <a:p>
            <a:r>
              <a:rPr lang="en-US" sz="2400" dirty="0"/>
              <a:t>Z-SPM</a:t>
            </a:r>
            <a:r>
              <a:rPr lang="ru-RU" sz="2400" dirty="0"/>
              <a:t> позволяет контролировать целевые режимы и параметры работ, рассчитанные в других продуктах компании</a:t>
            </a:r>
          </a:p>
        </p:txBody>
      </p:sp>
      <p:sp>
        <p:nvSpPr>
          <p:cNvPr id="4" name="Glass_00">
            <a:extLst>
              <a:ext uri="{FF2B5EF4-FFF2-40B4-BE49-F238E27FC236}">
                <a16:creationId xmlns:a16="http://schemas.microsoft.com/office/drawing/2014/main" id="{3D7B5F8E-2575-6645-9855-797C0860798A}"/>
              </a:ext>
            </a:extLst>
          </p:cNvPr>
          <p:cNvSpPr/>
          <p:nvPr/>
        </p:nvSpPr>
        <p:spPr>
          <a:xfrm>
            <a:off x="828703" y="2030078"/>
            <a:ext cx="10519651" cy="2411293"/>
          </a:xfrm>
          <a:prstGeom prst="roundRect">
            <a:avLst>
              <a:gd name="adj" fmla="val 4723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5" name="Rectangle: Rounded Corners 12">
            <a:extLst>
              <a:ext uri="{FF2B5EF4-FFF2-40B4-BE49-F238E27FC236}">
                <a16:creationId xmlns:a16="http://schemas.microsoft.com/office/drawing/2014/main" id="{B3226548-34A4-0A4B-B61C-DED77D1415C4}"/>
              </a:ext>
            </a:extLst>
          </p:cNvPr>
          <p:cNvSpPr/>
          <p:nvPr/>
        </p:nvSpPr>
        <p:spPr>
          <a:xfrm>
            <a:off x="1406091" y="2252001"/>
            <a:ext cx="2576815" cy="61341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D12C4E-C090-7146-87A6-D314F4C62BC4}"/>
              </a:ext>
            </a:extLst>
          </p:cNvPr>
          <p:cNvSpPr txBox="1"/>
          <p:nvPr/>
        </p:nvSpPr>
        <p:spPr>
          <a:xfrm>
            <a:off x="1554288" y="2312487"/>
            <a:ext cx="281218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cap="all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Zyfra smart plant monitoring</a:t>
            </a:r>
            <a:endParaRPr kumimoji="0" lang="ru-RU" sz="1600" b="1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Glass_00">
            <a:extLst>
              <a:ext uri="{FF2B5EF4-FFF2-40B4-BE49-F238E27FC236}">
                <a16:creationId xmlns:a16="http://schemas.microsoft.com/office/drawing/2014/main" id="{ED03998C-8765-7C4A-AFD8-F80B8ED59677}"/>
              </a:ext>
            </a:extLst>
          </p:cNvPr>
          <p:cNvSpPr/>
          <p:nvPr/>
        </p:nvSpPr>
        <p:spPr>
          <a:xfrm>
            <a:off x="677331" y="2252709"/>
            <a:ext cx="612000" cy="612000"/>
          </a:xfrm>
          <a:prstGeom prst="roundRect">
            <a:avLst>
              <a:gd name="adj" fmla="val 8944"/>
            </a:avLst>
          </a:prstGeom>
          <a:solidFill>
            <a:schemeClr val="accent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C78D32D-29DF-C847-B42C-8EA6054A70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7290" y="2312487"/>
            <a:ext cx="457200" cy="4572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D6B3703-4936-E84C-A04C-A67D8F882F7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3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36243" y="2241912"/>
            <a:ext cx="3452326" cy="629146"/>
          </a:xfrm>
          <a:prstGeom prst="rect">
            <a:avLst/>
          </a:prstGeom>
        </p:spPr>
      </p:pic>
      <p:sp>
        <p:nvSpPr>
          <p:cNvPr id="11" name="Rectangle: Rounded Corners 12">
            <a:extLst>
              <a:ext uri="{FF2B5EF4-FFF2-40B4-BE49-F238E27FC236}">
                <a16:creationId xmlns:a16="http://schemas.microsoft.com/office/drawing/2014/main" id="{A332E4C4-872E-194D-861A-6E1B85F94FA2}"/>
              </a:ext>
            </a:extLst>
          </p:cNvPr>
          <p:cNvSpPr/>
          <p:nvPr/>
        </p:nvSpPr>
        <p:spPr>
          <a:xfrm>
            <a:off x="1063434" y="3203706"/>
            <a:ext cx="1859622" cy="901747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Z-MEB</a:t>
            </a:r>
          </a:p>
          <a:p>
            <a:pPr algn="ctr"/>
            <a:r>
              <a:rPr lang="ru-RU" sz="1050" dirty="0" err="1">
                <a:solidFill>
                  <a:schemeClr val="tx2"/>
                </a:solidFill>
              </a:rPr>
              <a:t>Мат.балансы</a:t>
            </a:r>
            <a:r>
              <a:rPr lang="ru-RU" sz="1050" dirty="0">
                <a:solidFill>
                  <a:schemeClr val="tx2"/>
                </a:solidFill>
              </a:rPr>
              <a:t>;</a:t>
            </a:r>
          </a:p>
          <a:p>
            <a:pPr algn="ctr"/>
            <a:r>
              <a:rPr lang="ru-RU" sz="1050" dirty="0">
                <a:solidFill>
                  <a:schemeClr val="tx2"/>
                </a:solidFill>
              </a:rPr>
              <a:t>Операционный учет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4" name="Rectangle: Rounded Corners 12">
            <a:extLst>
              <a:ext uri="{FF2B5EF4-FFF2-40B4-BE49-F238E27FC236}">
                <a16:creationId xmlns:a16="http://schemas.microsoft.com/office/drawing/2014/main" id="{5BAF3647-E27B-9140-B8FB-056E875D6674}"/>
              </a:ext>
            </a:extLst>
          </p:cNvPr>
          <p:cNvSpPr/>
          <p:nvPr/>
        </p:nvSpPr>
        <p:spPr>
          <a:xfrm>
            <a:off x="3097508" y="3203706"/>
            <a:ext cx="1859622" cy="901747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Z-EFAA</a:t>
            </a:r>
          </a:p>
          <a:p>
            <a:pPr algn="ctr"/>
            <a:r>
              <a:rPr lang="ru-RU" sz="1050" dirty="0">
                <a:solidFill>
                  <a:schemeClr val="tx2"/>
                </a:solidFill>
              </a:rPr>
              <a:t>Контроль </a:t>
            </a:r>
            <a:r>
              <a:rPr lang="ru-RU" sz="1050" dirty="0" err="1">
                <a:solidFill>
                  <a:schemeClr val="tx2"/>
                </a:solidFill>
              </a:rPr>
              <a:t>энерго</a:t>
            </a:r>
            <a:r>
              <a:rPr lang="ru-RU" sz="1050" dirty="0">
                <a:solidFill>
                  <a:schemeClr val="tx2"/>
                </a:solidFill>
              </a:rPr>
              <a:t>-эффективности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5" name="Rectangle: Rounded Corners 12">
            <a:extLst>
              <a:ext uri="{FF2B5EF4-FFF2-40B4-BE49-F238E27FC236}">
                <a16:creationId xmlns:a16="http://schemas.microsoft.com/office/drawing/2014/main" id="{92B72756-C19D-F448-A4F9-04D203A93A51}"/>
              </a:ext>
            </a:extLst>
          </p:cNvPr>
          <p:cNvSpPr/>
          <p:nvPr/>
        </p:nvSpPr>
        <p:spPr>
          <a:xfrm>
            <a:off x="5131581" y="3203706"/>
            <a:ext cx="1859622" cy="901747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Z-MS</a:t>
            </a:r>
          </a:p>
          <a:p>
            <a:pPr algn="ctr"/>
            <a:r>
              <a:rPr lang="ru-RU" sz="1050" dirty="0">
                <a:solidFill>
                  <a:schemeClr val="tx2"/>
                </a:solidFill>
              </a:rPr>
              <a:t>Цифровой двойник; Предиктивная аналитика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6" name="Rectangle: Rounded Corners 12">
            <a:extLst>
              <a:ext uri="{FF2B5EF4-FFF2-40B4-BE49-F238E27FC236}">
                <a16:creationId xmlns:a16="http://schemas.microsoft.com/office/drawing/2014/main" id="{4B6FA6AF-43DB-3C47-AFC7-0B6AAE699EB3}"/>
              </a:ext>
            </a:extLst>
          </p:cNvPr>
          <p:cNvSpPr/>
          <p:nvPr/>
        </p:nvSpPr>
        <p:spPr>
          <a:xfrm>
            <a:off x="7165655" y="3203706"/>
            <a:ext cx="1859622" cy="901747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Z-3P</a:t>
            </a:r>
          </a:p>
          <a:p>
            <a:pPr algn="ctr"/>
            <a:r>
              <a:rPr lang="ru-RU" sz="1050" dirty="0">
                <a:solidFill>
                  <a:schemeClr val="tx2"/>
                </a:solidFill>
              </a:rPr>
              <a:t>Планирование производства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7" name="Rectangle: Rounded Corners 12">
            <a:extLst>
              <a:ext uri="{FF2B5EF4-FFF2-40B4-BE49-F238E27FC236}">
                <a16:creationId xmlns:a16="http://schemas.microsoft.com/office/drawing/2014/main" id="{7E72BDEF-2201-704A-8747-2F7FD2C9C4D8}"/>
              </a:ext>
            </a:extLst>
          </p:cNvPr>
          <p:cNvSpPr/>
          <p:nvPr/>
        </p:nvSpPr>
        <p:spPr>
          <a:xfrm>
            <a:off x="9162406" y="3203706"/>
            <a:ext cx="1859622" cy="901747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Z-RSP</a:t>
            </a:r>
          </a:p>
          <a:p>
            <a:pPr algn="ctr"/>
            <a:r>
              <a:rPr lang="ru-RU" sz="1050" dirty="0">
                <a:solidFill>
                  <a:schemeClr val="tx2"/>
                </a:solidFill>
              </a:rPr>
              <a:t>Планирование </a:t>
            </a:r>
          </a:p>
          <a:p>
            <a:pPr algn="ctr"/>
            <a:r>
              <a:rPr lang="ru-RU" sz="1050" dirty="0">
                <a:solidFill>
                  <a:schemeClr val="tx2"/>
                </a:solidFill>
              </a:rPr>
              <a:t>отгрузок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8" name="Rectangle: Rounded Corners 12">
            <a:extLst>
              <a:ext uri="{FF2B5EF4-FFF2-40B4-BE49-F238E27FC236}">
                <a16:creationId xmlns:a16="http://schemas.microsoft.com/office/drawing/2014/main" id="{4953FF4C-E135-5641-82F6-2B7752F374FA}"/>
              </a:ext>
            </a:extLst>
          </p:cNvPr>
          <p:cNvSpPr/>
          <p:nvPr/>
        </p:nvSpPr>
        <p:spPr>
          <a:xfrm>
            <a:off x="828703" y="4693582"/>
            <a:ext cx="10519651" cy="61341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D47641-AF8B-404E-AEF5-8F17C45575E5}"/>
              </a:ext>
            </a:extLst>
          </p:cNvPr>
          <p:cNvSpPr txBox="1"/>
          <p:nvPr/>
        </p:nvSpPr>
        <p:spPr>
          <a:xfrm>
            <a:off x="3118325" y="4868119"/>
            <a:ext cx="6973892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cap="all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Платформа </a:t>
            </a:r>
            <a:r>
              <a:rPr lang="en-US" sz="1600" b="1" cap="all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Zyfra industrial </a:t>
            </a:r>
            <a:r>
              <a:rPr lang="en-US" sz="1600" b="1" cap="all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iot</a:t>
            </a:r>
            <a:r>
              <a:rPr lang="en-US" sz="1600" b="1" cap="all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n-US" sz="1600" b="1" cap="all" dirty="0" err="1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oil&amp;gas</a:t>
            </a:r>
            <a:endParaRPr kumimoji="0" lang="ru-RU" sz="1600" b="1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Нашивка 18">
            <a:extLst>
              <a:ext uri="{FF2B5EF4-FFF2-40B4-BE49-F238E27FC236}">
                <a16:creationId xmlns:a16="http://schemas.microsoft.com/office/drawing/2014/main" id="{61BB04F8-D51F-5042-AFD5-375CCE8BE7D2}"/>
              </a:ext>
            </a:extLst>
          </p:cNvPr>
          <p:cNvSpPr/>
          <p:nvPr/>
        </p:nvSpPr>
        <p:spPr>
          <a:xfrm rot="16200000">
            <a:off x="1839101" y="4258450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1" name="Нашивка 18">
            <a:extLst>
              <a:ext uri="{FF2B5EF4-FFF2-40B4-BE49-F238E27FC236}">
                <a16:creationId xmlns:a16="http://schemas.microsoft.com/office/drawing/2014/main" id="{AF57ECE6-8958-124F-9FB3-DC7ADAF62982}"/>
              </a:ext>
            </a:extLst>
          </p:cNvPr>
          <p:cNvSpPr/>
          <p:nvPr/>
        </p:nvSpPr>
        <p:spPr>
          <a:xfrm rot="16200000">
            <a:off x="3873175" y="4258450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2" name="Нашивка 18">
            <a:extLst>
              <a:ext uri="{FF2B5EF4-FFF2-40B4-BE49-F238E27FC236}">
                <a16:creationId xmlns:a16="http://schemas.microsoft.com/office/drawing/2014/main" id="{950530B3-40B9-894D-B69C-DFBC164BC171}"/>
              </a:ext>
            </a:extLst>
          </p:cNvPr>
          <p:cNvSpPr/>
          <p:nvPr/>
        </p:nvSpPr>
        <p:spPr>
          <a:xfrm rot="16200000">
            <a:off x="5925909" y="4258450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3" name="Нашивка 18">
            <a:extLst>
              <a:ext uri="{FF2B5EF4-FFF2-40B4-BE49-F238E27FC236}">
                <a16:creationId xmlns:a16="http://schemas.microsoft.com/office/drawing/2014/main" id="{6E0FEEC5-E3C5-C84B-98F5-EA9E686B3738}"/>
              </a:ext>
            </a:extLst>
          </p:cNvPr>
          <p:cNvSpPr/>
          <p:nvPr/>
        </p:nvSpPr>
        <p:spPr>
          <a:xfrm rot="16200000">
            <a:off x="7941322" y="4258450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4" name="Нашивка 18">
            <a:extLst>
              <a:ext uri="{FF2B5EF4-FFF2-40B4-BE49-F238E27FC236}">
                <a16:creationId xmlns:a16="http://schemas.microsoft.com/office/drawing/2014/main" id="{4C5609EF-7DB7-994F-833B-44A8831A1B1F}"/>
              </a:ext>
            </a:extLst>
          </p:cNvPr>
          <p:cNvSpPr/>
          <p:nvPr/>
        </p:nvSpPr>
        <p:spPr>
          <a:xfrm rot="16200000">
            <a:off x="9994056" y="4258450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548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Сценарий использования всех модулей </a:t>
            </a:r>
            <a:r>
              <a:rPr lang="en-US" sz="2400" dirty="0"/>
              <a:t>Z-SPM</a:t>
            </a:r>
            <a:br>
              <a:rPr lang="en-US" dirty="0"/>
            </a:br>
            <a:r>
              <a:rPr lang="en-US" sz="1800" dirty="0">
                <a:solidFill>
                  <a:schemeClr val="accent1"/>
                </a:solidFill>
              </a:rPr>
              <a:t>*</a:t>
            </a:r>
            <a:r>
              <a:rPr lang="ru-RU" sz="1800" dirty="0">
                <a:solidFill>
                  <a:schemeClr val="accent1"/>
                </a:solidFill>
              </a:rPr>
              <a:t>на примере взаимодействия с системой </a:t>
            </a:r>
            <a:r>
              <a:rPr lang="en-US" sz="1800" dirty="0">
                <a:solidFill>
                  <a:schemeClr val="accent1"/>
                </a:solidFill>
              </a:rPr>
              <a:t>Z-EFAA (</a:t>
            </a:r>
            <a:r>
              <a:rPr lang="ru-RU" sz="1800" dirty="0">
                <a:solidFill>
                  <a:schemeClr val="accent1"/>
                </a:solidFill>
              </a:rPr>
              <a:t>Энергоконтроль)</a:t>
            </a:r>
            <a:endParaRPr lang="ru-RU" sz="2000" dirty="0">
              <a:solidFill>
                <a:schemeClr val="accent1"/>
              </a:solidFill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16DC0EF4-0650-004B-B471-81BC91F9F9B4}"/>
              </a:ext>
            </a:extLst>
          </p:cNvPr>
          <p:cNvCxnSpPr>
            <a:cxnSpLocks/>
            <a:stCxn id="90" idx="6"/>
          </p:cNvCxnSpPr>
          <p:nvPr/>
        </p:nvCxnSpPr>
        <p:spPr>
          <a:xfrm>
            <a:off x="1030491" y="3043170"/>
            <a:ext cx="861989" cy="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Дуга 17">
            <a:extLst>
              <a:ext uri="{FF2B5EF4-FFF2-40B4-BE49-F238E27FC236}">
                <a16:creationId xmlns:a16="http://schemas.microsoft.com/office/drawing/2014/main" id="{AA68C9B5-8C03-AE49-84A1-9022628E18F8}"/>
              </a:ext>
            </a:extLst>
          </p:cNvPr>
          <p:cNvSpPr/>
          <p:nvPr/>
        </p:nvSpPr>
        <p:spPr>
          <a:xfrm>
            <a:off x="1242117" y="3043170"/>
            <a:ext cx="1187169" cy="716116"/>
          </a:xfrm>
          <a:prstGeom prst="arc">
            <a:avLst>
              <a:gd name="adj1" fmla="val 16200000"/>
              <a:gd name="adj2" fmla="val 21551229"/>
            </a:avLst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latin typeface="Tahoma" panose="020B0604030504040204" pitchFamily="34" charset="0"/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CCE48B44-B15D-3D45-B6FE-40F7364739CF}"/>
              </a:ext>
            </a:extLst>
          </p:cNvPr>
          <p:cNvCxnSpPr>
            <a:cxnSpLocks/>
          </p:cNvCxnSpPr>
          <p:nvPr/>
        </p:nvCxnSpPr>
        <p:spPr>
          <a:xfrm>
            <a:off x="2429286" y="3388208"/>
            <a:ext cx="0" cy="1280329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079F4116-0C75-9D4F-A682-32B81EB3446E}"/>
              </a:ext>
            </a:extLst>
          </p:cNvPr>
          <p:cNvCxnSpPr>
            <a:cxnSpLocks/>
            <a:stCxn id="31" idx="0"/>
            <a:endCxn id="26" idx="0"/>
          </p:cNvCxnSpPr>
          <p:nvPr/>
        </p:nvCxnSpPr>
        <p:spPr>
          <a:xfrm flipH="1">
            <a:off x="4530060" y="2602268"/>
            <a:ext cx="1" cy="2061927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03B1CB62-470D-894E-BC86-4970577B047A}"/>
              </a:ext>
            </a:extLst>
          </p:cNvPr>
          <p:cNvCxnSpPr>
            <a:cxnSpLocks/>
            <a:stCxn id="30" idx="0"/>
            <a:endCxn id="35" idx="0"/>
          </p:cNvCxnSpPr>
          <p:nvPr/>
        </p:nvCxnSpPr>
        <p:spPr>
          <a:xfrm flipH="1">
            <a:off x="6629972" y="2602267"/>
            <a:ext cx="863" cy="935198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A7FBE1A1-DEC9-DF43-819D-16637E020F21}"/>
              </a:ext>
            </a:extLst>
          </p:cNvPr>
          <p:cNvCxnSpPr>
            <a:cxnSpLocks/>
          </p:cNvCxnSpPr>
          <p:nvPr/>
        </p:nvCxnSpPr>
        <p:spPr>
          <a:xfrm>
            <a:off x="8674764" y="2035182"/>
            <a:ext cx="0" cy="1502283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2D66769-8BC7-D14B-A069-2424CAC9C27C}"/>
              </a:ext>
            </a:extLst>
          </p:cNvPr>
          <p:cNvCxnSpPr>
            <a:cxnSpLocks/>
          </p:cNvCxnSpPr>
          <p:nvPr/>
        </p:nvCxnSpPr>
        <p:spPr>
          <a:xfrm>
            <a:off x="10708373" y="2016085"/>
            <a:ext cx="0" cy="1792014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F73A30E7-8702-4B48-934C-C6D1B5B96A30}"/>
              </a:ext>
            </a:extLst>
          </p:cNvPr>
          <p:cNvCxnSpPr>
            <a:cxnSpLocks/>
          </p:cNvCxnSpPr>
          <p:nvPr/>
        </p:nvCxnSpPr>
        <p:spPr>
          <a:xfrm>
            <a:off x="2971255" y="5038531"/>
            <a:ext cx="1016837" cy="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Дуга 25">
            <a:extLst>
              <a:ext uri="{FF2B5EF4-FFF2-40B4-BE49-F238E27FC236}">
                <a16:creationId xmlns:a16="http://schemas.microsoft.com/office/drawing/2014/main" id="{5BF463A6-8EC3-4547-847E-A76CB9546C9D}"/>
              </a:ext>
            </a:extLst>
          </p:cNvPr>
          <p:cNvSpPr/>
          <p:nvPr/>
        </p:nvSpPr>
        <p:spPr>
          <a:xfrm rot="5400000">
            <a:off x="3587950" y="4096419"/>
            <a:ext cx="748667" cy="1135553"/>
          </a:xfrm>
          <a:prstGeom prst="arc">
            <a:avLst>
              <a:gd name="adj1" fmla="val 16200000"/>
              <a:gd name="adj2" fmla="val 21596121"/>
            </a:avLst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latin typeface="Tahoma" panose="020B0604030504040204" pitchFamily="34" charset="0"/>
            </a:endParaRPr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6B3C1A6A-2CE5-654C-B367-D7D5F53ED880}"/>
              </a:ext>
            </a:extLst>
          </p:cNvPr>
          <p:cNvSpPr/>
          <p:nvPr/>
        </p:nvSpPr>
        <p:spPr>
          <a:xfrm rot="16200000" flipH="1">
            <a:off x="2622728" y="4096420"/>
            <a:ext cx="748667" cy="1135553"/>
          </a:xfrm>
          <a:prstGeom prst="arc">
            <a:avLst>
              <a:gd name="adj1" fmla="val 16200000"/>
              <a:gd name="adj2" fmla="val 21551229"/>
            </a:avLst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latin typeface="Tahoma" panose="020B0604030504040204" pitchFamily="34" charset="0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43AD421B-C6D3-7046-B9F2-D3C93DEDDF96}"/>
              </a:ext>
            </a:extLst>
          </p:cNvPr>
          <p:cNvGrpSpPr/>
          <p:nvPr/>
        </p:nvGrpSpPr>
        <p:grpSpPr>
          <a:xfrm flipV="1">
            <a:off x="4530061" y="2227933"/>
            <a:ext cx="2100774" cy="748669"/>
            <a:chOff x="2199481" y="1891506"/>
            <a:chExt cx="1938338" cy="1095377"/>
          </a:xfrm>
        </p:grpSpPr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C89241BC-0361-E943-9834-EB450444B792}"/>
                </a:ext>
              </a:extLst>
            </p:cNvPr>
            <p:cNvCxnSpPr>
              <a:cxnSpLocks/>
            </p:cNvCxnSpPr>
            <p:nvPr/>
          </p:nvCxnSpPr>
          <p:spPr>
            <a:xfrm>
              <a:off x="2699543" y="2986883"/>
              <a:ext cx="938213" cy="0"/>
            </a:xfrm>
            <a:prstGeom prst="line">
              <a:avLst/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Дуга 29">
              <a:extLst>
                <a:ext uri="{FF2B5EF4-FFF2-40B4-BE49-F238E27FC236}">
                  <a16:creationId xmlns:a16="http://schemas.microsoft.com/office/drawing/2014/main" id="{C032B5F6-DEAF-0141-B2B2-3FC543AFF9D1}"/>
                </a:ext>
              </a:extLst>
            </p:cNvPr>
            <p:cNvSpPr/>
            <p:nvPr/>
          </p:nvSpPr>
          <p:spPr>
            <a:xfrm rot="5400000">
              <a:off x="3066256" y="1915321"/>
              <a:ext cx="1095375" cy="1047750"/>
            </a:xfrm>
            <a:prstGeom prst="arc">
              <a:avLst>
                <a:gd name="adj1" fmla="val 16200000"/>
                <a:gd name="adj2" fmla="val 21596121"/>
              </a:avLst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Tahoma" panose="020B0604030504040204" pitchFamily="34" charset="0"/>
              </a:endParaRPr>
            </a:p>
          </p:txBody>
        </p:sp>
        <p:sp>
          <p:nvSpPr>
            <p:cNvPr id="31" name="Дуга 30">
              <a:extLst>
                <a:ext uri="{FF2B5EF4-FFF2-40B4-BE49-F238E27FC236}">
                  <a16:creationId xmlns:a16="http://schemas.microsoft.com/office/drawing/2014/main" id="{1CB748FD-29D6-7345-961A-0E39B8C7A21C}"/>
                </a:ext>
              </a:extLst>
            </p:cNvPr>
            <p:cNvSpPr/>
            <p:nvPr/>
          </p:nvSpPr>
          <p:spPr>
            <a:xfrm rot="16200000" flipH="1">
              <a:off x="2175668" y="1915319"/>
              <a:ext cx="1095375" cy="1047750"/>
            </a:xfrm>
            <a:prstGeom prst="arc">
              <a:avLst>
                <a:gd name="adj1" fmla="val 16200000"/>
                <a:gd name="adj2" fmla="val 21551229"/>
              </a:avLst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Tahoma" panose="020B0604030504040204" pitchFamily="34" charset="0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4472B0E2-463A-5B4D-8BC2-99AA8110C528}"/>
              </a:ext>
            </a:extLst>
          </p:cNvPr>
          <p:cNvGrpSpPr/>
          <p:nvPr/>
        </p:nvGrpSpPr>
        <p:grpSpPr>
          <a:xfrm>
            <a:off x="6629972" y="3163130"/>
            <a:ext cx="2044792" cy="748669"/>
            <a:chOff x="2199481" y="1891507"/>
            <a:chExt cx="1938338" cy="1095377"/>
          </a:xfrm>
        </p:grpSpPr>
        <p:cxnSp>
          <p:nvCxnSpPr>
            <p:cNvPr id="33" name="Прямая соединительная линия 32">
              <a:extLst>
                <a:ext uri="{FF2B5EF4-FFF2-40B4-BE49-F238E27FC236}">
                  <a16:creationId xmlns:a16="http://schemas.microsoft.com/office/drawing/2014/main" id="{C9C30BFA-1886-0D44-B7EB-4458A0248036}"/>
                </a:ext>
              </a:extLst>
            </p:cNvPr>
            <p:cNvCxnSpPr>
              <a:cxnSpLocks/>
            </p:cNvCxnSpPr>
            <p:nvPr/>
          </p:nvCxnSpPr>
          <p:spPr>
            <a:xfrm>
              <a:off x="2699543" y="2986884"/>
              <a:ext cx="938213" cy="0"/>
            </a:xfrm>
            <a:prstGeom prst="line">
              <a:avLst/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Дуга 33">
              <a:extLst>
                <a:ext uri="{FF2B5EF4-FFF2-40B4-BE49-F238E27FC236}">
                  <a16:creationId xmlns:a16="http://schemas.microsoft.com/office/drawing/2014/main" id="{719D29C3-21CD-AE40-9BF8-AAFF1A0D9ECC}"/>
                </a:ext>
              </a:extLst>
            </p:cNvPr>
            <p:cNvSpPr/>
            <p:nvPr/>
          </p:nvSpPr>
          <p:spPr>
            <a:xfrm rot="5400000">
              <a:off x="3066256" y="1915321"/>
              <a:ext cx="1095375" cy="1047750"/>
            </a:xfrm>
            <a:prstGeom prst="arc">
              <a:avLst>
                <a:gd name="adj1" fmla="val 16200000"/>
                <a:gd name="adj2" fmla="val 21596121"/>
              </a:avLst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Tahoma" panose="020B0604030504040204" pitchFamily="34" charset="0"/>
              </a:endParaRPr>
            </a:p>
          </p:txBody>
        </p:sp>
        <p:sp>
          <p:nvSpPr>
            <p:cNvPr id="35" name="Дуга 34">
              <a:extLst>
                <a:ext uri="{FF2B5EF4-FFF2-40B4-BE49-F238E27FC236}">
                  <a16:creationId xmlns:a16="http://schemas.microsoft.com/office/drawing/2014/main" id="{C770850F-FE25-BD46-A9F6-8B0BB2B98BE2}"/>
                </a:ext>
              </a:extLst>
            </p:cNvPr>
            <p:cNvSpPr/>
            <p:nvPr/>
          </p:nvSpPr>
          <p:spPr>
            <a:xfrm rot="16200000" flipH="1">
              <a:off x="2175668" y="1915320"/>
              <a:ext cx="1095375" cy="1047750"/>
            </a:xfrm>
            <a:prstGeom prst="arc">
              <a:avLst>
                <a:gd name="adj1" fmla="val 16200000"/>
                <a:gd name="adj2" fmla="val 21551229"/>
              </a:avLst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Tahoma" panose="020B0604030504040204" pitchFamily="34" charset="0"/>
              </a:endParaRP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499C3B04-A2E8-A948-9827-37F7C4B9EB7C}"/>
              </a:ext>
            </a:extLst>
          </p:cNvPr>
          <p:cNvGrpSpPr/>
          <p:nvPr/>
        </p:nvGrpSpPr>
        <p:grpSpPr>
          <a:xfrm flipV="1">
            <a:off x="8674764" y="1660847"/>
            <a:ext cx="2033610" cy="748669"/>
            <a:chOff x="2199481" y="1891507"/>
            <a:chExt cx="1938338" cy="1095377"/>
          </a:xfrm>
        </p:grpSpPr>
        <p:cxnSp>
          <p:nvCxnSpPr>
            <p:cNvPr id="37" name="Прямая соединительная линия 36">
              <a:extLst>
                <a:ext uri="{FF2B5EF4-FFF2-40B4-BE49-F238E27FC236}">
                  <a16:creationId xmlns:a16="http://schemas.microsoft.com/office/drawing/2014/main" id="{EA35278C-0331-7B4B-88C3-9342988ACF83}"/>
                </a:ext>
              </a:extLst>
            </p:cNvPr>
            <p:cNvCxnSpPr>
              <a:cxnSpLocks/>
            </p:cNvCxnSpPr>
            <p:nvPr/>
          </p:nvCxnSpPr>
          <p:spPr>
            <a:xfrm>
              <a:off x="2699543" y="2986884"/>
              <a:ext cx="938213" cy="0"/>
            </a:xfrm>
            <a:prstGeom prst="line">
              <a:avLst/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Дуга 37">
              <a:extLst>
                <a:ext uri="{FF2B5EF4-FFF2-40B4-BE49-F238E27FC236}">
                  <a16:creationId xmlns:a16="http://schemas.microsoft.com/office/drawing/2014/main" id="{435D6F2F-DA6A-4746-B0AB-B851DDC58AD2}"/>
                </a:ext>
              </a:extLst>
            </p:cNvPr>
            <p:cNvSpPr/>
            <p:nvPr/>
          </p:nvSpPr>
          <p:spPr>
            <a:xfrm rot="5400000">
              <a:off x="3066256" y="1915321"/>
              <a:ext cx="1095375" cy="1047750"/>
            </a:xfrm>
            <a:prstGeom prst="arc">
              <a:avLst>
                <a:gd name="adj1" fmla="val 16200000"/>
                <a:gd name="adj2" fmla="val 21596121"/>
              </a:avLst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Tahoma" panose="020B0604030504040204" pitchFamily="34" charset="0"/>
              </a:endParaRPr>
            </a:p>
          </p:txBody>
        </p:sp>
        <p:sp>
          <p:nvSpPr>
            <p:cNvPr id="39" name="Дуга 38">
              <a:extLst>
                <a:ext uri="{FF2B5EF4-FFF2-40B4-BE49-F238E27FC236}">
                  <a16:creationId xmlns:a16="http://schemas.microsoft.com/office/drawing/2014/main" id="{081BCA5F-143C-E74F-A66B-5875C8799BD8}"/>
                </a:ext>
              </a:extLst>
            </p:cNvPr>
            <p:cNvSpPr/>
            <p:nvPr/>
          </p:nvSpPr>
          <p:spPr>
            <a:xfrm rot="16200000" flipH="1">
              <a:off x="2175668" y="1915320"/>
              <a:ext cx="1095375" cy="1047750"/>
            </a:xfrm>
            <a:prstGeom prst="arc">
              <a:avLst>
                <a:gd name="adj1" fmla="val 16200000"/>
                <a:gd name="adj2" fmla="val 21551229"/>
              </a:avLst>
            </a:prstGeom>
            <a:ln w="28575"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Tahoma" panose="020B0604030504040204" pitchFamily="34" charset="0"/>
              </a:endParaRPr>
            </a:p>
          </p:txBody>
        </p:sp>
      </p:grpSp>
      <p:sp>
        <p:nvSpPr>
          <p:cNvPr id="90" name="Овал 89">
            <a:extLst>
              <a:ext uri="{FF2B5EF4-FFF2-40B4-BE49-F238E27FC236}">
                <a16:creationId xmlns:a16="http://schemas.microsoft.com/office/drawing/2014/main" id="{9AE74B8B-3274-5145-B6B8-C7DF9ECD83B0}"/>
              </a:ext>
            </a:extLst>
          </p:cNvPr>
          <p:cNvSpPr/>
          <p:nvPr/>
        </p:nvSpPr>
        <p:spPr>
          <a:xfrm>
            <a:off x="739974" y="2911740"/>
            <a:ext cx="290517" cy="262860"/>
          </a:xfrm>
          <a:prstGeom prst="ellipse">
            <a:avLst/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93" name="Rectangle: Rounded Corners 12">
            <a:extLst>
              <a:ext uri="{FF2B5EF4-FFF2-40B4-BE49-F238E27FC236}">
                <a16:creationId xmlns:a16="http://schemas.microsoft.com/office/drawing/2014/main" id="{63880117-5A1C-E044-8C07-5F106425DD5A}"/>
              </a:ext>
            </a:extLst>
          </p:cNvPr>
          <p:cNvSpPr/>
          <p:nvPr/>
        </p:nvSpPr>
        <p:spPr>
          <a:xfrm>
            <a:off x="648351" y="1992625"/>
            <a:ext cx="2068963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Z-SPM</a:t>
            </a:r>
            <a:r>
              <a:rPr lang="ru-RU" sz="1400" b="1" dirty="0">
                <a:solidFill>
                  <a:schemeClr val="accent1"/>
                </a:solidFill>
              </a:rPr>
              <a:t> </a:t>
            </a:r>
            <a:r>
              <a:rPr lang="ru-RU" sz="1100" dirty="0">
                <a:solidFill>
                  <a:schemeClr val="accent1"/>
                </a:solidFill>
              </a:rPr>
              <a:t>(ППС)</a:t>
            </a:r>
            <a:endParaRPr lang="en-US" sz="1100" dirty="0">
              <a:solidFill>
                <a:schemeClr val="accent1"/>
              </a:solidFill>
            </a:endParaRPr>
          </a:p>
          <a:p>
            <a:r>
              <a:rPr lang="ru-RU" sz="1050" dirty="0">
                <a:solidFill>
                  <a:schemeClr val="tx2"/>
                </a:solidFill>
              </a:rPr>
              <a:t>ИТР/операторы и </a:t>
            </a:r>
            <a:r>
              <a:rPr lang="ru-RU" sz="1050" dirty="0" err="1">
                <a:solidFill>
                  <a:schemeClr val="tx2"/>
                </a:solidFill>
              </a:rPr>
              <a:t>пр</a:t>
            </a:r>
            <a:r>
              <a:rPr lang="ru-RU" sz="1050" dirty="0">
                <a:solidFill>
                  <a:schemeClr val="tx2"/>
                </a:solidFill>
              </a:rPr>
              <a:t> специалисты регистрируются </a:t>
            </a:r>
          </a:p>
          <a:p>
            <a:r>
              <a:rPr lang="ru-RU" sz="1050" dirty="0">
                <a:solidFill>
                  <a:schemeClr val="tx2"/>
                </a:solidFill>
              </a:rPr>
              <a:t>на смену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8955CD88-5737-C442-B6CF-745C63824903}"/>
              </a:ext>
            </a:extLst>
          </p:cNvPr>
          <p:cNvSpPr/>
          <p:nvPr/>
        </p:nvSpPr>
        <p:spPr>
          <a:xfrm>
            <a:off x="2290459" y="4066491"/>
            <a:ext cx="290517" cy="262860"/>
          </a:xfrm>
          <a:prstGeom prst="ellipse">
            <a:avLst/>
          </a:prstGeom>
          <a:solidFill>
            <a:srgbClr val="00B0F0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  <p:sp>
        <p:nvSpPr>
          <p:cNvPr id="95" name="Rectangle: Rounded Corners 12">
            <a:extLst>
              <a:ext uri="{FF2B5EF4-FFF2-40B4-BE49-F238E27FC236}">
                <a16:creationId xmlns:a16="http://schemas.microsoft.com/office/drawing/2014/main" id="{1010F48A-80BE-5649-B453-5769459DE3E2}"/>
              </a:ext>
            </a:extLst>
          </p:cNvPr>
          <p:cNvSpPr/>
          <p:nvPr/>
        </p:nvSpPr>
        <p:spPr>
          <a:xfrm>
            <a:off x="2595190" y="3766790"/>
            <a:ext cx="1621717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rgbClr val="00B0F0"/>
                </a:solidFill>
              </a:rPr>
              <a:t>Z</a:t>
            </a:r>
            <a:r>
              <a:rPr lang="ru-RU" sz="1400" b="1" dirty="0">
                <a:solidFill>
                  <a:srgbClr val="00B0F0"/>
                </a:solidFill>
              </a:rPr>
              <a:t>-</a:t>
            </a:r>
            <a:r>
              <a:rPr lang="en-US" sz="1400" b="1" dirty="0">
                <a:solidFill>
                  <a:srgbClr val="00B0F0"/>
                </a:solidFill>
              </a:rPr>
              <a:t>EFAA </a:t>
            </a:r>
            <a:r>
              <a:rPr lang="en-US" sz="1100" dirty="0">
                <a:solidFill>
                  <a:srgbClr val="00B0F0"/>
                </a:solidFill>
              </a:rPr>
              <a:t>(</a:t>
            </a:r>
            <a:r>
              <a:rPr lang="ru-RU" sz="1100" dirty="0">
                <a:solidFill>
                  <a:srgbClr val="00B0F0"/>
                </a:solidFill>
              </a:rPr>
              <a:t>ЭК)</a:t>
            </a:r>
            <a:endParaRPr lang="en-US" sz="1100" dirty="0">
              <a:solidFill>
                <a:srgbClr val="00B0F0"/>
              </a:solidFill>
            </a:endParaRPr>
          </a:p>
          <a:p>
            <a:r>
              <a:rPr lang="ru-RU" sz="1050" dirty="0">
                <a:solidFill>
                  <a:schemeClr val="tx2"/>
                </a:solidFill>
              </a:rPr>
              <a:t>Идентификация отклонений по энергопотреблению установкой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96" name="Овал 95">
            <a:extLst>
              <a:ext uri="{FF2B5EF4-FFF2-40B4-BE49-F238E27FC236}">
                <a16:creationId xmlns:a16="http://schemas.microsoft.com/office/drawing/2014/main" id="{7F1D1EE0-D4A8-974A-AB9F-0460099887CF}"/>
              </a:ext>
            </a:extLst>
          </p:cNvPr>
          <p:cNvSpPr/>
          <p:nvPr/>
        </p:nvSpPr>
        <p:spPr>
          <a:xfrm>
            <a:off x="4270252" y="4739137"/>
            <a:ext cx="290517" cy="262860"/>
          </a:xfrm>
          <a:prstGeom prst="ellipse">
            <a:avLst/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3</a:t>
            </a:r>
          </a:p>
        </p:txBody>
      </p:sp>
      <p:sp>
        <p:nvSpPr>
          <p:cNvPr id="97" name="Rectangle: Rounded Corners 12">
            <a:extLst>
              <a:ext uri="{FF2B5EF4-FFF2-40B4-BE49-F238E27FC236}">
                <a16:creationId xmlns:a16="http://schemas.microsoft.com/office/drawing/2014/main" id="{ACB0070E-59F4-A647-A2E8-787735D1D92A}"/>
              </a:ext>
            </a:extLst>
          </p:cNvPr>
          <p:cNvSpPr/>
          <p:nvPr/>
        </p:nvSpPr>
        <p:spPr>
          <a:xfrm>
            <a:off x="4574983" y="4439436"/>
            <a:ext cx="1342640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Z</a:t>
            </a:r>
            <a:r>
              <a:rPr lang="ru-RU" sz="1400" b="1" dirty="0">
                <a:solidFill>
                  <a:schemeClr val="accent1"/>
                </a:solidFill>
              </a:rPr>
              <a:t>-</a:t>
            </a:r>
            <a:r>
              <a:rPr lang="en-US" sz="1400" b="1" dirty="0">
                <a:solidFill>
                  <a:schemeClr val="accent1"/>
                </a:solidFill>
              </a:rPr>
              <a:t>SPM </a:t>
            </a:r>
            <a:r>
              <a:rPr lang="en-US" sz="1100" dirty="0">
                <a:solidFill>
                  <a:schemeClr val="accent1"/>
                </a:solidFill>
              </a:rPr>
              <a:t>(C</a:t>
            </a:r>
            <a:r>
              <a:rPr lang="ru-RU" sz="1100" dirty="0">
                <a:solidFill>
                  <a:schemeClr val="accent1"/>
                </a:solidFill>
              </a:rPr>
              <a:t>УС)</a:t>
            </a:r>
            <a:endParaRPr lang="en-US" sz="1400" dirty="0">
              <a:solidFill>
                <a:schemeClr val="accent1"/>
              </a:solidFill>
            </a:endParaRPr>
          </a:p>
          <a:p>
            <a:r>
              <a:rPr lang="ru-RU" sz="1050" dirty="0">
                <a:solidFill>
                  <a:schemeClr val="tx2"/>
                </a:solidFill>
              </a:rPr>
              <a:t>Оповещение ответственных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98" name="Овал 97">
            <a:extLst>
              <a:ext uri="{FF2B5EF4-FFF2-40B4-BE49-F238E27FC236}">
                <a16:creationId xmlns:a16="http://schemas.microsoft.com/office/drawing/2014/main" id="{6DEEEDDC-7367-0747-8A60-24D633BC22A9}"/>
              </a:ext>
            </a:extLst>
          </p:cNvPr>
          <p:cNvSpPr/>
          <p:nvPr/>
        </p:nvSpPr>
        <p:spPr>
          <a:xfrm>
            <a:off x="4373637" y="2853112"/>
            <a:ext cx="290517" cy="262860"/>
          </a:xfrm>
          <a:prstGeom prst="ellipse">
            <a:avLst/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</a:t>
            </a:r>
          </a:p>
        </p:txBody>
      </p:sp>
      <p:sp>
        <p:nvSpPr>
          <p:cNvPr id="99" name="Rectangle: Rounded Corners 12">
            <a:extLst>
              <a:ext uri="{FF2B5EF4-FFF2-40B4-BE49-F238E27FC236}">
                <a16:creationId xmlns:a16="http://schemas.microsoft.com/office/drawing/2014/main" id="{C7A8D5C1-BCC5-5248-8DE7-FB06E9521279}"/>
              </a:ext>
            </a:extLst>
          </p:cNvPr>
          <p:cNvSpPr/>
          <p:nvPr/>
        </p:nvSpPr>
        <p:spPr>
          <a:xfrm>
            <a:off x="4678367" y="2553411"/>
            <a:ext cx="2068963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Z</a:t>
            </a:r>
            <a:r>
              <a:rPr lang="ru-RU" sz="1400" b="1" dirty="0">
                <a:solidFill>
                  <a:schemeClr val="accent1"/>
                </a:solidFill>
              </a:rPr>
              <a:t>-</a:t>
            </a:r>
            <a:r>
              <a:rPr lang="en-US" sz="1400" b="1" dirty="0">
                <a:solidFill>
                  <a:schemeClr val="accent1"/>
                </a:solidFill>
              </a:rPr>
              <a:t>SPM </a:t>
            </a:r>
            <a:r>
              <a:rPr lang="en-US" sz="1100" dirty="0">
                <a:solidFill>
                  <a:schemeClr val="accent1"/>
                </a:solidFill>
              </a:rPr>
              <a:t>(</a:t>
            </a:r>
            <a:r>
              <a:rPr lang="ru-RU" sz="1100" dirty="0">
                <a:solidFill>
                  <a:schemeClr val="accent1"/>
                </a:solidFill>
              </a:rPr>
              <a:t>ЭЖКО)</a:t>
            </a:r>
            <a:endParaRPr lang="en-US" sz="1100" dirty="0">
              <a:solidFill>
                <a:schemeClr val="accent1"/>
              </a:solidFill>
            </a:endParaRPr>
          </a:p>
          <a:p>
            <a:r>
              <a:rPr lang="ru-RU" sz="1050" dirty="0">
                <a:solidFill>
                  <a:schemeClr val="tx2"/>
                </a:solidFill>
              </a:rPr>
              <a:t>Энергетик выдает распоряжение по корректировке режима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02" name="Овал 101">
            <a:extLst>
              <a:ext uri="{FF2B5EF4-FFF2-40B4-BE49-F238E27FC236}">
                <a16:creationId xmlns:a16="http://schemas.microsoft.com/office/drawing/2014/main" id="{AE26438E-83ED-7042-A5F4-3558B4E9BA15}"/>
              </a:ext>
            </a:extLst>
          </p:cNvPr>
          <p:cNvSpPr/>
          <p:nvPr/>
        </p:nvSpPr>
        <p:spPr>
          <a:xfrm>
            <a:off x="6626884" y="3676669"/>
            <a:ext cx="290517" cy="262860"/>
          </a:xfrm>
          <a:prstGeom prst="ellipse">
            <a:avLst/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</a:t>
            </a:r>
          </a:p>
        </p:txBody>
      </p:sp>
      <p:sp>
        <p:nvSpPr>
          <p:cNvPr id="103" name="Rectangle: Rounded Corners 12">
            <a:extLst>
              <a:ext uri="{FF2B5EF4-FFF2-40B4-BE49-F238E27FC236}">
                <a16:creationId xmlns:a16="http://schemas.microsoft.com/office/drawing/2014/main" id="{5E9D1C9F-2C40-4D4A-B996-17D80C736473}"/>
              </a:ext>
            </a:extLst>
          </p:cNvPr>
          <p:cNvSpPr/>
          <p:nvPr/>
        </p:nvSpPr>
        <p:spPr>
          <a:xfrm>
            <a:off x="6731454" y="4002194"/>
            <a:ext cx="1808361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Z</a:t>
            </a:r>
            <a:r>
              <a:rPr lang="ru-RU" sz="1400" b="1" dirty="0">
                <a:solidFill>
                  <a:schemeClr val="accent1"/>
                </a:solidFill>
              </a:rPr>
              <a:t>-</a:t>
            </a:r>
            <a:r>
              <a:rPr lang="en-US" sz="1400" b="1" dirty="0">
                <a:solidFill>
                  <a:schemeClr val="accent1"/>
                </a:solidFill>
              </a:rPr>
              <a:t>SPM </a:t>
            </a:r>
            <a:r>
              <a:rPr lang="en-US" sz="1100" dirty="0">
                <a:solidFill>
                  <a:schemeClr val="accent1"/>
                </a:solidFill>
              </a:rPr>
              <a:t>(C</a:t>
            </a:r>
            <a:r>
              <a:rPr lang="ru-RU" sz="1100" dirty="0">
                <a:solidFill>
                  <a:schemeClr val="accent1"/>
                </a:solidFill>
              </a:rPr>
              <a:t>УС)</a:t>
            </a:r>
            <a:endParaRPr lang="en-US" sz="1100" dirty="0">
              <a:solidFill>
                <a:schemeClr val="accent1"/>
              </a:solidFill>
            </a:endParaRPr>
          </a:p>
          <a:p>
            <a:r>
              <a:rPr lang="ru-RU" sz="1050" dirty="0">
                <a:solidFill>
                  <a:schemeClr val="tx2"/>
                </a:solidFill>
              </a:rPr>
              <a:t>Передача распоряжения на старшего оператора установки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06" name="Овал 105">
            <a:extLst>
              <a:ext uri="{FF2B5EF4-FFF2-40B4-BE49-F238E27FC236}">
                <a16:creationId xmlns:a16="http://schemas.microsoft.com/office/drawing/2014/main" id="{7063E10A-2B57-804A-BF04-72CE95F87DB4}"/>
              </a:ext>
            </a:extLst>
          </p:cNvPr>
          <p:cNvSpPr/>
          <p:nvPr/>
        </p:nvSpPr>
        <p:spPr>
          <a:xfrm>
            <a:off x="8539816" y="1982867"/>
            <a:ext cx="290517" cy="262860"/>
          </a:xfrm>
          <a:prstGeom prst="ellipse">
            <a:avLst/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6</a:t>
            </a:r>
          </a:p>
        </p:txBody>
      </p:sp>
      <p:sp>
        <p:nvSpPr>
          <p:cNvPr id="107" name="Rectangle: Rounded Corners 12">
            <a:extLst>
              <a:ext uri="{FF2B5EF4-FFF2-40B4-BE49-F238E27FC236}">
                <a16:creationId xmlns:a16="http://schemas.microsoft.com/office/drawing/2014/main" id="{2B992484-39E3-DB4F-B65B-3941F2B123BA}"/>
              </a:ext>
            </a:extLst>
          </p:cNvPr>
          <p:cNvSpPr/>
          <p:nvPr/>
        </p:nvSpPr>
        <p:spPr>
          <a:xfrm>
            <a:off x="8759008" y="1904909"/>
            <a:ext cx="1903419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Z</a:t>
            </a:r>
            <a:r>
              <a:rPr lang="ru-RU" sz="1400" b="1" dirty="0">
                <a:solidFill>
                  <a:schemeClr val="accent1"/>
                </a:solidFill>
              </a:rPr>
              <a:t>-</a:t>
            </a:r>
            <a:r>
              <a:rPr lang="en-US" sz="1400" b="1" dirty="0">
                <a:solidFill>
                  <a:schemeClr val="accent1"/>
                </a:solidFill>
              </a:rPr>
              <a:t>SPM </a:t>
            </a:r>
            <a:r>
              <a:rPr lang="en-US" sz="1100" dirty="0">
                <a:solidFill>
                  <a:schemeClr val="accent1"/>
                </a:solidFill>
              </a:rPr>
              <a:t>(</a:t>
            </a:r>
            <a:r>
              <a:rPr lang="ru-RU" sz="1100" dirty="0">
                <a:solidFill>
                  <a:schemeClr val="accent1"/>
                </a:solidFill>
              </a:rPr>
              <a:t>ЭЖКО)</a:t>
            </a:r>
            <a:endParaRPr lang="en-US" sz="1100" dirty="0">
              <a:solidFill>
                <a:schemeClr val="accent1"/>
              </a:solidFill>
            </a:endParaRPr>
          </a:p>
          <a:p>
            <a:r>
              <a:rPr lang="ru-RU" sz="1050" dirty="0">
                <a:solidFill>
                  <a:schemeClr val="tx2"/>
                </a:solidFill>
              </a:rPr>
              <a:t>Старший оператор выполняет корректировку режима работы установки</a:t>
            </a:r>
            <a:endParaRPr lang="en-ID" sz="1050" dirty="0">
              <a:solidFill>
                <a:schemeClr val="tx2"/>
              </a:solidFill>
            </a:endParaRPr>
          </a:p>
        </p:txBody>
      </p:sp>
      <p:sp>
        <p:nvSpPr>
          <p:cNvPr id="113" name="Овал 112">
            <a:extLst>
              <a:ext uri="{FF2B5EF4-FFF2-40B4-BE49-F238E27FC236}">
                <a16:creationId xmlns:a16="http://schemas.microsoft.com/office/drawing/2014/main" id="{EE873114-7126-914E-B52D-68051AF46777}"/>
              </a:ext>
            </a:extLst>
          </p:cNvPr>
          <p:cNvSpPr/>
          <p:nvPr/>
        </p:nvSpPr>
        <p:spPr>
          <a:xfrm>
            <a:off x="10586089" y="3619461"/>
            <a:ext cx="290517" cy="262860"/>
          </a:xfrm>
          <a:prstGeom prst="ellipse">
            <a:avLst/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7</a:t>
            </a:r>
          </a:p>
        </p:txBody>
      </p:sp>
      <p:sp>
        <p:nvSpPr>
          <p:cNvPr id="114" name="Rectangle: Rounded Corners 12">
            <a:extLst>
              <a:ext uri="{FF2B5EF4-FFF2-40B4-BE49-F238E27FC236}">
                <a16:creationId xmlns:a16="http://schemas.microsoft.com/office/drawing/2014/main" id="{AA85C40D-13F0-AB40-BD57-8ED4DAB845F2}"/>
              </a:ext>
            </a:extLst>
          </p:cNvPr>
          <p:cNvSpPr/>
          <p:nvPr/>
        </p:nvSpPr>
        <p:spPr>
          <a:xfrm>
            <a:off x="9627682" y="4088984"/>
            <a:ext cx="2069490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accent1"/>
                </a:solidFill>
              </a:rPr>
              <a:t>Z</a:t>
            </a:r>
            <a:r>
              <a:rPr lang="ru-RU" sz="1400" b="1" dirty="0">
                <a:solidFill>
                  <a:schemeClr val="accent1"/>
                </a:solidFill>
              </a:rPr>
              <a:t>-</a:t>
            </a:r>
            <a:r>
              <a:rPr lang="en-US" sz="1400" b="1" dirty="0">
                <a:solidFill>
                  <a:schemeClr val="accent1"/>
                </a:solidFill>
              </a:rPr>
              <a:t>SPM </a:t>
            </a:r>
            <a:r>
              <a:rPr lang="en-US" sz="1100" dirty="0">
                <a:solidFill>
                  <a:schemeClr val="accent1"/>
                </a:solidFill>
              </a:rPr>
              <a:t>(</a:t>
            </a:r>
            <a:r>
              <a:rPr lang="ru-RU" sz="1100" dirty="0">
                <a:solidFill>
                  <a:schemeClr val="accent1"/>
                </a:solidFill>
              </a:rPr>
              <a:t>КПЭ)</a:t>
            </a:r>
            <a:endParaRPr lang="en-US" sz="1100" dirty="0">
              <a:solidFill>
                <a:schemeClr val="accent1"/>
              </a:solidFill>
            </a:endParaRPr>
          </a:p>
          <a:p>
            <a:r>
              <a:rPr lang="ru-RU" sz="1050" dirty="0">
                <a:solidFill>
                  <a:schemeClr val="tx2"/>
                </a:solidFill>
              </a:rPr>
              <a:t>Отслеживание результата за счет расчета ключевых показателей эффективности производства </a:t>
            </a:r>
            <a:r>
              <a:rPr lang="ru-RU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предпринятых мероприятий</a:t>
            </a:r>
          </a:p>
        </p:txBody>
      </p:sp>
      <p:sp>
        <p:nvSpPr>
          <p:cNvPr id="116" name="Glass_00">
            <a:extLst>
              <a:ext uri="{FF2B5EF4-FFF2-40B4-BE49-F238E27FC236}">
                <a16:creationId xmlns:a16="http://schemas.microsoft.com/office/drawing/2014/main" id="{424C5DC0-B6E9-3649-9182-40D6A8701134}"/>
              </a:ext>
            </a:extLst>
          </p:cNvPr>
          <p:cNvSpPr/>
          <p:nvPr/>
        </p:nvSpPr>
        <p:spPr>
          <a:xfrm>
            <a:off x="6836136" y="5156557"/>
            <a:ext cx="5546364" cy="754316"/>
          </a:xfrm>
          <a:prstGeom prst="roundRect">
            <a:avLst>
              <a:gd name="adj" fmla="val 17098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7" name="Рисунок 116">
            <a:extLst>
              <a:ext uri="{FF2B5EF4-FFF2-40B4-BE49-F238E27FC236}">
                <a16:creationId xmlns:a16="http://schemas.microsoft.com/office/drawing/2014/main" id="{77DCCCC9-5B2A-1346-99D5-9D819C94E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82618" y="5336392"/>
            <a:ext cx="338295" cy="337297"/>
          </a:xfrm>
          <a:prstGeom prst="rect">
            <a:avLst/>
          </a:prstGeom>
        </p:spPr>
      </p:pic>
      <p:sp>
        <p:nvSpPr>
          <p:cNvPr id="118" name="Rectangle: Rounded Corners 12">
            <a:extLst>
              <a:ext uri="{FF2B5EF4-FFF2-40B4-BE49-F238E27FC236}">
                <a16:creationId xmlns:a16="http://schemas.microsoft.com/office/drawing/2014/main" id="{837ACF10-2858-6C4C-AC95-7808F813381C}"/>
              </a:ext>
            </a:extLst>
          </p:cNvPr>
          <p:cNvSpPr/>
          <p:nvPr/>
        </p:nvSpPr>
        <p:spPr>
          <a:xfrm>
            <a:off x="7720473" y="5054166"/>
            <a:ext cx="4258363" cy="901747"/>
          </a:xfrm>
          <a:prstGeom prst="roundRect">
            <a:avLst/>
          </a:prstGeom>
          <a:noFill/>
          <a:ln>
            <a:noFill/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</a:rPr>
              <a:t>Использование комплекса приложений ЦУП</a:t>
            </a:r>
            <a:r>
              <a:rPr lang="en-US" sz="1200" dirty="0">
                <a:solidFill>
                  <a:schemeClr val="tx2">
                    <a:lumMod val="50000"/>
                  </a:schemeClr>
                </a:solidFill>
              </a:rPr>
              <a:t>* </a:t>
            </a:r>
            <a:r>
              <a:rPr lang="ru-RU" sz="1200" dirty="0">
                <a:solidFill>
                  <a:schemeClr val="tx2">
                    <a:lumMod val="50000"/>
                  </a:schemeClr>
                </a:solidFill>
              </a:rPr>
              <a:t>дает больший синергетический эффект для производства</a:t>
            </a:r>
            <a:endParaRPr lang="en-ID" sz="10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8107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Рисунок 47" descr="Изображение выглядит как текст, человек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FB82BF9D-B2E6-458C-9EF6-AE9AD5FEE1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3505" y="0"/>
            <a:ext cx="5258496" cy="6875954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A6931C97-876C-8745-B718-FC9201F37230}"/>
              </a:ext>
            </a:extLst>
          </p:cNvPr>
          <p:cNvSpPr/>
          <p:nvPr/>
        </p:nvSpPr>
        <p:spPr>
          <a:xfrm>
            <a:off x="6933505" y="8977"/>
            <a:ext cx="5257800" cy="6858000"/>
          </a:xfrm>
          <a:prstGeom prst="rect">
            <a:avLst/>
          </a:prstGeom>
          <a:solidFill>
            <a:srgbClr val="7FBB48">
              <a:alpha val="58039"/>
            </a:srgbClr>
          </a:solidFill>
        </p:spPr>
        <p:txBody>
          <a:bodyPr wrap="square" rtlCol="0" anchor="ctr">
            <a:spAutoFit/>
          </a:bodyPr>
          <a:lstStyle/>
          <a:p>
            <a:pPr algn="l"/>
            <a:endParaRPr lang="ru-RU" sz="1400" b="0" i="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7236778" cy="1449388"/>
          </a:xfrm>
        </p:spPr>
        <p:txBody>
          <a:bodyPr>
            <a:normAutofit/>
          </a:bodyPr>
          <a:lstStyle/>
          <a:p>
            <a:r>
              <a:rPr lang="ru-RU" sz="2400" dirty="0"/>
              <a:t>Ключевые преимущества продукт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B92E571-9573-4354-808C-418636C8C090}"/>
              </a:ext>
            </a:extLst>
          </p:cNvPr>
          <p:cNvSpPr/>
          <p:nvPr/>
        </p:nvSpPr>
        <p:spPr>
          <a:xfrm>
            <a:off x="1258795" y="2420593"/>
            <a:ext cx="42649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272A38"/>
                </a:solidFill>
                <a:ea typeface="Lato" panose="020F0502020204030203" pitchFamily="34" charset="0"/>
                <a:cs typeface="Lato" panose="020F0502020204030203" pitchFamily="34" charset="0"/>
              </a:rPr>
              <a:t>Обеспечение кросс-командного взаимодействия в режиме онлайн по мониторингу реагирования на события и исполнимости производственных заданий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E6B0F96-3CC4-4FFC-AA62-C7E545B1D1B3}"/>
              </a:ext>
            </a:extLst>
          </p:cNvPr>
          <p:cNvSpPr/>
          <p:nvPr/>
        </p:nvSpPr>
        <p:spPr>
          <a:xfrm>
            <a:off x="1258795" y="4219984"/>
            <a:ext cx="42649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272A38"/>
                </a:solidFill>
                <a:ea typeface="Lato" panose="020F0502020204030203" pitchFamily="34" charset="0"/>
                <a:cs typeface="Lato" panose="020F0502020204030203" pitchFamily="34" charset="0"/>
              </a:rPr>
              <a:t>Расчет КПЭ в режиме реального времени с предоставлением план/факт отклонений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60C0D74A-FBFF-484A-97E3-BADB0C4FBC05}"/>
              </a:ext>
            </a:extLst>
          </p:cNvPr>
          <p:cNvSpPr/>
          <p:nvPr/>
        </p:nvSpPr>
        <p:spPr>
          <a:xfrm>
            <a:off x="1258795" y="3296758"/>
            <a:ext cx="36491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272A38"/>
                </a:solidFill>
                <a:ea typeface="Lato" panose="020F0502020204030203" pitchFamily="34" charset="0"/>
                <a:cs typeface="Lato" panose="020F0502020204030203" pitchFamily="34" charset="0"/>
              </a:rPr>
              <a:t>Методика многоуровневого подхода по формированию дерева КПЭ по единицам производства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FB8A7A6C-6935-43AD-81AB-BC5E185BF5A5}"/>
              </a:ext>
            </a:extLst>
          </p:cNvPr>
          <p:cNvSpPr/>
          <p:nvPr/>
        </p:nvSpPr>
        <p:spPr>
          <a:xfrm>
            <a:off x="1258795" y="1683309"/>
            <a:ext cx="34473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272A38"/>
                </a:solidFill>
                <a:ea typeface="Lato" panose="020F0502020204030203" pitchFamily="34" charset="0"/>
                <a:cs typeface="Lato" panose="020F0502020204030203" pitchFamily="34" charset="0"/>
              </a:rPr>
              <a:t>Обеспечение управляемости отклонений, заданий и распоряжений на производстве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036A2A95-03A7-41CB-9D19-B4A654AABFD8}"/>
              </a:ext>
            </a:extLst>
          </p:cNvPr>
          <p:cNvSpPr/>
          <p:nvPr/>
        </p:nvSpPr>
        <p:spPr>
          <a:xfrm>
            <a:off x="1258795" y="4996829"/>
            <a:ext cx="65471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272A38"/>
                </a:solidFill>
                <a:ea typeface="Lato" panose="020F0502020204030203" pitchFamily="34" charset="0"/>
                <a:cs typeface="Lato" panose="020F0502020204030203" pitchFamily="34" charset="0"/>
              </a:rPr>
              <a:t>Бесшовная платформенная интеграция</a:t>
            </a: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9A0BD1AA-777E-8241-BD81-1A8176238E9D}"/>
              </a:ext>
            </a:extLst>
          </p:cNvPr>
          <p:cNvGrpSpPr/>
          <p:nvPr/>
        </p:nvGrpSpPr>
        <p:grpSpPr>
          <a:xfrm>
            <a:off x="702292" y="1738495"/>
            <a:ext cx="477441" cy="477441"/>
            <a:chOff x="526478" y="1528515"/>
            <a:chExt cx="477441" cy="477441"/>
          </a:xfrm>
        </p:grpSpPr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BBC7EF54-8FAC-8849-B834-DB265587C0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6478" y="1528515"/>
              <a:ext cx="477441" cy="477441"/>
            </a:xfrm>
            <a:prstGeom prst="rect">
              <a:avLst/>
            </a:prstGeom>
          </p:spPr>
        </p:pic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71455BDA-749B-0D44-9485-5AE684C8B52B}"/>
                </a:ext>
              </a:extLst>
            </p:cNvPr>
            <p:cNvSpPr/>
            <p:nvPr/>
          </p:nvSpPr>
          <p:spPr>
            <a:xfrm>
              <a:off x="608104" y="1594195"/>
              <a:ext cx="2824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1</a:t>
              </a:r>
              <a:endParaRPr lang="ru-RU" sz="1400" dirty="0"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82ADCF3B-4886-5D43-BD45-45F2C433655E}"/>
              </a:ext>
            </a:extLst>
          </p:cNvPr>
          <p:cNvGrpSpPr/>
          <p:nvPr/>
        </p:nvGrpSpPr>
        <p:grpSpPr>
          <a:xfrm>
            <a:off x="699728" y="2505039"/>
            <a:ext cx="477441" cy="477441"/>
            <a:chOff x="526478" y="1528515"/>
            <a:chExt cx="477441" cy="477441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BE477608-1A58-E24B-A988-823C6A859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6478" y="1528515"/>
              <a:ext cx="477441" cy="477441"/>
            </a:xfrm>
            <a:prstGeom prst="rect">
              <a:avLst/>
            </a:prstGeom>
          </p:spPr>
        </p:pic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A8513304-A0F4-224F-9753-2256C48144F5}"/>
                </a:ext>
              </a:extLst>
            </p:cNvPr>
            <p:cNvSpPr/>
            <p:nvPr/>
          </p:nvSpPr>
          <p:spPr>
            <a:xfrm>
              <a:off x="608104" y="1594195"/>
              <a:ext cx="2824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2</a:t>
              </a:r>
              <a:endParaRPr lang="ru-RU" sz="1400" dirty="0"/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ED58DECE-4065-3344-98FE-4FD5976DBA2B}"/>
              </a:ext>
            </a:extLst>
          </p:cNvPr>
          <p:cNvGrpSpPr/>
          <p:nvPr/>
        </p:nvGrpSpPr>
        <p:grpSpPr>
          <a:xfrm>
            <a:off x="702292" y="3409119"/>
            <a:ext cx="477441" cy="477441"/>
            <a:chOff x="526478" y="1528515"/>
            <a:chExt cx="477441" cy="477441"/>
          </a:xfrm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F0F53BD9-1FF1-2944-AE1B-F7BAC8D40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6478" y="1528515"/>
              <a:ext cx="477441" cy="477441"/>
            </a:xfrm>
            <a:prstGeom prst="rect">
              <a:avLst/>
            </a:prstGeom>
          </p:spPr>
        </p:pic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08125930-B73D-1543-BE1C-8924B07D684D}"/>
                </a:ext>
              </a:extLst>
            </p:cNvPr>
            <p:cNvSpPr/>
            <p:nvPr/>
          </p:nvSpPr>
          <p:spPr>
            <a:xfrm>
              <a:off x="608104" y="1594195"/>
              <a:ext cx="2824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3</a:t>
              </a:r>
              <a:endParaRPr lang="ru-RU" sz="1400" dirty="0"/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9EED9ED7-C4A2-E849-80EC-B57092E53B08}"/>
              </a:ext>
            </a:extLst>
          </p:cNvPr>
          <p:cNvGrpSpPr/>
          <p:nvPr/>
        </p:nvGrpSpPr>
        <p:grpSpPr>
          <a:xfrm>
            <a:off x="699728" y="4231249"/>
            <a:ext cx="477441" cy="477441"/>
            <a:chOff x="526478" y="1528515"/>
            <a:chExt cx="477441" cy="477441"/>
          </a:xfrm>
        </p:grpSpPr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A68A15AB-2BC1-D246-B994-39E0F175C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6478" y="1528515"/>
              <a:ext cx="477441" cy="477441"/>
            </a:xfrm>
            <a:prstGeom prst="rect">
              <a:avLst/>
            </a:prstGeom>
          </p:spPr>
        </p:pic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8DE917DA-BBB4-8E4A-9C90-1E48879C1479}"/>
                </a:ext>
              </a:extLst>
            </p:cNvPr>
            <p:cNvSpPr/>
            <p:nvPr/>
          </p:nvSpPr>
          <p:spPr>
            <a:xfrm>
              <a:off x="608104" y="1594195"/>
              <a:ext cx="2824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4</a:t>
              </a:r>
              <a:endParaRPr lang="ru-RU" sz="1400" dirty="0"/>
            </a:p>
          </p:txBody>
        </p: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D05C73F0-8D42-6D4D-BC84-814DF7E20923}"/>
              </a:ext>
            </a:extLst>
          </p:cNvPr>
          <p:cNvGrpSpPr/>
          <p:nvPr/>
        </p:nvGrpSpPr>
        <p:grpSpPr>
          <a:xfrm>
            <a:off x="699728" y="4946166"/>
            <a:ext cx="477441" cy="477441"/>
            <a:chOff x="526478" y="1528515"/>
            <a:chExt cx="477441" cy="477441"/>
          </a:xfrm>
        </p:grpSpPr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C8958321-4A9E-6F4A-9F7D-51F8D15D39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6478" y="1528515"/>
              <a:ext cx="477441" cy="477441"/>
            </a:xfrm>
            <a:prstGeom prst="rect">
              <a:avLst/>
            </a:prstGeom>
          </p:spPr>
        </p:pic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C11925BA-152E-A24B-A738-E94BA83C68B3}"/>
                </a:ext>
              </a:extLst>
            </p:cNvPr>
            <p:cNvSpPr/>
            <p:nvPr/>
          </p:nvSpPr>
          <p:spPr>
            <a:xfrm>
              <a:off x="608104" y="1594195"/>
              <a:ext cx="2824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ea typeface="Lato" panose="020F0502020204030203" pitchFamily="34" charset="0"/>
                  <a:cs typeface="Lato" panose="020F0502020204030203" pitchFamily="34" charset="0"/>
                </a:rPr>
                <a:t>5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177559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ейсы и референсы</a:t>
            </a:r>
          </a:p>
        </p:txBody>
      </p:sp>
      <p:sp>
        <p:nvSpPr>
          <p:cNvPr id="18" name="Glass_00">
            <a:extLst>
              <a:ext uri="{FF2B5EF4-FFF2-40B4-BE49-F238E27FC236}">
                <a16:creationId xmlns:a16="http://schemas.microsoft.com/office/drawing/2014/main" id="{ED8E1974-125B-481E-902F-7F101902A9B7}"/>
              </a:ext>
            </a:extLst>
          </p:cNvPr>
          <p:cNvSpPr/>
          <p:nvPr/>
        </p:nvSpPr>
        <p:spPr>
          <a:xfrm>
            <a:off x="605895" y="2001088"/>
            <a:ext cx="3476989" cy="2855823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Glass_00">
            <a:extLst>
              <a:ext uri="{FF2B5EF4-FFF2-40B4-BE49-F238E27FC236}">
                <a16:creationId xmlns:a16="http://schemas.microsoft.com/office/drawing/2014/main" id="{6EF4219B-0037-4055-A271-A49437D41DA2}"/>
              </a:ext>
            </a:extLst>
          </p:cNvPr>
          <p:cNvSpPr/>
          <p:nvPr/>
        </p:nvSpPr>
        <p:spPr>
          <a:xfrm>
            <a:off x="4356628" y="2001088"/>
            <a:ext cx="3476989" cy="2855823"/>
          </a:xfrm>
          <a:prstGeom prst="roundRect">
            <a:avLst>
              <a:gd name="adj" fmla="val 6509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Glass_00">
            <a:extLst>
              <a:ext uri="{FF2B5EF4-FFF2-40B4-BE49-F238E27FC236}">
                <a16:creationId xmlns:a16="http://schemas.microsoft.com/office/drawing/2014/main" id="{C758D1A3-4978-46A2-8A20-8662BF1711B1}"/>
              </a:ext>
            </a:extLst>
          </p:cNvPr>
          <p:cNvSpPr/>
          <p:nvPr/>
        </p:nvSpPr>
        <p:spPr>
          <a:xfrm>
            <a:off x="8107362" y="2001088"/>
            <a:ext cx="3476989" cy="2855823"/>
          </a:xfrm>
          <a:prstGeom prst="roundRect">
            <a:avLst>
              <a:gd name="adj" fmla="val 456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Rectangle: Rounded Corners 9">
            <a:extLst>
              <a:ext uri="{FF2B5EF4-FFF2-40B4-BE49-F238E27FC236}">
                <a16:creationId xmlns:a16="http://schemas.microsoft.com/office/drawing/2014/main" id="{11E4AFAD-353C-4687-95E7-31991D801C85}"/>
              </a:ext>
            </a:extLst>
          </p:cNvPr>
          <p:cNvSpPr/>
          <p:nvPr/>
        </p:nvSpPr>
        <p:spPr>
          <a:xfrm>
            <a:off x="993262" y="2241857"/>
            <a:ext cx="2676530" cy="430888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27000" dist="76200" dir="2700000" algn="tl" rotWithShape="0">
              <a:schemeClr val="accent3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A7A382B-F24A-493A-8FA7-0D873EBF4486}"/>
              </a:ext>
            </a:extLst>
          </p:cNvPr>
          <p:cNvSpPr txBox="1"/>
          <p:nvPr/>
        </p:nvSpPr>
        <p:spPr>
          <a:xfrm>
            <a:off x="993262" y="2371362"/>
            <a:ext cx="267653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РЕАЛИЗОВАН ПИЛОТ</a:t>
            </a:r>
          </a:p>
        </p:txBody>
      </p:sp>
      <p:sp>
        <p:nvSpPr>
          <p:cNvPr id="28" name="Rectangle: Rounded Corners 9">
            <a:extLst>
              <a:ext uri="{FF2B5EF4-FFF2-40B4-BE49-F238E27FC236}">
                <a16:creationId xmlns:a16="http://schemas.microsoft.com/office/drawing/2014/main" id="{C448E717-4B75-4A61-93BB-E298057AE2E9}"/>
              </a:ext>
            </a:extLst>
          </p:cNvPr>
          <p:cNvSpPr/>
          <p:nvPr/>
        </p:nvSpPr>
        <p:spPr>
          <a:xfrm>
            <a:off x="4748398" y="2241857"/>
            <a:ext cx="2676530" cy="430888"/>
          </a:xfrm>
          <a:prstGeom prst="roundRect">
            <a:avLst/>
          </a:prstGeom>
          <a:solidFill>
            <a:schemeClr val="tx2"/>
          </a:solidFill>
          <a:ln>
            <a:noFill/>
          </a:ln>
          <a:effectLst>
            <a:outerShdw blurRad="127000" dist="76200" dir="2700000" algn="tl" rotWithShape="0">
              <a:schemeClr val="accent3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13DD097-4FEE-4389-99FF-212AAAE9198E}"/>
              </a:ext>
            </a:extLst>
          </p:cNvPr>
          <p:cNvSpPr txBox="1"/>
          <p:nvPr/>
        </p:nvSpPr>
        <p:spPr>
          <a:xfrm>
            <a:off x="4748398" y="2371362"/>
            <a:ext cx="267653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ВНЕДРЕНИЕ</a:t>
            </a:r>
          </a:p>
        </p:txBody>
      </p:sp>
      <p:sp>
        <p:nvSpPr>
          <p:cNvPr id="30" name="Rectangle: Rounded Corners 9">
            <a:extLst>
              <a:ext uri="{FF2B5EF4-FFF2-40B4-BE49-F238E27FC236}">
                <a16:creationId xmlns:a16="http://schemas.microsoft.com/office/drawing/2014/main" id="{839B1332-CC3A-41F2-AE9B-98D02053561B}"/>
              </a:ext>
            </a:extLst>
          </p:cNvPr>
          <p:cNvSpPr/>
          <p:nvPr/>
        </p:nvSpPr>
        <p:spPr>
          <a:xfrm>
            <a:off x="8503534" y="2241857"/>
            <a:ext cx="2676530" cy="430888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accent3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AAA60DE-24C0-41DA-8C9A-8BBA081DD292}"/>
              </a:ext>
            </a:extLst>
          </p:cNvPr>
          <p:cNvSpPr txBox="1"/>
          <p:nvPr/>
        </p:nvSpPr>
        <p:spPr>
          <a:xfrm>
            <a:off x="8503534" y="2279029"/>
            <a:ext cx="267653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ЫТНО-ПРОМЫШЛЕННАЯ ЭКСПЛУАТАЦИЯ</a:t>
            </a:r>
          </a:p>
        </p:txBody>
      </p:sp>
      <p:pic>
        <p:nvPicPr>
          <p:cNvPr id="32" name="Picture 4" descr="Picture background">
            <a:extLst>
              <a:ext uri="{FF2B5EF4-FFF2-40B4-BE49-F238E27FC236}">
                <a16:creationId xmlns:a16="http://schemas.microsoft.com/office/drawing/2014/main" id="{180F844E-9069-44F1-9261-FA6DFE5EF8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60815" y="2977764"/>
            <a:ext cx="1436497" cy="95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2DD6275-A526-433E-9661-3E764C5831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6658" y="2625000"/>
            <a:ext cx="2350598" cy="110253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4559EACA-094F-4A5C-8F92-72240E4576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6023" y="2802250"/>
            <a:ext cx="1491007" cy="1491007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73E1E7E0-61B3-4BA1-99D2-D250EF9D21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1832" y="3533491"/>
            <a:ext cx="2249661" cy="1014298"/>
          </a:xfrm>
          <a:prstGeom prst="rect">
            <a:avLst/>
          </a:prstGeom>
        </p:spPr>
      </p:pic>
      <p:pic>
        <p:nvPicPr>
          <p:cNvPr id="36" name="Picture 2" descr="Picture background">
            <a:extLst>
              <a:ext uri="{FF2B5EF4-FFF2-40B4-BE49-F238E27FC236}">
                <a16:creationId xmlns:a16="http://schemas.microsoft.com/office/drawing/2014/main" id="{45B87022-96BF-41DF-BA46-EA18AF0B8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7219" y="2819041"/>
            <a:ext cx="1864315" cy="755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10788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lass_00">
            <a:extLst>
              <a:ext uri="{FF2B5EF4-FFF2-40B4-BE49-F238E27FC236}">
                <a16:creationId xmlns:a16="http://schemas.microsoft.com/office/drawing/2014/main" id="{43BC1F36-91EC-FD46-9EC9-B94A095EDB86}"/>
              </a:ext>
            </a:extLst>
          </p:cNvPr>
          <p:cNvSpPr/>
          <p:nvPr/>
        </p:nvSpPr>
        <p:spPr>
          <a:xfrm>
            <a:off x="3125618" y="2238461"/>
            <a:ext cx="1814975" cy="2821219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7" name="Glass_00">
            <a:extLst>
              <a:ext uri="{FF2B5EF4-FFF2-40B4-BE49-F238E27FC236}">
                <a16:creationId xmlns:a16="http://schemas.microsoft.com/office/drawing/2014/main" id="{1FD4720F-0833-A344-A369-3A1553DE7194}"/>
              </a:ext>
            </a:extLst>
          </p:cNvPr>
          <p:cNvSpPr/>
          <p:nvPr/>
        </p:nvSpPr>
        <p:spPr>
          <a:xfrm>
            <a:off x="5150382" y="2238461"/>
            <a:ext cx="1814975" cy="2821219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Glass_00">
            <a:extLst>
              <a:ext uri="{FF2B5EF4-FFF2-40B4-BE49-F238E27FC236}">
                <a16:creationId xmlns:a16="http://schemas.microsoft.com/office/drawing/2014/main" id="{5E2860C0-4721-8B46-9811-DAF22B176273}"/>
              </a:ext>
            </a:extLst>
          </p:cNvPr>
          <p:cNvSpPr/>
          <p:nvPr/>
        </p:nvSpPr>
        <p:spPr>
          <a:xfrm>
            <a:off x="7186446" y="2238461"/>
            <a:ext cx="1814975" cy="2821219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9" name="Glass_00">
            <a:extLst>
              <a:ext uri="{FF2B5EF4-FFF2-40B4-BE49-F238E27FC236}">
                <a16:creationId xmlns:a16="http://schemas.microsoft.com/office/drawing/2014/main" id="{70EB8C71-D5BD-4D4E-9CC9-092D8AA7D767}"/>
              </a:ext>
            </a:extLst>
          </p:cNvPr>
          <p:cNvSpPr/>
          <p:nvPr/>
        </p:nvSpPr>
        <p:spPr>
          <a:xfrm>
            <a:off x="9185934" y="2238461"/>
            <a:ext cx="1814975" cy="2821219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5" name="Glass_00">
            <a:extLst>
              <a:ext uri="{FF2B5EF4-FFF2-40B4-BE49-F238E27FC236}">
                <a16:creationId xmlns:a16="http://schemas.microsoft.com/office/drawing/2014/main" id="{E382F39D-1971-2045-9656-664912E44F61}"/>
              </a:ext>
            </a:extLst>
          </p:cNvPr>
          <p:cNvSpPr/>
          <p:nvPr/>
        </p:nvSpPr>
        <p:spPr>
          <a:xfrm>
            <a:off x="1089554" y="2238461"/>
            <a:ext cx="1814975" cy="2821219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E22E8AE-ABA1-4618-AA41-7916159BD9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E22E8AE-ABA1-4618-AA41-7916159BD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5F5D9BD-CB71-427E-9723-7C3A88AB2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1" dirty="0">
              <a:sym typeface="Lato" panose="020F0502020204030203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6478" y="1"/>
            <a:ext cx="10821877" cy="1268412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ru-RU" sz="2400" dirty="0">
                <a:solidFill>
                  <a:schemeClr val="tx2">
                    <a:lumMod val="75000"/>
                  </a:schemeClr>
                </a:solidFill>
                <a:latin typeface="+mn-lt"/>
                <a:ea typeface="Lato" charset="0"/>
                <a:cs typeface="Lato" charset="0"/>
              </a:rPr>
              <a:t>Этапы развития продукта</a:t>
            </a:r>
          </a:p>
        </p:txBody>
      </p:sp>
      <p:sp>
        <p:nvSpPr>
          <p:cNvPr id="74" name="Rectangle: Rounded Corners 12">
            <a:extLst>
              <a:ext uri="{FF2B5EF4-FFF2-40B4-BE49-F238E27FC236}">
                <a16:creationId xmlns:a16="http://schemas.microsoft.com/office/drawing/2014/main" id="{D21F2828-EA7F-8747-A948-D6D7491CEC44}"/>
              </a:ext>
            </a:extLst>
          </p:cNvPr>
          <p:cNvSpPr/>
          <p:nvPr/>
        </p:nvSpPr>
        <p:spPr>
          <a:xfrm>
            <a:off x="1063434" y="2198564"/>
            <a:ext cx="1859622" cy="901747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Q1 2024</a:t>
            </a:r>
          </a:p>
        </p:txBody>
      </p:sp>
      <p:sp>
        <p:nvSpPr>
          <p:cNvPr id="77" name="Rectangle: Rounded Corners 12">
            <a:extLst>
              <a:ext uri="{FF2B5EF4-FFF2-40B4-BE49-F238E27FC236}">
                <a16:creationId xmlns:a16="http://schemas.microsoft.com/office/drawing/2014/main" id="{911B9CDF-715B-534D-B138-F3D59B3A371B}"/>
              </a:ext>
            </a:extLst>
          </p:cNvPr>
          <p:cNvSpPr/>
          <p:nvPr/>
        </p:nvSpPr>
        <p:spPr>
          <a:xfrm>
            <a:off x="3097508" y="2198564"/>
            <a:ext cx="1859622" cy="901747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Q2 2024</a:t>
            </a:r>
          </a:p>
        </p:txBody>
      </p:sp>
      <p:sp>
        <p:nvSpPr>
          <p:cNvPr id="78" name="Rectangle: Rounded Corners 12">
            <a:extLst>
              <a:ext uri="{FF2B5EF4-FFF2-40B4-BE49-F238E27FC236}">
                <a16:creationId xmlns:a16="http://schemas.microsoft.com/office/drawing/2014/main" id="{5084C8B5-789C-5F4F-8F20-961F61953319}"/>
              </a:ext>
            </a:extLst>
          </p:cNvPr>
          <p:cNvSpPr/>
          <p:nvPr/>
        </p:nvSpPr>
        <p:spPr>
          <a:xfrm>
            <a:off x="5131581" y="2198564"/>
            <a:ext cx="1859622" cy="901747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Q3 2024</a:t>
            </a:r>
          </a:p>
        </p:txBody>
      </p:sp>
      <p:sp>
        <p:nvSpPr>
          <p:cNvPr id="82" name="Rectangle: Rounded Corners 12">
            <a:extLst>
              <a:ext uri="{FF2B5EF4-FFF2-40B4-BE49-F238E27FC236}">
                <a16:creationId xmlns:a16="http://schemas.microsoft.com/office/drawing/2014/main" id="{8FF2E806-274B-3A4E-AFD2-A16C1B0D55A0}"/>
              </a:ext>
            </a:extLst>
          </p:cNvPr>
          <p:cNvSpPr/>
          <p:nvPr/>
        </p:nvSpPr>
        <p:spPr>
          <a:xfrm>
            <a:off x="7165655" y="2198564"/>
            <a:ext cx="1859622" cy="901747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Q4 2024</a:t>
            </a:r>
          </a:p>
        </p:txBody>
      </p:sp>
      <p:sp>
        <p:nvSpPr>
          <p:cNvPr id="84" name="Rectangle: Rounded Corners 12">
            <a:extLst>
              <a:ext uri="{FF2B5EF4-FFF2-40B4-BE49-F238E27FC236}">
                <a16:creationId xmlns:a16="http://schemas.microsoft.com/office/drawing/2014/main" id="{A1BDD40D-4701-2B41-B64E-2E12FD5E0118}"/>
              </a:ext>
            </a:extLst>
          </p:cNvPr>
          <p:cNvSpPr/>
          <p:nvPr/>
        </p:nvSpPr>
        <p:spPr>
          <a:xfrm>
            <a:off x="9162406" y="2198564"/>
            <a:ext cx="1859622" cy="901747"/>
          </a:xfrm>
          <a:prstGeom prst="roundRect">
            <a:avLst/>
          </a:prstGeom>
          <a:noFill/>
          <a:ln>
            <a:solidFill>
              <a:schemeClr val="accent1"/>
            </a:solidFill>
          </a:ln>
          <a:effectLst>
            <a:outerShdw blurRad="127000" dist="76200" dir="2700000" algn="tl" rotWithShape="0">
              <a:schemeClr val="tx2">
                <a:lumMod val="60000"/>
                <a:lumOff val="4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2025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7F6AE4C-A9BE-04E0-2AE4-0901C3DF2C92}"/>
              </a:ext>
            </a:extLst>
          </p:cNvPr>
          <p:cNvSpPr txBox="1"/>
          <p:nvPr/>
        </p:nvSpPr>
        <p:spPr>
          <a:xfrm>
            <a:off x="3125618" y="3306544"/>
            <a:ext cx="180367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tx2">
                    <a:lumMod val="50000"/>
                  </a:schemeClr>
                </a:solidFill>
              </a:rPr>
              <a:t>Выпущена первая версия продукта с комплектом документации</a:t>
            </a:r>
            <a:endParaRPr lang="en-US" sz="105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C482CBB-1C3D-4FAB-BE39-023F6DD0A6D5}"/>
              </a:ext>
            </a:extLst>
          </p:cNvPr>
          <p:cNvSpPr txBox="1"/>
          <p:nvPr/>
        </p:nvSpPr>
        <p:spPr>
          <a:xfrm>
            <a:off x="5161682" y="3306544"/>
            <a:ext cx="180367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tx2">
                    <a:lumMod val="50000"/>
                  </a:schemeClr>
                </a:solidFill>
              </a:rPr>
              <a:t>Персональные настройки  вывода данных по объектам производства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FD48FABE-6946-44F4-AE63-07A17437BD63}"/>
              </a:ext>
            </a:extLst>
          </p:cNvPr>
          <p:cNvSpPr txBox="1"/>
          <p:nvPr/>
        </p:nvSpPr>
        <p:spPr>
          <a:xfrm>
            <a:off x="7205116" y="3306544"/>
            <a:ext cx="179630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tx2">
                    <a:lumMod val="50000"/>
                  </a:schemeClr>
                </a:solidFill>
              </a:rPr>
              <a:t>Шаблоны событий и персональное подключение событий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8EFF5BE3-42A7-4860-A81E-0794FD97DF70}"/>
              </a:ext>
            </a:extLst>
          </p:cNvPr>
          <p:cNvSpPr txBox="1"/>
          <p:nvPr/>
        </p:nvSpPr>
        <p:spPr>
          <a:xfrm>
            <a:off x="9222510" y="3306544"/>
            <a:ext cx="166748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tx2">
                    <a:lumMod val="50000"/>
                  </a:schemeClr>
                </a:solidFill>
              </a:rPr>
              <a:t>Переход на настраиваемый пользовательский интерфейс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03585AB-2DE4-409B-A4F8-896400B4404D}"/>
              </a:ext>
            </a:extLst>
          </p:cNvPr>
          <p:cNvSpPr txBox="1"/>
          <p:nvPr/>
        </p:nvSpPr>
        <p:spPr>
          <a:xfrm>
            <a:off x="1089554" y="3306544"/>
            <a:ext cx="181497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Выделение продукта с командой в продуктовой линейке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14786869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61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 bwMode="auto">
          <a:xfrm>
            <a:off x="4487353" y="0"/>
            <a:ext cx="7685860" cy="6858000"/>
          </a:xfrm>
          <a:prstGeom prst="rect">
            <a:avLst/>
          </a:prstGeom>
          <a:solidFill>
            <a:srgbClr val="333F50">
              <a:alpha val="51765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Lato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 bwMode="auto">
          <a:xfrm>
            <a:off x="5227995" y="615399"/>
            <a:ext cx="340341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76AF3E"/>
              </a:buClr>
              <a:defRPr/>
            </a:pPr>
            <a:r>
              <a:rPr lang="ru-RU" sz="1200">
                <a:solidFill>
                  <a:schemeClr val="bg1">
                    <a:lumMod val="95000"/>
                  </a:schemeClr>
                </a:solidFill>
              </a:rPr>
              <a:t>СП создано для разработки цифровой промышленной платформы, а также продвижения новых технологических решений для ГПН и нефтегазовой отрасли</a:t>
            </a:r>
            <a:endParaRPr/>
          </a:p>
        </p:txBody>
      </p:sp>
      <p:sp>
        <p:nvSpPr>
          <p:cNvPr id="5" name="TextBox 4"/>
          <p:cNvSpPr txBox="1"/>
          <p:nvPr/>
        </p:nvSpPr>
        <p:spPr bwMode="auto">
          <a:xfrm>
            <a:off x="8831212" y="599692"/>
            <a:ext cx="321752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71450" indent="-171450">
              <a:buClr>
                <a:srgbClr val="76AF3E"/>
              </a:buClr>
              <a:buFont typeface="Wingdings"/>
              <a:buChar char="ü"/>
              <a:defRPr sz="1400"/>
            </a:lvl1pPr>
          </a:lstStyle>
          <a:p>
            <a:pPr marL="0" indent="0">
              <a:buNone/>
              <a:defRPr/>
            </a:pPr>
            <a:r>
              <a:rPr lang="ru-RU" sz="1200">
                <a:solidFill>
                  <a:schemeClr val="bg1">
                    <a:lumMod val="95000"/>
                  </a:schemeClr>
                </a:solidFill>
              </a:rPr>
              <a:t>Разработка продуктов в области </a:t>
            </a:r>
            <a:r>
              <a:rPr lang="en-US" sz="1200">
                <a:solidFill>
                  <a:schemeClr val="bg1">
                    <a:lumMod val="95000"/>
                  </a:schemeClr>
                </a:solidFill>
              </a:rPr>
              <a:t>MES</a:t>
            </a:r>
            <a:r>
              <a:rPr lang="ru-RU" sz="1200">
                <a:solidFill>
                  <a:schemeClr val="bg1">
                    <a:lumMod val="95000"/>
                  </a:schemeClr>
                </a:solidFill>
              </a:rPr>
              <a:t>, цифровых двойников, систем планирования на основе единой отраслевой объектной модели</a:t>
            </a:r>
            <a:endParaRPr/>
          </a:p>
        </p:txBody>
      </p:sp>
      <p:cxnSp>
        <p:nvCxnSpPr>
          <p:cNvPr id="6" name="Прямая соединительная линия 5"/>
          <p:cNvCxnSpPr>
            <a:cxnSpLocks/>
          </p:cNvCxnSpPr>
          <p:nvPr/>
        </p:nvCxnSpPr>
        <p:spPr bwMode="auto">
          <a:xfrm>
            <a:off x="5124121" y="599692"/>
            <a:ext cx="0" cy="852996"/>
          </a:xfrm>
          <a:prstGeom prst="line">
            <a:avLst/>
          </a:prstGeom>
          <a:ln w="12700">
            <a:solidFill>
              <a:srgbClr val="88BD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8747509" y="599692"/>
            <a:ext cx="0" cy="852996"/>
          </a:xfrm>
          <a:prstGeom prst="line">
            <a:avLst/>
          </a:prstGeom>
          <a:ln w="12700">
            <a:solidFill>
              <a:srgbClr val="88BD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Рисунок 1"/>
          <p:cNvGrpSpPr/>
          <p:nvPr/>
        </p:nvGrpSpPr>
        <p:grpSpPr bwMode="auto">
          <a:xfrm>
            <a:off x="4479762" y="1832078"/>
            <a:ext cx="8444747" cy="4257076"/>
            <a:chOff x="2263728" y="1508051"/>
            <a:chExt cx="8634953" cy="4352961"/>
          </a:xfrm>
          <a:solidFill>
            <a:srgbClr val="212936">
              <a:alpha val="98824"/>
            </a:srgbClr>
          </a:solidFill>
        </p:grpSpPr>
        <p:sp>
          <p:nvSpPr>
            <p:cNvPr id="70" name="Полилиния: фигура 140"/>
            <p:cNvSpPr/>
            <p:nvPr/>
          </p:nvSpPr>
          <p:spPr bwMode="auto">
            <a:xfrm>
              <a:off x="5519694" y="4875122"/>
              <a:ext cx="573139" cy="340770"/>
            </a:xfrm>
            <a:custGeom>
              <a:avLst/>
              <a:gdLst>
                <a:gd name="connsiteX0" fmla="*/ 410698 w 573139"/>
                <a:gd name="connsiteY0" fmla="*/ 0 h 340770"/>
                <a:gd name="connsiteX1" fmla="*/ 434475 w 573139"/>
                <a:gd name="connsiteY1" fmla="*/ 19022 h 340770"/>
                <a:gd name="connsiteX2" fmla="*/ 453389 w 573139"/>
                <a:gd name="connsiteY2" fmla="*/ 36747 h 340770"/>
                <a:gd name="connsiteX3" fmla="*/ 499646 w 573139"/>
                <a:gd name="connsiteY3" fmla="*/ 45069 h 340770"/>
                <a:gd name="connsiteX4" fmla="*/ 515101 w 573139"/>
                <a:gd name="connsiteY4" fmla="*/ 47447 h 340770"/>
                <a:gd name="connsiteX5" fmla="*/ 525801 w 573139"/>
                <a:gd name="connsiteY5" fmla="*/ 70035 h 340770"/>
                <a:gd name="connsiteX6" fmla="*/ 544715 w 573139"/>
                <a:gd name="connsiteY6" fmla="*/ 79546 h 340770"/>
                <a:gd name="connsiteX7" fmla="*/ 535204 w 573139"/>
                <a:gd name="connsiteY7" fmla="*/ 87868 h 340770"/>
                <a:gd name="connsiteX8" fmla="*/ 518560 w 573139"/>
                <a:gd name="connsiteY8" fmla="*/ 113915 h 340770"/>
                <a:gd name="connsiteX9" fmla="*/ 534015 w 573139"/>
                <a:gd name="connsiteY9" fmla="*/ 153039 h 340770"/>
                <a:gd name="connsiteX10" fmla="*/ 573139 w 573139"/>
                <a:gd name="connsiteY10" fmla="*/ 162550 h 340770"/>
                <a:gd name="connsiteX11" fmla="*/ 573139 w 573139"/>
                <a:gd name="connsiteY11" fmla="*/ 174439 h 340770"/>
                <a:gd name="connsiteX12" fmla="*/ 573139 w 573139"/>
                <a:gd name="connsiteY12" fmla="*/ 175627 h 340770"/>
                <a:gd name="connsiteX13" fmla="*/ 570761 w 573139"/>
                <a:gd name="connsiteY13" fmla="*/ 188705 h 340770"/>
                <a:gd name="connsiteX14" fmla="*/ 556495 w 573139"/>
                <a:gd name="connsiteY14" fmla="*/ 202971 h 340770"/>
                <a:gd name="connsiteX15" fmla="*/ 531637 w 573139"/>
                <a:gd name="connsiteY15" fmla="*/ 244473 h 340770"/>
                <a:gd name="connsiteX16" fmla="*/ 520937 w 573139"/>
                <a:gd name="connsiteY16" fmla="*/ 268250 h 340770"/>
                <a:gd name="connsiteX17" fmla="*/ 520937 w 573139"/>
                <a:gd name="connsiteY17" fmla="*/ 269439 h 340770"/>
                <a:gd name="connsiteX18" fmla="*/ 524504 w 573139"/>
                <a:gd name="connsiteY18" fmla="*/ 275384 h 340770"/>
                <a:gd name="connsiteX19" fmla="*/ 526882 w 573139"/>
                <a:gd name="connsiteY19" fmla="*/ 283706 h 340770"/>
                <a:gd name="connsiteX20" fmla="*/ 520937 w 573139"/>
                <a:gd name="connsiteY20" fmla="*/ 302727 h 340770"/>
                <a:gd name="connsiteX21" fmla="*/ 512615 w 573139"/>
                <a:gd name="connsiteY21" fmla="*/ 316994 h 340770"/>
                <a:gd name="connsiteX22" fmla="*/ 488838 w 573139"/>
                <a:gd name="connsiteY22" fmla="*/ 338393 h 340770"/>
                <a:gd name="connsiteX23" fmla="*/ 468628 w 573139"/>
                <a:gd name="connsiteY23" fmla="*/ 340771 h 340770"/>
                <a:gd name="connsiteX24" fmla="*/ 449606 w 573139"/>
                <a:gd name="connsiteY24" fmla="*/ 337204 h 340770"/>
                <a:gd name="connsiteX25" fmla="*/ 428206 w 573139"/>
                <a:gd name="connsiteY25" fmla="*/ 324127 h 340770"/>
                <a:gd name="connsiteX26" fmla="*/ 386704 w 573139"/>
                <a:gd name="connsiteY26" fmla="*/ 290947 h 340770"/>
                <a:gd name="connsiteX27" fmla="*/ 374815 w 573139"/>
                <a:gd name="connsiteY27" fmla="*/ 282625 h 340770"/>
                <a:gd name="connsiteX28" fmla="*/ 344013 w 573139"/>
                <a:gd name="connsiteY28" fmla="*/ 270736 h 340770"/>
                <a:gd name="connsiteX29" fmla="*/ 323802 w 573139"/>
                <a:gd name="connsiteY29" fmla="*/ 264792 h 340770"/>
                <a:gd name="connsiteX30" fmla="*/ 287056 w 573139"/>
                <a:gd name="connsiteY30" fmla="*/ 246959 h 340770"/>
                <a:gd name="connsiteX31" fmla="*/ 266845 w 573139"/>
                <a:gd name="connsiteY31" fmla="*/ 246959 h 340770"/>
                <a:gd name="connsiteX32" fmla="*/ 233665 w 573139"/>
                <a:gd name="connsiteY32" fmla="*/ 252903 h 340770"/>
                <a:gd name="connsiteX33" fmla="*/ 200485 w 573139"/>
                <a:gd name="connsiteY33" fmla="*/ 264792 h 340770"/>
                <a:gd name="connsiteX34" fmla="*/ 164928 w 573139"/>
                <a:gd name="connsiteY34" fmla="*/ 274303 h 340770"/>
                <a:gd name="connsiteX35" fmla="*/ 131747 w 573139"/>
                <a:gd name="connsiteY35" fmla="*/ 275492 h 340770"/>
                <a:gd name="connsiteX36" fmla="*/ 86679 w 573139"/>
                <a:gd name="connsiteY36" fmla="*/ 283814 h 340770"/>
                <a:gd name="connsiteX37" fmla="*/ 70035 w 573139"/>
                <a:gd name="connsiteY37" fmla="*/ 287380 h 340770"/>
                <a:gd name="connsiteX38" fmla="*/ 66468 w 573139"/>
                <a:gd name="connsiteY38" fmla="*/ 294513 h 340770"/>
                <a:gd name="connsiteX39" fmla="*/ 39232 w 573139"/>
                <a:gd name="connsiteY39" fmla="*/ 292136 h 340770"/>
                <a:gd name="connsiteX40" fmla="*/ 38043 w 573139"/>
                <a:gd name="connsiteY40" fmla="*/ 280247 h 340770"/>
                <a:gd name="connsiteX41" fmla="*/ 35666 w 573139"/>
                <a:gd name="connsiteY41" fmla="*/ 275492 h 340770"/>
                <a:gd name="connsiteX42" fmla="*/ 28533 w 573139"/>
                <a:gd name="connsiteY42" fmla="*/ 261225 h 340770"/>
                <a:gd name="connsiteX43" fmla="*/ 24966 w 573139"/>
                <a:gd name="connsiteY43" fmla="*/ 220912 h 340770"/>
                <a:gd name="connsiteX44" fmla="*/ 17833 w 573139"/>
                <a:gd name="connsiteY44" fmla="*/ 206646 h 340770"/>
                <a:gd name="connsiteX45" fmla="*/ 0 w 573139"/>
                <a:gd name="connsiteY45" fmla="*/ 200701 h 340770"/>
                <a:gd name="connsiteX46" fmla="*/ 19022 w 573139"/>
                <a:gd name="connsiteY46" fmla="*/ 179302 h 340770"/>
                <a:gd name="connsiteX47" fmla="*/ 59335 w 573139"/>
                <a:gd name="connsiteY47" fmla="*/ 155633 h 340770"/>
                <a:gd name="connsiteX48" fmla="*/ 61713 w 573139"/>
                <a:gd name="connsiteY48" fmla="*/ 135422 h 340770"/>
                <a:gd name="connsiteX49" fmla="*/ 80734 w 573139"/>
                <a:gd name="connsiteY49" fmla="*/ 133044 h 340770"/>
                <a:gd name="connsiteX50" fmla="*/ 103215 w 573139"/>
                <a:gd name="connsiteY50" fmla="*/ 159091 h 340770"/>
                <a:gd name="connsiteX51" fmla="*/ 167305 w 573139"/>
                <a:gd name="connsiteY51" fmla="*/ 166224 h 340770"/>
                <a:gd name="connsiteX52" fmla="*/ 206430 w 573139"/>
                <a:gd name="connsiteY52" fmla="*/ 161469 h 340770"/>
                <a:gd name="connsiteX53" fmla="*/ 237232 w 573139"/>
                <a:gd name="connsiteY53" fmla="*/ 138881 h 340770"/>
                <a:gd name="connsiteX54" fmla="*/ 259820 w 573139"/>
                <a:gd name="connsiteY54" fmla="*/ 86679 h 340770"/>
                <a:gd name="connsiteX55" fmla="*/ 296567 w 573139"/>
                <a:gd name="connsiteY55" fmla="*/ 70035 h 340770"/>
                <a:gd name="connsiteX56" fmla="*/ 302511 w 573139"/>
                <a:gd name="connsiteY56" fmla="*/ 35666 h 340770"/>
                <a:gd name="connsiteX57" fmla="*/ 319155 w 573139"/>
                <a:gd name="connsiteY57" fmla="*/ 22588 h 340770"/>
                <a:gd name="connsiteX58" fmla="*/ 393837 w 573139"/>
                <a:gd name="connsiteY58" fmla="*/ 16644 h 340770"/>
                <a:gd name="connsiteX59" fmla="*/ 410698 w 573139"/>
                <a:gd name="connsiteY59" fmla="*/ 0 h 340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73139" h="340770" extrusionOk="0">
                  <a:moveTo>
                    <a:pt x="410698" y="0"/>
                  </a:moveTo>
                  <a:lnTo>
                    <a:pt x="434475" y="19022"/>
                  </a:lnTo>
                  <a:lnTo>
                    <a:pt x="453389" y="36747"/>
                  </a:lnTo>
                  <a:lnTo>
                    <a:pt x="499646" y="45069"/>
                  </a:lnTo>
                  <a:lnTo>
                    <a:pt x="515101" y="47447"/>
                  </a:lnTo>
                  <a:lnTo>
                    <a:pt x="525801" y="70035"/>
                  </a:lnTo>
                  <a:lnTo>
                    <a:pt x="544715" y="79546"/>
                  </a:lnTo>
                  <a:lnTo>
                    <a:pt x="535204" y="87868"/>
                  </a:lnTo>
                  <a:lnTo>
                    <a:pt x="518560" y="113915"/>
                  </a:lnTo>
                  <a:lnTo>
                    <a:pt x="534015" y="153039"/>
                  </a:lnTo>
                  <a:lnTo>
                    <a:pt x="573139" y="162550"/>
                  </a:lnTo>
                  <a:lnTo>
                    <a:pt x="573139" y="174439"/>
                  </a:lnTo>
                  <a:lnTo>
                    <a:pt x="573139" y="175627"/>
                  </a:lnTo>
                  <a:lnTo>
                    <a:pt x="570761" y="188705"/>
                  </a:lnTo>
                  <a:lnTo>
                    <a:pt x="556495" y="202971"/>
                  </a:lnTo>
                  <a:lnTo>
                    <a:pt x="531637" y="244473"/>
                  </a:lnTo>
                  <a:lnTo>
                    <a:pt x="520937" y="268250"/>
                  </a:lnTo>
                  <a:lnTo>
                    <a:pt x="520937" y="269439"/>
                  </a:lnTo>
                  <a:lnTo>
                    <a:pt x="524504" y="275384"/>
                  </a:lnTo>
                  <a:lnTo>
                    <a:pt x="526882" y="283706"/>
                  </a:lnTo>
                  <a:lnTo>
                    <a:pt x="520937" y="302727"/>
                  </a:lnTo>
                  <a:lnTo>
                    <a:pt x="512615" y="316994"/>
                  </a:lnTo>
                  <a:lnTo>
                    <a:pt x="488838" y="338393"/>
                  </a:lnTo>
                  <a:lnTo>
                    <a:pt x="468628" y="340771"/>
                  </a:lnTo>
                  <a:lnTo>
                    <a:pt x="449606" y="337204"/>
                  </a:lnTo>
                  <a:lnTo>
                    <a:pt x="428206" y="324127"/>
                  </a:lnTo>
                  <a:lnTo>
                    <a:pt x="386704" y="290947"/>
                  </a:lnTo>
                  <a:lnTo>
                    <a:pt x="374815" y="282625"/>
                  </a:lnTo>
                  <a:lnTo>
                    <a:pt x="344013" y="270736"/>
                  </a:lnTo>
                  <a:lnTo>
                    <a:pt x="323802" y="264792"/>
                  </a:lnTo>
                  <a:lnTo>
                    <a:pt x="287056" y="246959"/>
                  </a:lnTo>
                  <a:lnTo>
                    <a:pt x="266845" y="246959"/>
                  </a:lnTo>
                  <a:lnTo>
                    <a:pt x="233665" y="252903"/>
                  </a:lnTo>
                  <a:lnTo>
                    <a:pt x="200485" y="264792"/>
                  </a:lnTo>
                  <a:lnTo>
                    <a:pt x="164928" y="274303"/>
                  </a:lnTo>
                  <a:lnTo>
                    <a:pt x="131747" y="275492"/>
                  </a:lnTo>
                  <a:lnTo>
                    <a:pt x="86679" y="283814"/>
                  </a:lnTo>
                  <a:lnTo>
                    <a:pt x="70035" y="287380"/>
                  </a:lnTo>
                  <a:lnTo>
                    <a:pt x="66468" y="294513"/>
                  </a:lnTo>
                  <a:lnTo>
                    <a:pt x="39232" y="292136"/>
                  </a:lnTo>
                  <a:lnTo>
                    <a:pt x="38043" y="280247"/>
                  </a:lnTo>
                  <a:lnTo>
                    <a:pt x="35666" y="275492"/>
                  </a:lnTo>
                  <a:lnTo>
                    <a:pt x="28533" y="261225"/>
                  </a:lnTo>
                  <a:lnTo>
                    <a:pt x="24966" y="220912"/>
                  </a:lnTo>
                  <a:lnTo>
                    <a:pt x="17833" y="206646"/>
                  </a:lnTo>
                  <a:lnTo>
                    <a:pt x="0" y="200701"/>
                  </a:lnTo>
                  <a:lnTo>
                    <a:pt x="19022" y="179302"/>
                  </a:lnTo>
                  <a:lnTo>
                    <a:pt x="59335" y="155633"/>
                  </a:lnTo>
                  <a:lnTo>
                    <a:pt x="61713" y="135422"/>
                  </a:lnTo>
                  <a:lnTo>
                    <a:pt x="80734" y="133044"/>
                  </a:lnTo>
                  <a:lnTo>
                    <a:pt x="103215" y="159091"/>
                  </a:lnTo>
                  <a:lnTo>
                    <a:pt x="167305" y="166224"/>
                  </a:lnTo>
                  <a:lnTo>
                    <a:pt x="206430" y="161469"/>
                  </a:lnTo>
                  <a:lnTo>
                    <a:pt x="237232" y="138881"/>
                  </a:lnTo>
                  <a:lnTo>
                    <a:pt x="259820" y="86679"/>
                  </a:lnTo>
                  <a:lnTo>
                    <a:pt x="296567" y="70035"/>
                  </a:lnTo>
                  <a:lnTo>
                    <a:pt x="302511" y="35666"/>
                  </a:lnTo>
                  <a:lnTo>
                    <a:pt x="319155" y="22588"/>
                  </a:lnTo>
                  <a:lnTo>
                    <a:pt x="393837" y="16644"/>
                  </a:lnTo>
                  <a:lnTo>
                    <a:pt x="410698" y="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1" name="Полилиния: фигура 141"/>
            <p:cNvSpPr/>
            <p:nvPr/>
          </p:nvSpPr>
          <p:spPr bwMode="auto">
            <a:xfrm>
              <a:off x="8342958" y="4828139"/>
              <a:ext cx="174413" cy="696665"/>
            </a:xfrm>
            <a:custGeom>
              <a:avLst/>
              <a:gdLst>
                <a:gd name="connsiteX0" fmla="*/ 157859 w 174413"/>
                <a:gd name="connsiteY0" fmla="*/ 449143 h 696666"/>
                <a:gd name="connsiteX1" fmla="*/ 149537 w 174413"/>
                <a:gd name="connsiteY1" fmla="*/ 381486 h 696666"/>
                <a:gd name="connsiteX2" fmla="*/ 149537 w 174413"/>
                <a:gd name="connsiteY2" fmla="*/ 360086 h 696666"/>
                <a:gd name="connsiteX3" fmla="*/ 121113 w 174413"/>
                <a:gd name="connsiteY3" fmla="*/ 304318 h 696666"/>
                <a:gd name="connsiteX4" fmla="*/ 96146 w 174413"/>
                <a:gd name="connsiteY4" fmla="*/ 191592 h 696666"/>
                <a:gd name="connsiteX5" fmla="*/ 80691 w 174413"/>
                <a:gd name="connsiteY5" fmla="*/ 150090 h 696666"/>
                <a:gd name="connsiteX6" fmla="*/ 65236 w 174413"/>
                <a:gd name="connsiteY6" fmla="*/ 52820 h 696666"/>
                <a:gd name="connsiteX7" fmla="*/ 67614 w 174413"/>
                <a:gd name="connsiteY7" fmla="*/ 14884 h 696666"/>
                <a:gd name="connsiteX8" fmla="*/ 13034 w 174413"/>
                <a:gd name="connsiteY8" fmla="*/ 2996 h 696666"/>
                <a:gd name="connsiteX9" fmla="*/ 39081 w 174413"/>
                <a:gd name="connsiteY9" fmla="*/ 46875 h 696666"/>
                <a:gd name="connsiteX10" fmla="*/ 8279 w 174413"/>
                <a:gd name="connsiteY10" fmla="*/ 70545 h 696666"/>
                <a:gd name="connsiteX11" fmla="*/ 5901 w 174413"/>
                <a:gd name="connsiteY11" fmla="*/ 126313 h 696666"/>
                <a:gd name="connsiteX12" fmla="*/ 23734 w 174413"/>
                <a:gd name="connsiteY12" fmla="*/ 184459 h 696666"/>
                <a:gd name="connsiteX13" fmla="*/ 34434 w 174413"/>
                <a:gd name="connsiteY13" fmla="*/ 271030 h 696666"/>
                <a:gd name="connsiteX14" fmla="*/ 39189 w 174413"/>
                <a:gd name="connsiteY14" fmla="*/ 326798 h 696666"/>
                <a:gd name="connsiteX15" fmla="*/ 33245 w 174413"/>
                <a:gd name="connsiteY15" fmla="*/ 381378 h 696666"/>
                <a:gd name="connsiteX16" fmla="*/ 27301 w 174413"/>
                <a:gd name="connsiteY16" fmla="*/ 441901 h 696666"/>
                <a:gd name="connsiteX17" fmla="*/ 38000 w 174413"/>
                <a:gd name="connsiteY17" fmla="*/ 552249 h 696666"/>
                <a:gd name="connsiteX18" fmla="*/ 33245 w 174413"/>
                <a:gd name="connsiteY18" fmla="*/ 695777 h 696666"/>
                <a:gd name="connsiteX19" fmla="*/ 61669 w 174413"/>
                <a:gd name="connsiteY19" fmla="*/ 659031 h 696666"/>
                <a:gd name="connsiteX20" fmla="*/ 110305 w 174413"/>
                <a:gd name="connsiteY20" fmla="*/ 689833 h 696666"/>
                <a:gd name="connsiteX21" fmla="*/ 98416 w 174413"/>
                <a:gd name="connsiteY21" fmla="*/ 622176 h 696666"/>
                <a:gd name="connsiteX22" fmla="*/ 73450 w 174413"/>
                <a:gd name="connsiteY22" fmla="*/ 564030 h 696666"/>
                <a:gd name="connsiteX23" fmla="*/ 85339 w 174413"/>
                <a:gd name="connsiteY23" fmla="*/ 504695 h 696666"/>
                <a:gd name="connsiteX24" fmla="*/ 104252 w 174413"/>
                <a:gd name="connsiteY24" fmla="*/ 452493 h 696666"/>
                <a:gd name="connsiteX25" fmla="*/ 171909 w 174413"/>
                <a:gd name="connsiteY25" fmla="*/ 489240 h 696666"/>
                <a:gd name="connsiteX26" fmla="*/ 157859 w 174413"/>
                <a:gd name="connsiteY26" fmla="*/ 449143 h 69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74413" h="696666" extrusionOk="0">
                  <a:moveTo>
                    <a:pt x="157859" y="449143"/>
                  </a:moveTo>
                  <a:cubicBezTo>
                    <a:pt x="153104" y="436065"/>
                    <a:pt x="149537" y="406452"/>
                    <a:pt x="149537" y="381486"/>
                  </a:cubicBezTo>
                  <a:cubicBezTo>
                    <a:pt x="149537" y="373164"/>
                    <a:pt x="149537" y="366031"/>
                    <a:pt x="149537" y="360086"/>
                  </a:cubicBezTo>
                  <a:cubicBezTo>
                    <a:pt x="150726" y="335228"/>
                    <a:pt x="132893" y="325717"/>
                    <a:pt x="121113" y="304318"/>
                  </a:cubicBezTo>
                  <a:cubicBezTo>
                    <a:pt x="109224" y="284107"/>
                    <a:pt x="106846" y="210614"/>
                    <a:pt x="96146" y="191592"/>
                  </a:cubicBezTo>
                  <a:cubicBezTo>
                    <a:pt x="85447" y="173867"/>
                    <a:pt x="78314" y="176137"/>
                    <a:pt x="80691" y="150090"/>
                  </a:cubicBezTo>
                  <a:cubicBezTo>
                    <a:pt x="81880" y="122854"/>
                    <a:pt x="69992" y="71841"/>
                    <a:pt x="65236" y="52820"/>
                  </a:cubicBezTo>
                  <a:cubicBezTo>
                    <a:pt x="60481" y="33798"/>
                    <a:pt x="68803" y="29042"/>
                    <a:pt x="67614" y="14884"/>
                  </a:cubicBezTo>
                  <a:cubicBezTo>
                    <a:pt x="66425" y="-571"/>
                    <a:pt x="27301" y="-2949"/>
                    <a:pt x="13034" y="2996"/>
                  </a:cubicBezTo>
                  <a:cubicBezTo>
                    <a:pt x="-2421" y="7751"/>
                    <a:pt x="35623" y="32609"/>
                    <a:pt x="39081" y="46875"/>
                  </a:cubicBezTo>
                  <a:cubicBezTo>
                    <a:pt x="43837" y="61141"/>
                    <a:pt x="27192" y="57575"/>
                    <a:pt x="8279" y="70545"/>
                  </a:cubicBezTo>
                  <a:cubicBezTo>
                    <a:pt x="-10743" y="83622"/>
                    <a:pt x="9467" y="106102"/>
                    <a:pt x="5901" y="126313"/>
                  </a:cubicBezTo>
                  <a:cubicBezTo>
                    <a:pt x="3523" y="145335"/>
                    <a:pt x="18978" y="161871"/>
                    <a:pt x="23734" y="184459"/>
                  </a:cubicBezTo>
                  <a:cubicBezTo>
                    <a:pt x="28489" y="207047"/>
                    <a:pt x="28489" y="262708"/>
                    <a:pt x="34434" y="271030"/>
                  </a:cubicBezTo>
                  <a:cubicBezTo>
                    <a:pt x="40378" y="279352"/>
                    <a:pt x="42756" y="312532"/>
                    <a:pt x="39189" y="326798"/>
                  </a:cubicBezTo>
                  <a:cubicBezTo>
                    <a:pt x="36812" y="333931"/>
                    <a:pt x="35623" y="357600"/>
                    <a:pt x="33245" y="381378"/>
                  </a:cubicBezTo>
                  <a:cubicBezTo>
                    <a:pt x="30867" y="406344"/>
                    <a:pt x="29679" y="432390"/>
                    <a:pt x="27301" y="441901"/>
                  </a:cubicBezTo>
                  <a:cubicBezTo>
                    <a:pt x="21356" y="460923"/>
                    <a:pt x="35623" y="539172"/>
                    <a:pt x="38000" y="552249"/>
                  </a:cubicBezTo>
                  <a:cubicBezTo>
                    <a:pt x="39189" y="565327"/>
                    <a:pt x="15412" y="688644"/>
                    <a:pt x="33245" y="695777"/>
                  </a:cubicBezTo>
                  <a:cubicBezTo>
                    <a:pt x="49889" y="702910"/>
                    <a:pt x="54645" y="664975"/>
                    <a:pt x="61669" y="659031"/>
                  </a:cubicBezTo>
                  <a:cubicBezTo>
                    <a:pt x="68803" y="653087"/>
                    <a:pt x="91283" y="681619"/>
                    <a:pt x="110305" y="689833"/>
                  </a:cubicBezTo>
                  <a:cubicBezTo>
                    <a:pt x="132893" y="700533"/>
                    <a:pt x="98416" y="630498"/>
                    <a:pt x="98416" y="622176"/>
                  </a:cubicBezTo>
                  <a:cubicBezTo>
                    <a:pt x="98416" y="612665"/>
                    <a:pt x="80583" y="581863"/>
                    <a:pt x="73450" y="564030"/>
                  </a:cubicBezTo>
                  <a:cubicBezTo>
                    <a:pt x="66317" y="546197"/>
                    <a:pt x="78206" y="516584"/>
                    <a:pt x="85339" y="504695"/>
                  </a:cubicBezTo>
                  <a:cubicBezTo>
                    <a:pt x="91283" y="492806"/>
                    <a:pt x="94850" y="457249"/>
                    <a:pt x="104252" y="452493"/>
                  </a:cubicBezTo>
                  <a:cubicBezTo>
                    <a:pt x="114952" y="447738"/>
                    <a:pt x="162399" y="483295"/>
                    <a:pt x="171909" y="489240"/>
                  </a:cubicBezTo>
                  <a:cubicBezTo>
                    <a:pt x="180447" y="494211"/>
                    <a:pt x="164992" y="466867"/>
                    <a:pt x="157859" y="449143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2" name="Полилиния: фигура 142"/>
            <p:cNvSpPr/>
            <p:nvPr/>
          </p:nvSpPr>
          <p:spPr bwMode="auto">
            <a:xfrm>
              <a:off x="2297556" y="3011257"/>
              <a:ext cx="689468" cy="548552"/>
            </a:xfrm>
            <a:custGeom>
              <a:avLst/>
              <a:gdLst>
                <a:gd name="connsiteX0" fmla="*/ 255821 w 689468"/>
                <a:gd name="connsiteY0" fmla="*/ 497431 h 548552"/>
                <a:gd name="connsiteX1" fmla="*/ 229774 w 689468"/>
                <a:gd name="connsiteY1" fmla="*/ 466629 h 548552"/>
                <a:gd name="connsiteX2" fmla="*/ 182328 w 689468"/>
                <a:gd name="connsiteY2" fmla="*/ 458307 h 548552"/>
                <a:gd name="connsiteX3" fmla="*/ 196594 w 689468"/>
                <a:gd name="connsiteY3" fmla="*/ 434638 h 548552"/>
                <a:gd name="connsiteX4" fmla="*/ 213238 w 689468"/>
                <a:gd name="connsiteY4" fmla="*/ 408591 h 548552"/>
                <a:gd name="connsiteX5" fmla="*/ 257118 w 689468"/>
                <a:gd name="connsiteY5" fmla="*/ 454848 h 548552"/>
                <a:gd name="connsiteX6" fmla="*/ 350822 w 689468"/>
                <a:gd name="connsiteY6" fmla="*/ 501106 h 548552"/>
                <a:gd name="connsiteX7" fmla="*/ 456415 w 689468"/>
                <a:gd name="connsiteY7" fmla="*/ 529639 h 548552"/>
                <a:gd name="connsiteX8" fmla="*/ 546552 w 689468"/>
                <a:gd name="connsiteY8" fmla="*/ 548552 h 548552"/>
                <a:gd name="connsiteX9" fmla="*/ 610642 w 689468"/>
                <a:gd name="connsiteY9" fmla="*/ 531908 h 548552"/>
                <a:gd name="connsiteX10" fmla="*/ 669977 w 689468"/>
                <a:gd name="connsiteY10" fmla="*/ 482084 h 548552"/>
                <a:gd name="connsiteX11" fmla="*/ 686621 w 689468"/>
                <a:gd name="connsiteY11" fmla="*/ 390758 h 548552"/>
                <a:gd name="connsiteX12" fmla="*/ 673544 w 689468"/>
                <a:gd name="connsiteY12" fmla="*/ 306565 h 548552"/>
                <a:gd name="connsiteX13" fmla="*/ 641553 w 689468"/>
                <a:gd name="connsiteY13" fmla="*/ 274574 h 548552"/>
                <a:gd name="connsiteX14" fmla="*/ 604806 w 689468"/>
                <a:gd name="connsiteY14" fmla="*/ 259119 h 548552"/>
                <a:gd name="connsiteX15" fmla="*/ 575193 w 689468"/>
                <a:gd name="connsiteY15" fmla="*/ 235341 h 548552"/>
                <a:gd name="connsiteX16" fmla="*/ 534879 w 689468"/>
                <a:gd name="connsiteY16" fmla="*/ 221075 h 548552"/>
                <a:gd name="connsiteX17" fmla="*/ 495755 w 689468"/>
                <a:gd name="connsiteY17" fmla="*/ 189084 h 548552"/>
                <a:gd name="connsiteX18" fmla="*/ 400862 w 689468"/>
                <a:gd name="connsiteY18" fmla="*/ 114402 h 548552"/>
                <a:gd name="connsiteX19" fmla="*/ 335583 w 689468"/>
                <a:gd name="connsiteY19" fmla="*/ 97758 h 548552"/>
                <a:gd name="connsiteX20" fmla="*/ 290514 w 689468"/>
                <a:gd name="connsiteY20" fmla="*/ 90624 h 548552"/>
                <a:gd name="connsiteX21" fmla="*/ 265656 w 689468"/>
                <a:gd name="connsiteY21" fmla="*/ 76358 h 548552"/>
                <a:gd name="connsiteX22" fmla="*/ 230099 w 689468"/>
                <a:gd name="connsiteY22" fmla="*/ 89436 h 548552"/>
                <a:gd name="connsiteX23" fmla="*/ 225343 w 689468"/>
                <a:gd name="connsiteY23" fmla="*/ 64578 h 548552"/>
                <a:gd name="connsiteX24" fmla="*/ 205133 w 689468"/>
                <a:gd name="connsiteY24" fmla="*/ 49122 h 548552"/>
                <a:gd name="connsiteX25" fmla="*/ 234746 w 689468"/>
                <a:gd name="connsiteY25" fmla="*/ 13565 h 548552"/>
                <a:gd name="connsiteX26" fmla="*/ 171844 w 689468"/>
                <a:gd name="connsiteY26" fmla="*/ 7620 h 548552"/>
                <a:gd name="connsiteX27" fmla="*/ 119643 w 689468"/>
                <a:gd name="connsiteY27" fmla="*/ 20698 h 548552"/>
                <a:gd name="connsiteX28" fmla="*/ 88840 w 689468"/>
                <a:gd name="connsiteY28" fmla="*/ 83599 h 548552"/>
                <a:gd name="connsiteX29" fmla="*/ 56849 w 689468"/>
                <a:gd name="connsiteY29" fmla="*/ 114402 h 548552"/>
                <a:gd name="connsiteX30" fmla="*/ 23669 w 689468"/>
                <a:gd name="connsiteY30" fmla="*/ 165415 h 548552"/>
                <a:gd name="connsiteX31" fmla="*/ 0 w 689468"/>
                <a:gd name="connsiteY31" fmla="*/ 234260 h 548552"/>
                <a:gd name="connsiteX32" fmla="*/ 73493 w 689468"/>
                <a:gd name="connsiteY32" fmla="*/ 333909 h 548552"/>
                <a:gd name="connsiteX33" fmla="*/ 37935 w 689468"/>
                <a:gd name="connsiteY33" fmla="*/ 405132 h 548552"/>
                <a:gd name="connsiteX34" fmla="*/ 109051 w 689468"/>
                <a:gd name="connsiteY34" fmla="*/ 466845 h 548552"/>
                <a:gd name="connsiteX35" fmla="*/ 194433 w 689468"/>
                <a:gd name="connsiteY35" fmla="*/ 476356 h 548552"/>
                <a:gd name="connsiteX36" fmla="*/ 211077 w 689468"/>
                <a:gd name="connsiteY36" fmla="*/ 497755 h 548552"/>
                <a:gd name="connsiteX37" fmla="*/ 255821 w 689468"/>
                <a:gd name="connsiteY37" fmla="*/ 497431 h 548552"/>
                <a:gd name="connsiteX38" fmla="*/ 255821 w 689468"/>
                <a:gd name="connsiteY38" fmla="*/ 497431 h 548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89468" h="548552" extrusionOk="0">
                  <a:moveTo>
                    <a:pt x="255821" y="497431"/>
                  </a:moveTo>
                  <a:cubicBezTo>
                    <a:pt x="255821" y="490298"/>
                    <a:pt x="237988" y="466629"/>
                    <a:pt x="229774" y="466629"/>
                  </a:cubicBezTo>
                  <a:cubicBezTo>
                    <a:pt x="221560" y="466629"/>
                    <a:pt x="197783" y="467818"/>
                    <a:pt x="182328" y="458307"/>
                  </a:cubicBezTo>
                  <a:cubicBezTo>
                    <a:pt x="166873" y="448796"/>
                    <a:pt x="188272" y="435826"/>
                    <a:pt x="196594" y="434638"/>
                  </a:cubicBezTo>
                  <a:cubicBezTo>
                    <a:pt x="204916" y="433449"/>
                    <a:pt x="206105" y="413238"/>
                    <a:pt x="213238" y="408591"/>
                  </a:cubicBezTo>
                  <a:cubicBezTo>
                    <a:pt x="220372" y="402647"/>
                    <a:pt x="237016" y="440582"/>
                    <a:pt x="257118" y="454848"/>
                  </a:cubicBezTo>
                  <a:cubicBezTo>
                    <a:pt x="276140" y="467926"/>
                    <a:pt x="334178" y="489217"/>
                    <a:pt x="350822" y="501106"/>
                  </a:cubicBezTo>
                  <a:cubicBezTo>
                    <a:pt x="367466" y="511805"/>
                    <a:pt x="427882" y="526072"/>
                    <a:pt x="456415" y="529639"/>
                  </a:cubicBezTo>
                  <a:cubicBezTo>
                    <a:pt x="484839" y="534394"/>
                    <a:pt x="526449" y="548552"/>
                    <a:pt x="546552" y="548552"/>
                  </a:cubicBezTo>
                  <a:cubicBezTo>
                    <a:pt x="565466" y="548552"/>
                    <a:pt x="590432" y="531908"/>
                    <a:pt x="610642" y="531908"/>
                  </a:cubicBezTo>
                  <a:cubicBezTo>
                    <a:pt x="630853" y="531908"/>
                    <a:pt x="648578" y="512994"/>
                    <a:pt x="669977" y="482084"/>
                  </a:cubicBezTo>
                  <a:cubicBezTo>
                    <a:pt x="690188" y="451282"/>
                    <a:pt x="692566" y="397891"/>
                    <a:pt x="686621" y="390758"/>
                  </a:cubicBezTo>
                  <a:cubicBezTo>
                    <a:pt x="680677" y="383625"/>
                    <a:pt x="687810" y="317265"/>
                    <a:pt x="673544" y="306565"/>
                  </a:cubicBezTo>
                  <a:cubicBezTo>
                    <a:pt x="659278" y="297054"/>
                    <a:pt x="656900" y="291110"/>
                    <a:pt x="641553" y="274574"/>
                  </a:cubicBezTo>
                  <a:cubicBezTo>
                    <a:pt x="626098" y="257930"/>
                    <a:pt x="615506" y="253174"/>
                    <a:pt x="604806" y="259119"/>
                  </a:cubicBezTo>
                  <a:cubicBezTo>
                    <a:pt x="595295" y="265063"/>
                    <a:pt x="592918" y="248419"/>
                    <a:pt x="575193" y="235341"/>
                  </a:cubicBezTo>
                  <a:cubicBezTo>
                    <a:pt x="558549" y="222264"/>
                    <a:pt x="557360" y="224642"/>
                    <a:pt x="534879" y="221075"/>
                  </a:cubicBezTo>
                  <a:cubicBezTo>
                    <a:pt x="512291" y="218697"/>
                    <a:pt x="511102" y="206809"/>
                    <a:pt x="495755" y="189084"/>
                  </a:cubicBezTo>
                  <a:cubicBezTo>
                    <a:pt x="480300" y="171251"/>
                    <a:pt x="416318" y="127371"/>
                    <a:pt x="400862" y="114402"/>
                  </a:cubicBezTo>
                  <a:cubicBezTo>
                    <a:pt x="385407" y="102513"/>
                    <a:pt x="356983" y="95380"/>
                    <a:pt x="335583" y="97758"/>
                  </a:cubicBezTo>
                  <a:cubicBezTo>
                    <a:pt x="314184" y="100135"/>
                    <a:pt x="304781" y="89436"/>
                    <a:pt x="290514" y="90624"/>
                  </a:cubicBezTo>
                  <a:cubicBezTo>
                    <a:pt x="276248" y="91813"/>
                    <a:pt x="267926" y="88247"/>
                    <a:pt x="265656" y="76358"/>
                  </a:cubicBezTo>
                  <a:cubicBezTo>
                    <a:pt x="263279" y="65658"/>
                    <a:pt x="247824" y="76358"/>
                    <a:pt x="230099" y="89436"/>
                  </a:cubicBezTo>
                  <a:cubicBezTo>
                    <a:pt x="213455" y="102513"/>
                    <a:pt x="238421" y="64578"/>
                    <a:pt x="225343" y="64578"/>
                  </a:cubicBezTo>
                  <a:cubicBezTo>
                    <a:pt x="211077" y="64578"/>
                    <a:pt x="190974" y="47934"/>
                    <a:pt x="205133" y="49122"/>
                  </a:cubicBezTo>
                  <a:cubicBezTo>
                    <a:pt x="219399" y="50311"/>
                    <a:pt x="258523" y="27723"/>
                    <a:pt x="234746" y="13565"/>
                  </a:cubicBezTo>
                  <a:cubicBezTo>
                    <a:pt x="211077" y="-702"/>
                    <a:pt x="180166" y="-5349"/>
                    <a:pt x="171844" y="7620"/>
                  </a:cubicBezTo>
                  <a:cubicBezTo>
                    <a:pt x="163522" y="20698"/>
                    <a:pt x="146986" y="21887"/>
                    <a:pt x="119643" y="20698"/>
                  </a:cubicBezTo>
                  <a:cubicBezTo>
                    <a:pt x="110132" y="50311"/>
                    <a:pt x="97054" y="81222"/>
                    <a:pt x="88840" y="83599"/>
                  </a:cubicBezTo>
                  <a:cubicBezTo>
                    <a:pt x="73385" y="87166"/>
                    <a:pt x="61605" y="102621"/>
                    <a:pt x="56849" y="114402"/>
                  </a:cubicBezTo>
                  <a:cubicBezTo>
                    <a:pt x="53283" y="127479"/>
                    <a:pt x="18914" y="148771"/>
                    <a:pt x="23669" y="165415"/>
                  </a:cubicBezTo>
                  <a:cubicBezTo>
                    <a:pt x="27236" y="182059"/>
                    <a:pt x="0" y="206917"/>
                    <a:pt x="0" y="234260"/>
                  </a:cubicBezTo>
                  <a:cubicBezTo>
                    <a:pt x="0" y="262793"/>
                    <a:pt x="72412" y="308943"/>
                    <a:pt x="73493" y="333909"/>
                  </a:cubicBezTo>
                  <a:cubicBezTo>
                    <a:pt x="75871" y="358767"/>
                    <a:pt x="51013" y="386111"/>
                    <a:pt x="37935" y="405132"/>
                  </a:cubicBezTo>
                  <a:lnTo>
                    <a:pt x="109051" y="466845"/>
                  </a:lnTo>
                  <a:lnTo>
                    <a:pt x="194433" y="476356"/>
                  </a:lnTo>
                  <a:lnTo>
                    <a:pt x="211077" y="497755"/>
                  </a:lnTo>
                  <a:lnTo>
                    <a:pt x="255821" y="497431"/>
                  </a:lnTo>
                  <a:lnTo>
                    <a:pt x="255821" y="49743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3" name="Полилиния: фигура 143"/>
            <p:cNvSpPr/>
            <p:nvPr/>
          </p:nvSpPr>
          <p:spPr bwMode="auto">
            <a:xfrm>
              <a:off x="2332466" y="3413363"/>
              <a:ext cx="484190" cy="787998"/>
            </a:xfrm>
            <a:custGeom>
              <a:avLst/>
              <a:gdLst>
                <a:gd name="connsiteX0" fmla="*/ 54796 w 484190"/>
                <a:gd name="connsiteY0" fmla="*/ 677651 h 787998"/>
                <a:gd name="connsiteX1" fmla="*/ 73709 w 484190"/>
                <a:gd name="connsiteY1" fmla="*/ 695484 h 787998"/>
                <a:gd name="connsiteX2" fmla="*/ 90353 w 484190"/>
                <a:gd name="connsiteY2" fmla="*/ 683595 h 787998"/>
                <a:gd name="connsiteX3" fmla="*/ 106998 w 484190"/>
                <a:gd name="connsiteY3" fmla="*/ 682407 h 787998"/>
                <a:gd name="connsiteX4" fmla="*/ 118886 w 484190"/>
                <a:gd name="connsiteY4" fmla="*/ 684784 h 787998"/>
                <a:gd name="connsiteX5" fmla="*/ 142555 w 484190"/>
                <a:gd name="connsiteY5" fmla="*/ 701428 h 787998"/>
                <a:gd name="connsiteX6" fmla="*/ 181680 w 484190"/>
                <a:gd name="connsiteY6" fmla="*/ 748875 h 787998"/>
                <a:gd name="connsiteX7" fmla="*/ 206646 w 484190"/>
                <a:gd name="connsiteY7" fmla="*/ 787999 h 787998"/>
                <a:gd name="connsiteX8" fmla="*/ 284894 w 484190"/>
                <a:gd name="connsiteY8" fmla="*/ 725097 h 787998"/>
                <a:gd name="connsiteX9" fmla="*/ 318074 w 484190"/>
                <a:gd name="connsiteY9" fmla="*/ 712020 h 787998"/>
                <a:gd name="connsiteX10" fmla="*/ 415345 w 484190"/>
                <a:gd name="connsiteY10" fmla="*/ 678840 h 787998"/>
                <a:gd name="connsiteX11" fmla="*/ 484191 w 484190"/>
                <a:gd name="connsiteY11" fmla="*/ 689540 h 787998"/>
                <a:gd name="connsiteX12" fmla="*/ 478246 w 484190"/>
                <a:gd name="connsiteY12" fmla="*/ 638527 h 787998"/>
                <a:gd name="connsiteX13" fmla="*/ 462791 w 484190"/>
                <a:gd name="connsiteY13" fmla="*/ 613561 h 787998"/>
                <a:gd name="connsiteX14" fmla="*/ 456847 w 484190"/>
                <a:gd name="connsiteY14" fmla="*/ 561359 h 787998"/>
                <a:gd name="connsiteX15" fmla="*/ 409401 w 484190"/>
                <a:gd name="connsiteY15" fmla="*/ 522234 h 787998"/>
                <a:gd name="connsiteX16" fmla="*/ 402267 w 484190"/>
                <a:gd name="connsiteY16" fmla="*/ 470033 h 787998"/>
                <a:gd name="connsiteX17" fmla="*/ 382057 w 484190"/>
                <a:gd name="connsiteY17" fmla="*/ 452200 h 787998"/>
                <a:gd name="connsiteX18" fmla="*/ 397512 w 484190"/>
                <a:gd name="connsiteY18" fmla="*/ 439122 h 787998"/>
                <a:gd name="connsiteX19" fmla="*/ 421289 w 484190"/>
                <a:gd name="connsiteY19" fmla="*/ 427233 h 787998"/>
                <a:gd name="connsiteX20" fmla="*/ 392757 w 484190"/>
                <a:gd name="connsiteY20" fmla="*/ 414156 h 787998"/>
                <a:gd name="connsiteX21" fmla="*/ 371357 w 484190"/>
                <a:gd name="connsiteY21" fmla="*/ 395242 h 787998"/>
                <a:gd name="connsiteX22" fmla="*/ 366602 w 484190"/>
                <a:gd name="connsiteY22" fmla="*/ 379787 h 787998"/>
                <a:gd name="connsiteX23" fmla="*/ 359468 w 484190"/>
                <a:gd name="connsiteY23" fmla="*/ 372654 h 787998"/>
                <a:gd name="connsiteX24" fmla="*/ 344013 w 484190"/>
                <a:gd name="connsiteY24" fmla="*/ 370276 h 787998"/>
                <a:gd name="connsiteX25" fmla="*/ 317966 w 484190"/>
                <a:gd name="connsiteY25" fmla="*/ 346499 h 787998"/>
                <a:gd name="connsiteX26" fmla="*/ 301322 w 484190"/>
                <a:gd name="connsiteY26" fmla="*/ 327477 h 787998"/>
                <a:gd name="connsiteX27" fmla="*/ 308455 w 484190"/>
                <a:gd name="connsiteY27" fmla="*/ 312022 h 787998"/>
                <a:gd name="connsiteX28" fmla="*/ 308455 w 484190"/>
                <a:gd name="connsiteY28" fmla="*/ 262198 h 787998"/>
                <a:gd name="connsiteX29" fmla="*/ 289434 w 484190"/>
                <a:gd name="connsiteY29" fmla="*/ 225451 h 787998"/>
                <a:gd name="connsiteX30" fmla="*/ 302511 w 484190"/>
                <a:gd name="connsiteY30" fmla="*/ 223074 h 787998"/>
                <a:gd name="connsiteX31" fmla="*/ 308455 w 484190"/>
                <a:gd name="connsiteY31" fmla="*/ 201674 h 787998"/>
                <a:gd name="connsiteX32" fmla="*/ 296567 w 484190"/>
                <a:gd name="connsiteY32" fmla="*/ 169683 h 787998"/>
                <a:gd name="connsiteX33" fmla="*/ 253876 w 484190"/>
                <a:gd name="connsiteY33" fmla="*/ 129370 h 787998"/>
                <a:gd name="connsiteX34" fmla="*/ 241987 w 484190"/>
                <a:gd name="connsiteY34" fmla="*/ 123426 h 787998"/>
                <a:gd name="connsiteX35" fmla="*/ 228910 w 484190"/>
                <a:gd name="connsiteY35" fmla="*/ 111537 h 787998"/>
                <a:gd name="connsiteX36" fmla="*/ 219399 w 484190"/>
                <a:gd name="connsiteY36" fmla="*/ 93812 h 787998"/>
                <a:gd name="connsiteX37" fmla="*/ 175519 w 484190"/>
                <a:gd name="connsiteY37" fmla="*/ 93812 h 787998"/>
                <a:gd name="connsiteX38" fmla="*/ 158875 w 484190"/>
                <a:gd name="connsiteY38" fmla="*/ 73601 h 787998"/>
                <a:gd name="connsiteX39" fmla="*/ 73493 w 484190"/>
                <a:gd name="connsiteY39" fmla="*/ 64091 h 787998"/>
                <a:gd name="connsiteX40" fmla="*/ 0 w 484190"/>
                <a:gd name="connsiteY40" fmla="*/ 0 h 787998"/>
                <a:gd name="connsiteX41" fmla="*/ 4755 w 484190"/>
                <a:gd name="connsiteY41" fmla="*/ 29614 h 787998"/>
                <a:gd name="connsiteX42" fmla="*/ 31991 w 484190"/>
                <a:gd name="connsiteY42" fmla="*/ 100837 h 787998"/>
                <a:gd name="connsiteX43" fmla="*/ 65171 w 484190"/>
                <a:gd name="connsiteY43" fmla="*/ 174330 h 787998"/>
                <a:gd name="connsiteX44" fmla="*/ 61605 w 484190"/>
                <a:gd name="connsiteY44" fmla="*/ 189785 h 787998"/>
                <a:gd name="connsiteX45" fmla="*/ 44961 w 484190"/>
                <a:gd name="connsiteY45" fmla="*/ 218318 h 787998"/>
                <a:gd name="connsiteX46" fmla="*/ 43772 w 484190"/>
                <a:gd name="connsiteY46" fmla="*/ 218318 h 787998"/>
                <a:gd name="connsiteX47" fmla="*/ 37827 w 484190"/>
                <a:gd name="connsiteY47" fmla="*/ 232585 h 787998"/>
                <a:gd name="connsiteX48" fmla="*/ 46149 w 484190"/>
                <a:gd name="connsiteY48" fmla="*/ 282409 h 787998"/>
                <a:gd name="connsiteX49" fmla="*/ 53283 w 484190"/>
                <a:gd name="connsiteY49" fmla="*/ 316777 h 787998"/>
                <a:gd name="connsiteX50" fmla="*/ 55660 w 484190"/>
                <a:gd name="connsiteY50" fmla="*/ 353524 h 787998"/>
                <a:gd name="connsiteX51" fmla="*/ 79438 w 484190"/>
                <a:gd name="connsiteY51" fmla="*/ 384326 h 787998"/>
                <a:gd name="connsiteX52" fmla="*/ 88948 w 484190"/>
                <a:gd name="connsiteY52" fmla="*/ 393837 h 787998"/>
                <a:gd name="connsiteX53" fmla="*/ 69927 w 484190"/>
                <a:gd name="connsiteY53" fmla="*/ 444850 h 787998"/>
                <a:gd name="connsiteX54" fmla="*/ 69062 w 484190"/>
                <a:gd name="connsiteY54" fmla="*/ 444850 h 787998"/>
                <a:gd name="connsiteX55" fmla="*/ 77384 w 484190"/>
                <a:gd name="connsiteY55" fmla="*/ 463872 h 787998"/>
                <a:gd name="connsiteX56" fmla="*/ 94028 w 484190"/>
                <a:gd name="connsiteY56" fmla="*/ 478139 h 787998"/>
                <a:gd name="connsiteX57" fmla="*/ 108294 w 484190"/>
                <a:gd name="connsiteY57" fmla="*/ 498349 h 787998"/>
                <a:gd name="connsiteX58" fmla="*/ 110672 w 484190"/>
                <a:gd name="connsiteY58" fmla="*/ 527963 h 787998"/>
                <a:gd name="connsiteX59" fmla="*/ 105917 w 484190"/>
                <a:gd name="connsiteY59" fmla="*/ 554009 h 787998"/>
                <a:gd name="connsiteX60" fmla="*/ 94028 w 484190"/>
                <a:gd name="connsiteY60" fmla="*/ 609778 h 787998"/>
                <a:gd name="connsiteX61" fmla="*/ 71440 w 484190"/>
                <a:gd name="connsiteY61" fmla="*/ 652469 h 787998"/>
                <a:gd name="connsiteX62" fmla="*/ 54796 w 484190"/>
                <a:gd name="connsiteY62" fmla="*/ 677651 h 78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484190" h="787998" extrusionOk="0">
                  <a:moveTo>
                    <a:pt x="54796" y="677651"/>
                  </a:moveTo>
                  <a:lnTo>
                    <a:pt x="73709" y="695484"/>
                  </a:lnTo>
                  <a:lnTo>
                    <a:pt x="90353" y="683595"/>
                  </a:lnTo>
                  <a:lnTo>
                    <a:pt x="106998" y="682407"/>
                  </a:lnTo>
                  <a:lnTo>
                    <a:pt x="118886" y="684784"/>
                  </a:lnTo>
                  <a:lnTo>
                    <a:pt x="142555" y="701428"/>
                  </a:lnTo>
                  <a:lnTo>
                    <a:pt x="181680" y="748875"/>
                  </a:lnTo>
                  <a:lnTo>
                    <a:pt x="206646" y="787999"/>
                  </a:lnTo>
                  <a:lnTo>
                    <a:pt x="284894" y="725097"/>
                  </a:lnTo>
                  <a:lnTo>
                    <a:pt x="318074" y="712020"/>
                  </a:lnTo>
                  <a:lnTo>
                    <a:pt x="415345" y="678840"/>
                  </a:lnTo>
                  <a:lnTo>
                    <a:pt x="484191" y="689540"/>
                  </a:lnTo>
                  <a:lnTo>
                    <a:pt x="478246" y="638527"/>
                  </a:lnTo>
                  <a:lnTo>
                    <a:pt x="462791" y="613561"/>
                  </a:lnTo>
                  <a:lnTo>
                    <a:pt x="456847" y="561359"/>
                  </a:lnTo>
                  <a:lnTo>
                    <a:pt x="409401" y="522234"/>
                  </a:lnTo>
                  <a:lnTo>
                    <a:pt x="402267" y="470033"/>
                  </a:lnTo>
                  <a:lnTo>
                    <a:pt x="382057" y="452200"/>
                  </a:lnTo>
                  <a:lnTo>
                    <a:pt x="397512" y="439122"/>
                  </a:lnTo>
                  <a:lnTo>
                    <a:pt x="421289" y="427233"/>
                  </a:lnTo>
                  <a:lnTo>
                    <a:pt x="392757" y="414156"/>
                  </a:lnTo>
                  <a:lnTo>
                    <a:pt x="371357" y="395242"/>
                  </a:lnTo>
                  <a:lnTo>
                    <a:pt x="366602" y="379787"/>
                  </a:lnTo>
                  <a:lnTo>
                    <a:pt x="359468" y="372654"/>
                  </a:lnTo>
                  <a:lnTo>
                    <a:pt x="344013" y="370276"/>
                  </a:lnTo>
                  <a:lnTo>
                    <a:pt x="317966" y="346499"/>
                  </a:lnTo>
                  <a:lnTo>
                    <a:pt x="301322" y="327477"/>
                  </a:lnTo>
                  <a:lnTo>
                    <a:pt x="308455" y="312022"/>
                  </a:lnTo>
                  <a:lnTo>
                    <a:pt x="308455" y="262198"/>
                  </a:lnTo>
                  <a:lnTo>
                    <a:pt x="289434" y="225451"/>
                  </a:lnTo>
                  <a:lnTo>
                    <a:pt x="302511" y="223074"/>
                  </a:lnTo>
                  <a:lnTo>
                    <a:pt x="308455" y="201674"/>
                  </a:lnTo>
                  <a:lnTo>
                    <a:pt x="296567" y="169683"/>
                  </a:lnTo>
                  <a:lnTo>
                    <a:pt x="253876" y="129370"/>
                  </a:lnTo>
                  <a:lnTo>
                    <a:pt x="241987" y="123426"/>
                  </a:lnTo>
                  <a:lnTo>
                    <a:pt x="228910" y="111537"/>
                  </a:lnTo>
                  <a:lnTo>
                    <a:pt x="219399" y="93812"/>
                  </a:lnTo>
                  <a:lnTo>
                    <a:pt x="175519" y="93812"/>
                  </a:lnTo>
                  <a:lnTo>
                    <a:pt x="158875" y="73601"/>
                  </a:lnTo>
                  <a:lnTo>
                    <a:pt x="73493" y="64091"/>
                  </a:lnTo>
                  <a:lnTo>
                    <a:pt x="0" y="0"/>
                  </a:lnTo>
                  <a:lnTo>
                    <a:pt x="4755" y="29614"/>
                  </a:lnTo>
                  <a:lnTo>
                    <a:pt x="31991" y="100837"/>
                  </a:lnTo>
                  <a:lnTo>
                    <a:pt x="65171" y="174330"/>
                  </a:lnTo>
                  <a:lnTo>
                    <a:pt x="61605" y="189785"/>
                  </a:lnTo>
                  <a:lnTo>
                    <a:pt x="44961" y="218318"/>
                  </a:lnTo>
                  <a:lnTo>
                    <a:pt x="43772" y="218318"/>
                  </a:lnTo>
                  <a:lnTo>
                    <a:pt x="37827" y="232585"/>
                  </a:lnTo>
                  <a:lnTo>
                    <a:pt x="46149" y="282409"/>
                  </a:lnTo>
                  <a:lnTo>
                    <a:pt x="53283" y="316777"/>
                  </a:lnTo>
                  <a:lnTo>
                    <a:pt x="55660" y="353524"/>
                  </a:lnTo>
                  <a:lnTo>
                    <a:pt x="79438" y="384326"/>
                  </a:lnTo>
                  <a:lnTo>
                    <a:pt x="88948" y="393837"/>
                  </a:lnTo>
                  <a:lnTo>
                    <a:pt x="69927" y="444850"/>
                  </a:lnTo>
                  <a:lnTo>
                    <a:pt x="69062" y="444850"/>
                  </a:lnTo>
                  <a:lnTo>
                    <a:pt x="77384" y="463872"/>
                  </a:lnTo>
                  <a:lnTo>
                    <a:pt x="94028" y="478139"/>
                  </a:lnTo>
                  <a:lnTo>
                    <a:pt x="108294" y="498349"/>
                  </a:lnTo>
                  <a:lnTo>
                    <a:pt x="110672" y="527963"/>
                  </a:lnTo>
                  <a:lnTo>
                    <a:pt x="105917" y="554009"/>
                  </a:lnTo>
                  <a:lnTo>
                    <a:pt x="94028" y="609778"/>
                  </a:lnTo>
                  <a:lnTo>
                    <a:pt x="71440" y="652469"/>
                  </a:lnTo>
                  <a:lnTo>
                    <a:pt x="54796" y="67765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4" name="Полилиния: фигура 144"/>
            <p:cNvSpPr/>
            <p:nvPr/>
          </p:nvSpPr>
          <p:spPr bwMode="auto">
            <a:xfrm>
              <a:off x="2266322" y="4090582"/>
              <a:ext cx="437825" cy="334070"/>
            </a:xfrm>
            <a:custGeom>
              <a:avLst/>
              <a:gdLst>
                <a:gd name="connsiteX0" fmla="*/ 0 w 437825"/>
                <a:gd name="connsiteY0" fmla="*/ 141691 h 334070"/>
                <a:gd name="connsiteX1" fmla="*/ 34369 w 437825"/>
                <a:gd name="connsiteY1" fmla="*/ 128613 h 334070"/>
                <a:gd name="connsiteX2" fmla="*/ 39124 w 437825"/>
                <a:gd name="connsiteY2" fmla="*/ 129802 h 334070"/>
                <a:gd name="connsiteX3" fmla="*/ 36747 w 437825"/>
                <a:gd name="connsiteY3" fmla="*/ 150013 h 334070"/>
                <a:gd name="connsiteX4" fmla="*/ 36747 w 437825"/>
                <a:gd name="connsiteY4" fmla="*/ 157146 h 334070"/>
                <a:gd name="connsiteX5" fmla="*/ 46257 w 437825"/>
                <a:gd name="connsiteY5" fmla="*/ 166657 h 334070"/>
                <a:gd name="connsiteX6" fmla="*/ 67657 w 437825"/>
                <a:gd name="connsiteY6" fmla="*/ 167846 h 334070"/>
                <a:gd name="connsiteX7" fmla="*/ 85490 w 437825"/>
                <a:gd name="connsiteY7" fmla="*/ 176168 h 334070"/>
                <a:gd name="connsiteX8" fmla="*/ 89056 w 437825"/>
                <a:gd name="connsiteY8" fmla="*/ 194001 h 334070"/>
                <a:gd name="connsiteX9" fmla="*/ 83112 w 437825"/>
                <a:gd name="connsiteY9" fmla="*/ 202323 h 334070"/>
                <a:gd name="connsiteX10" fmla="*/ 66468 w 437825"/>
                <a:gd name="connsiteY10" fmla="*/ 207078 h 334070"/>
                <a:gd name="connsiteX11" fmla="*/ 64090 w 437825"/>
                <a:gd name="connsiteY11" fmla="*/ 207078 h 334070"/>
                <a:gd name="connsiteX12" fmla="*/ 22588 w 437825"/>
                <a:gd name="connsiteY12" fmla="*/ 211834 h 334070"/>
                <a:gd name="connsiteX13" fmla="*/ 17833 w 437825"/>
                <a:gd name="connsiteY13" fmla="*/ 217778 h 334070"/>
                <a:gd name="connsiteX14" fmla="*/ 21399 w 437825"/>
                <a:gd name="connsiteY14" fmla="*/ 228478 h 334070"/>
                <a:gd name="connsiteX15" fmla="*/ 52202 w 437825"/>
                <a:gd name="connsiteY15" fmla="*/ 271168 h 334070"/>
                <a:gd name="connsiteX16" fmla="*/ 124614 w 437825"/>
                <a:gd name="connsiteY16" fmla="*/ 334070 h 334070"/>
                <a:gd name="connsiteX17" fmla="*/ 201674 w 437825"/>
                <a:gd name="connsiteY17" fmla="*/ 267710 h 334070"/>
                <a:gd name="connsiteX18" fmla="*/ 199296 w 437825"/>
                <a:gd name="connsiteY18" fmla="*/ 247499 h 334070"/>
                <a:gd name="connsiteX19" fmla="*/ 250309 w 437825"/>
                <a:gd name="connsiteY19" fmla="*/ 247499 h 334070"/>
                <a:gd name="connsiteX20" fmla="*/ 270520 w 437825"/>
                <a:gd name="connsiteY20" fmla="*/ 266521 h 334070"/>
                <a:gd name="connsiteX21" fmla="*/ 295378 w 437825"/>
                <a:gd name="connsiteY21" fmla="*/ 240474 h 334070"/>
                <a:gd name="connsiteX22" fmla="*/ 295378 w 437825"/>
                <a:gd name="connsiteY22" fmla="*/ 239286 h 334070"/>
                <a:gd name="connsiteX23" fmla="*/ 319155 w 437825"/>
                <a:gd name="connsiteY23" fmla="*/ 247607 h 334070"/>
                <a:gd name="connsiteX24" fmla="*/ 351146 w 437825"/>
                <a:gd name="connsiteY24" fmla="*/ 266629 h 334070"/>
                <a:gd name="connsiteX25" fmla="*/ 406915 w 437825"/>
                <a:gd name="connsiteY25" fmla="*/ 257118 h 334070"/>
                <a:gd name="connsiteX26" fmla="*/ 424748 w 437825"/>
                <a:gd name="connsiteY26" fmla="*/ 238205 h 334070"/>
                <a:gd name="connsiteX27" fmla="*/ 437825 w 437825"/>
                <a:gd name="connsiteY27" fmla="*/ 223938 h 334070"/>
                <a:gd name="connsiteX28" fmla="*/ 423559 w 437825"/>
                <a:gd name="connsiteY28" fmla="*/ 194325 h 334070"/>
                <a:gd name="connsiteX29" fmla="*/ 412859 w 437825"/>
                <a:gd name="connsiteY29" fmla="*/ 145690 h 334070"/>
                <a:gd name="connsiteX30" fmla="*/ 410481 w 437825"/>
                <a:gd name="connsiteY30" fmla="*/ 80410 h 334070"/>
                <a:gd name="connsiteX31" fmla="*/ 410481 w 437825"/>
                <a:gd name="connsiteY31" fmla="*/ 27020 h 334070"/>
                <a:gd name="connsiteX32" fmla="*/ 364224 w 437825"/>
                <a:gd name="connsiteY32" fmla="*/ 42475 h 334070"/>
                <a:gd name="connsiteX33" fmla="*/ 354713 w 437825"/>
                <a:gd name="connsiteY33" fmla="*/ 46041 h 334070"/>
                <a:gd name="connsiteX34" fmla="*/ 272898 w 437825"/>
                <a:gd name="connsiteY34" fmla="*/ 111321 h 334070"/>
                <a:gd name="connsiteX35" fmla="*/ 280031 w 437825"/>
                <a:gd name="connsiteY35" fmla="*/ 130342 h 334070"/>
                <a:gd name="connsiteX36" fmla="*/ 266953 w 437825"/>
                <a:gd name="connsiteY36" fmla="*/ 143420 h 334070"/>
                <a:gd name="connsiteX37" fmla="*/ 257442 w 437825"/>
                <a:gd name="connsiteY37" fmla="*/ 174222 h 334070"/>
                <a:gd name="connsiteX38" fmla="*/ 236043 w 437825"/>
                <a:gd name="connsiteY38" fmla="*/ 163523 h 334070"/>
                <a:gd name="connsiteX39" fmla="*/ 217021 w 437825"/>
                <a:gd name="connsiteY39" fmla="*/ 170656 h 334070"/>
                <a:gd name="connsiteX40" fmla="*/ 200377 w 437825"/>
                <a:gd name="connsiteY40" fmla="*/ 189678 h 334070"/>
                <a:gd name="connsiteX41" fmla="*/ 174330 w 437825"/>
                <a:gd name="connsiteY41" fmla="*/ 174222 h 334070"/>
                <a:gd name="connsiteX42" fmla="*/ 167197 w 437825"/>
                <a:gd name="connsiteY42" fmla="*/ 144609 h 334070"/>
                <a:gd name="connsiteX43" fmla="*/ 143420 w 437825"/>
                <a:gd name="connsiteY43" fmla="*/ 110240 h 334070"/>
                <a:gd name="connsiteX44" fmla="*/ 116184 w 437825"/>
                <a:gd name="connsiteY44" fmla="*/ 81815 h 334070"/>
                <a:gd name="connsiteX45" fmla="*/ 123317 w 437825"/>
                <a:gd name="connsiteY45" fmla="*/ 40313 h 334070"/>
                <a:gd name="connsiteX46" fmla="*/ 142339 w 437825"/>
                <a:gd name="connsiteY46" fmla="*/ 18914 h 334070"/>
                <a:gd name="connsiteX47" fmla="*/ 120940 w 437825"/>
                <a:gd name="connsiteY47" fmla="*/ 0 h 334070"/>
                <a:gd name="connsiteX48" fmla="*/ 0 w 437825"/>
                <a:gd name="connsiteY48" fmla="*/ 141691 h 33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37825" h="334070" extrusionOk="0">
                  <a:moveTo>
                    <a:pt x="0" y="141691"/>
                  </a:moveTo>
                  <a:lnTo>
                    <a:pt x="34369" y="128613"/>
                  </a:lnTo>
                  <a:lnTo>
                    <a:pt x="39124" y="129802"/>
                  </a:lnTo>
                  <a:lnTo>
                    <a:pt x="36747" y="150013"/>
                  </a:lnTo>
                  <a:lnTo>
                    <a:pt x="36747" y="157146"/>
                  </a:lnTo>
                  <a:lnTo>
                    <a:pt x="46257" y="166657"/>
                  </a:lnTo>
                  <a:lnTo>
                    <a:pt x="67657" y="167846"/>
                  </a:lnTo>
                  <a:lnTo>
                    <a:pt x="85490" y="176168"/>
                  </a:lnTo>
                  <a:lnTo>
                    <a:pt x="89056" y="194001"/>
                  </a:lnTo>
                  <a:lnTo>
                    <a:pt x="83112" y="202323"/>
                  </a:lnTo>
                  <a:lnTo>
                    <a:pt x="66468" y="207078"/>
                  </a:lnTo>
                  <a:lnTo>
                    <a:pt x="64090" y="207078"/>
                  </a:lnTo>
                  <a:lnTo>
                    <a:pt x="22588" y="211834"/>
                  </a:lnTo>
                  <a:lnTo>
                    <a:pt x="17833" y="217778"/>
                  </a:lnTo>
                  <a:lnTo>
                    <a:pt x="21399" y="228478"/>
                  </a:lnTo>
                  <a:lnTo>
                    <a:pt x="52202" y="271168"/>
                  </a:lnTo>
                  <a:lnTo>
                    <a:pt x="124614" y="334070"/>
                  </a:lnTo>
                  <a:lnTo>
                    <a:pt x="201674" y="267710"/>
                  </a:lnTo>
                  <a:lnTo>
                    <a:pt x="199296" y="247499"/>
                  </a:lnTo>
                  <a:lnTo>
                    <a:pt x="250309" y="247499"/>
                  </a:lnTo>
                  <a:lnTo>
                    <a:pt x="270520" y="266521"/>
                  </a:lnTo>
                  <a:lnTo>
                    <a:pt x="295378" y="240474"/>
                  </a:lnTo>
                  <a:lnTo>
                    <a:pt x="295378" y="239286"/>
                  </a:lnTo>
                  <a:lnTo>
                    <a:pt x="319155" y="247607"/>
                  </a:lnTo>
                  <a:lnTo>
                    <a:pt x="351146" y="266629"/>
                  </a:lnTo>
                  <a:lnTo>
                    <a:pt x="406915" y="257118"/>
                  </a:lnTo>
                  <a:lnTo>
                    <a:pt x="424748" y="238205"/>
                  </a:lnTo>
                  <a:lnTo>
                    <a:pt x="437825" y="223938"/>
                  </a:lnTo>
                  <a:lnTo>
                    <a:pt x="423559" y="194325"/>
                  </a:lnTo>
                  <a:lnTo>
                    <a:pt x="412859" y="145690"/>
                  </a:lnTo>
                  <a:lnTo>
                    <a:pt x="410481" y="80410"/>
                  </a:lnTo>
                  <a:lnTo>
                    <a:pt x="410481" y="27020"/>
                  </a:lnTo>
                  <a:lnTo>
                    <a:pt x="364224" y="42475"/>
                  </a:lnTo>
                  <a:lnTo>
                    <a:pt x="354713" y="46041"/>
                  </a:lnTo>
                  <a:lnTo>
                    <a:pt x="272898" y="111321"/>
                  </a:lnTo>
                  <a:lnTo>
                    <a:pt x="280031" y="130342"/>
                  </a:lnTo>
                  <a:lnTo>
                    <a:pt x="266953" y="143420"/>
                  </a:lnTo>
                  <a:lnTo>
                    <a:pt x="257442" y="174222"/>
                  </a:lnTo>
                  <a:lnTo>
                    <a:pt x="236043" y="163523"/>
                  </a:lnTo>
                  <a:lnTo>
                    <a:pt x="217021" y="170656"/>
                  </a:lnTo>
                  <a:lnTo>
                    <a:pt x="200377" y="189678"/>
                  </a:lnTo>
                  <a:lnTo>
                    <a:pt x="174330" y="174222"/>
                  </a:lnTo>
                  <a:lnTo>
                    <a:pt x="167197" y="144609"/>
                  </a:lnTo>
                  <a:lnTo>
                    <a:pt x="143420" y="110240"/>
                  </a:lnTo>
                  <a:lnTo>
                    <a:pt x="116184" y="81815"/>
                  </a:lnTo>
                  <a:lnTo>
                    <a:pt x="123317" y="40313"/>
                  </a:lnTo>
                  <a:lnTo>
                    <a:pt x="142339" y="18914"/>
                  </a:lnTo>
                  <a:lnTo>
                    <a:pt x="120940" y="0"/>
                  </a:lnTo>
                  <a:lnTo>
                    <a:pt x="0" y="14169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5" name="Полилиния: фигура 145"/>
            <p:cNvSpPr/>
            <p:nvPr/>
          </p:nvSpPr>
          <p:spPr bwMode="auto">
            <a:xfrm>
              <a:off x="2427899" y="4668801"/>
              <a:ext cx="250201" cy="258631"/>
            </a:xfrm>
            <a:custGeom>
              <a:avLst/>
              <a:gdLst>
                <a:gd name="connsiteX0" fmla="*/ 4539 w 250201"/>
                <a:gd name="connsiteY0" fmla="*/ 65171 h 258631"/>
                <a:gd name="connsiteX1" fmla="*/ 21183 w 250201"/>
                <a:gd name="connsiteY1" fmla="*/ 119751 h 258631"/>
                <a:gd name="connsiteX2" fmla="*/ 40205 w 250201"/>
                <a:gd name="connsiteY2" fmla="*/ 174330 h 258631"/>
                <a:gd name="connsiteX3" fmla="*/ 58038 w 250201"/>
                <a:gd name="connsiteY3" fmla="*/ 187408 h 258631"/>
                <a:gd name="connsiteX4" fmla="*/ 79438 w 250201"/>
                <a:gd name="connsiteY4" fmla="*/ 202863 h 258631"/>
                <a:gd name="connsiteX5" fmla="*/ 86571 w 250201"/>
                <a:gd name="connsiteY5" fmla="*/ 219507 h 258631"/>
                <a:gd name="connsiteX6" fmla="*/ 81815 w 250201"/>
                <a:gd name="connsiteY6" fmla="*/ 246743 h 258631"/>
                <a:gd name="connsiteX7" fmla="*/ 71115 w 250201"/>
                <a:gd name="connsiteY7" fmla="*/ 258631 h 258631"/>
                <a:gd name="connsiteX8" fmla="*/ 112618 w 250201"/>
                <a:gd name="connsiteY8" fmla="*/ 236043 h 258631"/>
                <a:gd name="connsiteX9" fmla="*/ 162442 w 250201"/>
                <a:gd name="connsiteY9" fmla="*/ 200485 h 258631"/>
                <a:gd name="connsiteX10" fmla="*/ 167197 w 250201"/>
                <a:gd name="connsiteY10" fmla="*/ 145906 h 258631"/>
                <a:gd name="connsiteX11" fmla="*/ 206321 w 250201"/>
                <a:gd name="connsiteY11" fmla="*/ 119859 h 258631"/>
                <a:gd name="connsiteX12" fmla="*/ 211077 w 250201"/>
                <a:gd name="connsiteY12" fmla="*/ 117481 h 258631"/>
                <a:gd name="connsiteX13" fmla="*/ 250201 w 250201"/>
                <a:gd name="connsiteY13" fmla="*/ 80735 h 258631"/>
                <a:gd name="connsiteX14" fmla="*/ 250201 w 250201"/>
                <a:gd name="connsiteY14" fmla="*/ 15455 h 258631"/>
                <a:gd name="connsiteX15" fmla="*/ 199188 w 250201"/>
                <a:gd name="connsiteY15" fmla="*/ 0 h 258631"/>
                <a:gd name="connsiteX16" fmla="*/ 162442 w 250201"/>
                <a:gd name="connsiteY16" fmla="*/ 34369 h 258631"/>
                <a:gd name="connsiteX17" fmla="*/ 90029 w 250201"/>
                <a:gd name="connsiteY17" fmla="*/ 33180 h 258631"/>
                <a:gd name="connsiteX18" fmla="*/ 67549 w 250201"/>
                <a:gd name="connsiteY18" fmla="*/ 22480 h 258631"/>
                <a:gd name="connsiteX19" fmla="*/ 36747 w 250201"/>
                <a:gd name="connsiteY19" fmla="*/ 17725 h 258631"/>
                <a:gd name="connsiteX20" fmla="*/ 0 w 250201"/>
                <a:gd name="connsiteY20" fmla="*/ 48527 h 258631"/>
                <a:gd name="connsiteX21" fmla="*/ 4539 w 250201"/>
                <a:gd name="connsiteY21" fmla="*/ 65171 h 258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0201" h="258631" extrusionOk="0">
                  <a:moveTo>
                    <a:pt x="4539" y="65171"/>
                  </a:moveTo>
                  <a:lnTo>
                    <a:pt x="21183" y="119751"/>
                  </a:lnTo>
                  <a:lnTo>
                    <a:pt x="40205" y="174330"/>
                  </a:lnTo>
                  <a:lnTo>
                    <a:pt x="58038" y="187408"/>
                  </a:lnTo>
                  <a:lnTo>
                    <a:pt x="79438" y="202863"/>
                  </a:lnTo>
                  <a:lnTo>
                    <a:pt x="86571" y="219507"/>
                  </a:lnTo>
                  <a:lnTo>
                    <a:pt x="81815" y="246743"/>
                  </a:lnTo>
                  <a:lnTo>
                    <a:pt x="71115" y="258631"/>
                  </a:lnTo>
                  <a:lnTo>
                    <a:pt x="112618" y="236043"/>
                  </a:lnTo>
                  <a:lnTo>
                    <a:pt x="162442" y="200485"/>
                  </a:lnTo>
                  <a:lnTo>
                    <a:pt x="167197" y="145906"/>
                  </a:lnTo>
                  <a:lnTo>
                    <a:pt x="206321" y="119859"/>
                  </a:lnTo>
                  <a:lnTo>
                    <a:pt x="211077" y="117481"/>
                  </a:lnTo>
                  <a:lnTo>
                    <a:pt x="250201" y="80735"/>
                  </a:lnTo>
                  <a:lnTo>
                    <a:pt x="250201" y="15455"/>
                  </a:lnTo>
                  <a:lnTo>
                    <a:pt x="199188" y="0"/>
                  </a:lnTo>
                  <a:lnTo>
                    <a:pt x="162442" y="34369"/>
                  </a:lnTo>
                  <a:lnTo>
                    <a:pt x="90029" y="33180"/>
                  </a:lnTo>
                  <a:lnTo>
                    <a:pt x="67549" y="22480"/>
                  </a:lnTo>
                  <a:lnTo>
                    <a:pt x="36747" y="17725"/>
                  </a:lnTo>
                  <a:lnTo>
                    <a:pt x="0" y="48527"/>
                  </a:lnTo>
                  <a:lnTo>
                    <a:pt x="4539" y="6517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6" name="Полилиния: фигура 146"/>
            <p:cNvSpPr/>
            <p:nvPr/>
          </p:nvSpPr>
          <p:spPr bwMode="auto">
            <a:xfrm>
              <a:off x="2460755" y="4869070"/>
              <a:ext cx="210104" cy="165035"/>
            </a:xfrm>
            <a:custGeom>
              <a:avLst/>
              <a:gdLst>
                <a:gd name="connsiteX0" fmla="*/ 26155 w 210104"/>
                <a:gd name="connsiteY0" fmla="*/ 70143 h 165035"/>
                <a:gd name="connsiteX1" fmla="*/ 7133 w 210104"/>
                <a:gd name="connsiteY1" fmla="*/ 89165 h 165035"/>
                <a:gd name="connsiteX2" fmla="*/ 1189 w 210104"/>
                <a:gd name="connsiteY2" fmla="*/ 104620 h 165035"/>
                <a:gd name="connsiteX3" fmla="*/ 0 w 210104"/>
                <a:gd name="connsiteY3" fmla="*/ 153255 h 165035"/>
                <a:gd name="connsiteX4" fmla="*/ 34369 w 210104"/>
                <a:gd name="connsiteY4" fmla="*/ 144933 h 165035"/>
                <a:gd name="connsiteX5" fmla="*/ 83004 w 210104"/>
                <a:gd name="connsiteY5" fmla="*/ 141367 h 165035"/>
                <a:gd name="connsiteX6" fmla="*/ 111537 w 210104"/>
                <a:gd name="connsiteY6" fmla="*/ 130667 h 165035"/>
                <a:gd name="connsiteX7" fmla="*/ 126992 w 210104"/>
                <a:gd name="connsiteY7" fmla="*/ 117589 h 165035"/>
                <a:gd name="connsiteX8" fmla="*/ 137692 w 210104"/>
                <a:gd name="connsiteY8" fmla="*/ 121156 h 165035"/>
                <a:gd name="connsiteX9" fmla="*/ 149580 w 210104"/>
                <a:gd name="connsiteY9" fmla="*/ 148392 h 165035"/>
                <a:gd name="connsiteX10" fmla="*/ 151958 w 210104"/>
                <a:gd name="connsiteY10" fmla="*/ 165036 h 165035"/>
                <a:gd name="connsiteX11" fmla="*/ 183949 w 210104"/>
                <a:gd name="connsiteY11" fmla="*/ 162658 h 165035"/>
                <a:gd name="connsiteX12" fmla="*/ 204160 w 210104"/>
                <a:gd name="connsiteY12" fmla="*/ 148392 h 165035"/>
                <a:gd name="connsiteX13" fmla="*/ 207726 w 210104"/>
                <a:gd name="connsiteY13" fmla="*/ 105701 h 165035"/>
                <a:gd name="connsiteX14" fmla="*/ 197027 w 210104"/>
                <a:gd name="connsiteY14" fmla="*/ 104512 h 165035"/>
                <a:gd name="connsiteX15" fmla="*/ 197027 w 210104"/>
                <a:gd name="connsiteY15" fmla="*/ 104512 h 165035"/>
                <a:gd name="connsiteX16" fmla="*/ 197027 w 210104"/>
                <a:gd name="connsiteY16" fmla="*/ 77276 h 165035"/>
                <a:gd name="connsiteX17" fmla="*/ 210104 w 210104"/>
                <a:gd name="connsiteY17" fmla="*/ 70143 h 165035"/>
                <a:gd name="connsiteX18" fmla="*/ 205349 w 210104"/>
                <a:gd name="connsiteY18" fmla="*/ 52310 h 165035"/>
                <a:gd name="connsiteX19" fmla="*/ 183949 w 210104"/>
                <a:gd name="connsiteY19" fmla="*/ 40422 h 165035"/>
                <a:gd name="connsiteX20" fmla="*/ 175627 w 210104"/>
                <a:gd name="connsiteY20" fmla="*/ 22588 h 165035"/>
                <a:gd name="connsiteX21" fmla="*/ 153039 w 210104"/>
                <a:gd name="connsiteY21" fmla="*/ 28533 h 165035"/>
                <a:gd name="connsiteX22" fmla="*/ 129370 w 210104"/>
                <a:gd name="connsiteY22" fmla="*/ 0 h 165035"/>
                <a:gd name="connsiteX23" fmla="*/ 81923 w 210104"/>
                <a:gd name="connsiteY23" fmla="*/ 35558 h 165035"/>
                <a:gd name="connsiteX24" fmla="*/ 36855 w 210104"/>
                <a:gd name="connsiteY24" fmla="*/ 58146 h 165035"/>
                <a:gd name="connsiteX25" fmla="*/ 26155 w 210104"/>
                <a:gd name="connsiteY25" fmla="*/ 70143 h 165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0104" h="165035" extrusionOk="0">
                  <a:moveTo>
                    <a:pt x="26155" y="70143"/>
                  </a:moveTo>
                  <a:lnTo>
                    <a:pt x="7133" y="89165"/>
                  </a:lnTo>
                  <a:lnTo>
                    <a:pt x="1189" y="104620"/>
                  </a:lnTo>
                  <a:lnTo>
                    <a:pt x="0" y="153255"/>
                  </a:lnTo>
                  <a:lnTo>
                    <a:pt x="34369" y="144933"/>
                  </a:lnTo>
                  <a:lnTo>
                    <a:pt x="83004" y="141367"/>
                  </a:lnTo>
                  <a:lnTo>
                    <a:pt x="111537" y="130667"/>
                  </a:lnTo>
                  <a:lnTo>
                    <a:pt x="126992" y="117589"/>
                  </a:lnTo>
                  <a:lnTo>
                    <a:pt x="137692" y="121156"/>
                  </a:lnTo>
                  <a:lnTo>
                    <a:pt x="149580" y="148392"/>
                  </a:lnTo>
                  <a:lnTo>
                    <a:pt x="151958" y="165036"/>
                  </a:lnTo>
                  <a:lnTo>
                    <a:pt x="183949" y="162658"/>
                  </a:lnTo>
                  <a:lnTo>
                    <a:pt x="204160" y="148392"/>
                  </a:lnTo>
                  <a:lnTo>
                    <a:pt x="207726" y="105701"/>
                  </a:lnTo>
                  <a:lnTo>
                    <a:pt x="197027" y="104512"/>
                  </a:lnTo>
                  <a:lnTo>
                    <a:pt x="197027" y="104512"/>
                  </a:lnTo>
                  <a:lnTo>
                    <a:pt x="197027" y="77276"/>
                  </a:lnTo>
                  <a:lnTo>
                    <a:pt x="210104" y="70143"/>
                  </a:lnTo>
                  <a:lnTo>
                    <a:pt x="205349" y="52310"/>
                  </a:lnTo>
                  <a:lnTo>
                    <a:pt x="183949" y="40422"/>
                  </a:lnTo>
                  <a:lnTo>
                    <a:pt x="175627" y="22588"/>
                  </a:lnTo>
                  <a:lnTo>
                    <a:pt x="153039" y="28533"/>
                  </a:lnTo>
                  <a:lnTo>
                    <a:pt x="129370" y="0"/>
                  </a:lnTo>
                  <a:lnTo>
                    <a:pt x="81923" y="35558"/>
                  </a:lnTo>
                  <a:lnTo>
                    <a:pt x="36855" y="58146"/>
                  </a:lnTo>
                  <a:lnTo>
                    <a:pt x="26155" y="70143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7" name="Полилиния: фигура 147"/>
            <p:cNvSpPr/>
            <p:nvPr/>
          </p:nvSpPr>
          <p:spPr bwMode="auto">
            <a:xfrm>
              <a:off x="2612605" y="4993684"/>
              <a:ext cx="232692" cy="141258"/>
            </a:xfrm>
            <a:custGeom>
              <a:avLst/>
              <a:gdLst>
                <a:gd name="connsiteX0" fmla="*/ 6052 w 232692"/>
                <a:gd name="connsiteY0" fmla="*/ 54580 h 141258"/>
                <a:gd name="connsiteX1" fmla="*/ 19130 w 232692"/>
                <a:gd name="connsiteY1" fmla="*/ 86571 h 141258"/>
                <a:gd name="connsiteX2" fmla="*/ 43988 w 232692"/>
                <a:gd name="connsiteY2" fmla="*/ 110348 h 141258"/>
                <a:gd name="connsiteX3" fmla="*/ 59443 w 232692"/>
                <a:gd name="connsiteY3" fmla="*/ 126992 h 141258"/>
                <a:gd name="connsiteX4" fmla="*/ 74898 w 232692"/>
                <a:gd name="connsiteY4" fmla="*/ 141258 h 141258"/>
                <a:gd name="connsiteX5" fmla="*/ 112834 w 232692"/>
                <a:gd name="connsiteY5" fmla="*/ 122237 h 141258"/>
                <a:gd name="connsiteX6" fmla="*/ 159091 w 232692"/>
                <a:gd name="connsiteY6" fmla="*/ 91434 h 141258"/>
                <a:gd name="connsiteX7" fmla="*/ 187516 w 232692"/>
                <a:gd name="connsiteY7" fmla="*/ 90245 h 141258"/>
                <a:gd name="connsiteX8" fmla="*/ 208915 w 232692"/>
                <a:gd name="connsiteY8" fmla="*/ 100945 h 141258"/>
                <a:gd name="connsiteX9" fmla="*/ 232693 w 232692"/>
                <a:gd name="connsiteY9" fmla="*/ 99756 h 141258"/>
                <a:gd name="connsiteX10" fmla="*/ 229126 w 232692"/>
                <a:gd name="connsiteY10" fmla="*/ 34477 h 141258"/>
                <a:gd name="connsiteX11" fmla="*/ 227937 w 232692"/>
                <a:gd name="connsiteY11" fmla="*/ 34477 h 141258"/>
                <a:gd name="connsiteX12" fmla="*/ 206538 w 232692"/>
                <a:gd name="connsiteY12" fmla="*/ 35666 h 141258"/>
                <a:gd name="connsiteX13" fmla="*/ 193460 w 232692"/>
                <a:gd name="connsiteY13" fmla="*/ 26155 h 141258"/>
                <a:gd name="connsiteX14" fmla="*/ 192271 w 232692"/>
                <a:gd name="connsiteY14" fmla="*/ 26155 h 141258"/>
                <a:gd name="connsiteX15" fmla="*/ 163847 w 232692"/>
                <a:gd name="connsiteY15" fmla="*/ 28533 h 141258"/>
                <a:gd name="connsiteX16" fmla="*/ 162658 w 232692"/>
                <a:gd name="connsiteY16" fmla="*/ 26155 h 141258"/>
                <a:gd name="connsiteX17" fmla="*/ 146014 w 232692"/>
                <a:gd name="connsiteY17" fmla="*/ 13078 h 141258"/>
                <a:gd name="connsiteX18" fmla="*/ 146014 w 232692"/>
                <a:gd name="connsiteY18" fmla="*/ 11889 h 141258"/>
                <a:gd name="connsiteX19" fmla="*/ 80734 w 232692"/>
                <a:gd name="connsiteY19" fmla="*/ 11889 h 141258"/>
                <a:gd name="connsiteX20" fmla="*/ 81923 w 232692"/>
                <a:gd name="connsiteY20" fmla="*/ 0 h 141258"/>
                <a:gd name="connsiteX21" fmla="*/ 52202 w 232692"/>
                <a:gd name="connsiteY21" fmla="*/ 1189 h 141258"/>
                <a:gd name="connsiteX22" fmla="*/ 51013 w 232692"/>
                <a:gd name="connsiteY22" fmla="*/ 24966 h 141258"/>
                <a:gd name="connsiteX23" fmla="*/ 31991 w 232692"/>
                <a:gd name="connsiteY23" fmla="*/ 39232 h 141258"/>
                <a:gd name="connsiteX24" fmla="*/ 0 w 232692"/>
                <a:gd name="connsiteY24" fmla="*/ 40422 h 141258"/>
                <a:gd name="connsiteX25" fmla="*/ 6052 w 232692"/>
                <a:gd name="connsiteY25" fmla="*/ 54580 h 14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32692" h="141258" extrusionOk="0">
                  <a:moveTo>
                    <a:pt x="6052" y="54580"/>
                  </a:moveTo>
                  <a:lnTo>
                    <a:pt x="19130" y="86571"/>
                  </a:lnTo>
                  <a:lnTo>
                    <a:pt x="43988" y="110348"/>
                  </a:lnTo>
                  <a:lnTo>
                    <a:pt x="59443" y="126992"/>
                  </a:lnTo>
                  <a:lnTo>
                    <a:pt x="74898" y="141258"/>
                  </a:lnTo>
                  <a:lnTo>
                    <a:pt x="112834" y="122237"/>
                  </a:lnTo>
                  <a:lnTo>
                    <a:pt x="159091" y="91434"/>
                  </a:lnTo>
                  <a:lnTo>
                    <a:pt x="187516" y="90245"/>
                  </a:lnTo>
                  <a:lnTo>
                    <a:pt x="208915" y="100945"/>
                  </a:lnTo>
                  <a:lnTo>
                    <a:pt x="232693" y="99756"/>
                  </a:lnTo>
                  <a:lnTo>
                    <a:pt x="229126" y="34477"/>
                  </a:lnTo>
                  <a:lnTo>
                    <a:pt x="227937" y="34477"/>
                  </a:lnTo>
                  <a:lnTo>
                    <a:pt x="206538" y="35666"/>
                  </a:lnTo>
                  <a:lnTo>
                    <a:pt x="193460" y="26155"/>
                  </a:lnTo>
                  <a:lnTo>
                    <a:pt x="192271" y="26155"/>
                  </a:lnTo>
                  <a:lnTo>
                    <a:pt x="163847" y="28533"/>
                  </a:lnTo>
                  <a:lnTo>
                    <a:pt x="162658" y="26155"/>
                  </a:lnTo>
                  <a:lnTo>
                    <a:pt x="146014" y="13078"/>
                  </a:lnTo>
                  <a:lnTo>
                    <a:pt x="146014" y="11889"/>
                  </a:lnTo>
                  <a:lnTo>
                    <a:pt x="80734" y="11889"/>
                  </a:lnTo>
                  <a:lnTo>
                    <a:pt x="81923" y="0"/>
                  </a:lnTo>
                  <a:lnTo>
                    <a:pt x="52202" y="1189"/>
                  </a:lnTo>
                  <a:lnTo>
                    <a:pt x="51013" y="24966"/>
                  </a:lnTo>
                  <a:lnTo>
                    <a:pt x="31991" y="39232"/>
                  </a:lnTo>
                  <a:lnTo>
                    <a:pt x="0" y="40422"/>
                  </a:lnTo>
                  <a:lnTo>
                    <a:pt x="6052" y="5458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8" name="Полилиния: фигура 148"/>
            <p:cNvSpPr/>
            <p:nvPr/>
          </p:nvSpPr>
          <p:spPr bwMode="auto">
            <a:xfrm>
              <a:off x="2391909" y="4328354"/>
              <a:ext cx="335691" cy="270628"/>
            </a:xfrm>
            <a:custGeom>
              <a:avLst/>
              <a:gdLst>
                <a:gd name="connsiteX0" fmla="*/ 108 w 335691"/>
                <a:gd name="connsiteY0" fmla="*/ 93704 h 270628"/>
                <a:gd name="connsiteX1" fmla="*/ 75979 w 335691"/>
                <a:gd name="connsiteY1" fmla="*/ 28425 h 270628"/>
                <a:gd name="connsiteX2" fmla="*/ 72412 w 335691"/>
                <a:gd name="connsiteY2" fmla="*/ 7025 h 270628"/>
                <a:gd name="connsiteX3" fmla="*/ 125803 w 335691"/>
                <a:gd name="connsiteY3" fmla="*/ 7025 h 270628"/>
                <a:gd name="connsiteX4" fmla="*/ 147203 w 335691"/>
                <a:gd name="connsiteY4" fmla="*/ 27236 h 270628"/>
                <a:gd name="connsiteX5" fmla="*/ 169683 w 335691"/>
                <a:gd name="connsiteY5" fmla="*/ 0 h 270628"/>
                <a:gd name="connsiteX6" fmla="*/ 202863 w 335691"/>
                <a:gd name="connsiteY6" fmla="*/ 11889 h 270628"/>
                <a:gd name="connsiteX7" fmla="*/ 227721 w 335691"/>
                <a:gd name="connsiteY7" fmla="*/ 28533 h 270628"/>
                <a:gd name="connsiteX8" fmla="*/ 282300 w 335691"/>
                <a:gd name="connsiteY8" fmla="*/ 17833 h 270628"/>
                <a:gd name="connsiteX9" fmla="*/ 279923 w 335691"/>
                <a:gd name="connsiteY9" fmla="*/ 39232 h 270628"/>
                <a:gd name="connsiteX10" fmla="*/ 313103 w 335691"/>
                <a:gd name="connsiteY10" fmla="*/ 59443 h 270628"/>
                <a:gd name="connsiteX11" fmla="*/ 333313 w 335691"/>
                <a:gd name="connsiteY11" fmla="*/ 66576 h 270628"/>
                <a:gd name="connsiteX12" fmla="*/ 334502 w 335691"/>
                <a:gd name="connsiteY12" fmla="*/ 66576 h 270628"/>
                <a:gd name="connsiteX13" fmla="*/ 335691 w 335691"/>
                <a:gd name="connsiteY13" fmla="*/ 82031 h 270628"/>
                <a:gd name="connsiteX14" fmla="*/ 264468 w 335691"/>
                <a:gd name="connsiteY14" fmla="*/ 129478 h 270628"/>
                <a:gd name="connsiteX15" fmla="*/ 238421 w 335691"/>
                <a:gd name="connsiteY15" fmla="*/ 131856 h 270628"/>
                <a:gd name="connsiteX16" fmla="*/ 238421 w 335691"/>
                <a:gd name="connsiteY16" fmla="*/ 121156 h 270628"/>
                <a:gd name="connsiteX17" fmla="*/ 195730 w 335691"/>
                <a:gd name="connsiteY17" fmla="*/ 123533 h 270628"/>
                <a:gd name="connsiteX18" fmla="*/ 190974 w 335691"/>
                <a:gd name="connsiteY18" fmla="*/ 154336 h 270628"/>
                <a:gd name="connsiteX19" fmla="*/ 157794 w 335691"/>
                <a:gd name="connsiteY19" fmla="*/ 205349 h 270628"/>
                <a:gd name="connsiteX20" fmla="*/ 98459 w 335691"/>
                <a:gd name="connsiteY20" fmla="*/ 249229 h 270628"/>
                <a:gd name="connsiteX21" fmla="*/ 79438 w 335691"/>
                <a:gd name="connsiteY21" fmla="*/ 270628 h 270628"/>
                <a:gd name="connsiteX22" fmla="*/ 54580 w 335691"/>
                <a:gd name="connsiteY22" fmla="*/ 248040 h 270628"/>
                <a:gd name="connsiteX23" fmla="*/ 54580 w 335691"/>
                <a:gd name="connsiteY23" fmla="*/ 207727 h 270628"/>
                <a:gd name="connsiteX24" fmla="*/ 37935 w 335691"/>
                <a:gd name="connsiteY24" fmla="*/ 195838 h 270628"/>
                <a:gd name="connsiteX25" fmla="*/ 36747 w 335691"/>
                <a:gd name="connsiteY25" fmla="*/ 141258 h 270628"/>
                <a:gd name="connsiteX26" fmla="*/ 0 w 335691"/>
                <a:gd name="connsiteY26" fmla="*/ 129370 h 270628"/>
                <a:gd name="connsiteX27" fmla="*/ 108 w 335691"/>
                <a:gd name="connsiteY27" fmla="*/ 93704 h 270628"/>
                <a:gd name="connsiteX28" fmla="*/ 108 w 335691"/>
                <a:gd name="connsiteY28" fmla="*/ 93704 h 27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5691" h="270628" extrusionOk="0">
                  <a:moveTo>
                    <a:pt x="108" y="93704"/>
                  </a:moveTo>
                  <a:lnTo>
                    <a:pt x="75979" y="28425"/>
                  </a:lnTo>
                  <a:lnTo>
                    <a:pt x="72412" y="7025"/>
                  </a:lnTo>
                  <a:lnTo>
                    <a:pt x="125803" y="7025"/>
                  </a:lnTo>
                  <a:lnTo>
                    <a:pt x="147203" y="27236"/>
                  </a:lnTo>
                  <a:lnTo>
                    <a:pt x="169683" y="0"/>
                  </a:lnTo>
                  <a:lnTo>
                    <a:pt x="202863" y="11889"/>
                  </a:lnTo>
                  <a:lnTo>
                    <a:pt x="227721" y="28533"/>
                  </a:lnTo>
                  <a:lnTo>
                    <a:pt x="282300" y="17833"/>
                  </a:lnTo>
                  <a:lnTo>
                    <a:pt x="279923" y="39232"/>
                  </a:lnTo>
                  <a:lnTo>
                    <a:pt x="313103" y="59443"/>
                  </a:lnTo>
                  <a:lnTo>
                    <a:pt x="333313" y="66576"/>
                  </a:lnTo>
                  <a:lnTo>
                    <a:pt x="334502" y="66576"/>
                  </a:lnTo>
                  <a:lnTo>
                    <a:pt x="335691" y="82031"/>
                  </a:lnTo>
                  <a:lnTo>
                    <a:pt x="264468" y="129478"/>
                  </a:lnTo>
                  <a:lnTo>
                    <a:pt x="238421" y="131856"/>
                  </a:lnTo>
                  <a:lnTo>
                    <a:pt x="238421" y="121156"/>
                  </a:lnTo>
                  <a:lnTo>
                    <a:pt x="195730" y="123533"/>
                  </a:lnTo>
                  <a:lnTo>
                    <a:pt x="190974" y="154336"/>
                  </a:lnTo>
                  <a:lnTo>
                    <a:pt x="157794" y="205349"/>
                  </a:lnTo>
                  <a:lnTo>
                    <a:pt x="98459" y="249229"/>
                  </a:lnTo>
                  <a:lnTo>
                    <a:pt x="79438" y="270628"/>
                  </a:lnTo>
                  <a:lnTo>
                    <a:pt x="54580" y="248040"/>
                  </a:lnTo>
                  <a:lnTo>
                    <a:pt x="54580" y="207727"/>
                  </a:lnTo>
                  <a:lnTo>
                    <a:pt x="37935" y="195838"/>
                  </a:lnTo>
                  <a:lnTo>
                    <a:pt x="36747" y="141258"/>
                  </a:lnTo>
                  <a:lnTo>
                    <a:pt x="0" y="129370"/>
                  </a:lnTo>
                  <a:lnTo>
                    <a:pt x="108" y="93704"/>
                  </a:lnTo>
                  <a:lnTo>
                    <a:pt x="108" y="93704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79" name="Полилиния: фигура 149"/>
            <p:cNvSpPr/>
            <p:nvPr/>
          </p:nvSpPr>
          <p:spPr bwMode="auto">
            <a:xfrm>
              <a:off x="2465834" y="4398281"/>
              <a:ext cx="367682" cy="304780"/>
            </a:xfrm>
            <a:custGeom>
              <a:avLst/>
              <a:gdLst>
                <a:gd name="connsiteX0" fmla="*/ 10484 w 367682"/>
                <a:gd name="connsiteY0" fmla="*/ 259820 h 304780"/>
                <a:gd name="connsiteX1" fmla="*/ 4539 w 367682"/>
                <a:gd name="connsiteY1" fmla="*/ 199296 h 304780"/>
                <a:gd name="connsiteX2" fmla="*/ 25939 w 367682"/>
                <a:gd name="connsiteY2" fmla="*/ 179086 h 304780"/>
                <a:gd name="connsiteX3" fmla="*/ 85274 w 367682"/>
                <a:gd name="connsiteY3" fmla="*/ 134017 h 304780"/>
                <a:gd name="connsiteX4" fmla="*/ 117265 w 367682"/>
                <a:gd name="connsiteY4" fmla="*/ 83004 h 304780"/>
                <a:gd name="connsiteX5" fmla="*/ 122020 w 367682"/>
                <a:gd name="connsiteY5" fmla="*/ 53391 h 304780"/>
                <a:gd name="connsiteX6" fmla="*/ 164711 w 367682"/>
                <a:gd name="connsiteY6" fmla="*/ 49824 h 304780"/>
                <a:gd name="connsiteX7" fmla="*/ 162334 w 367682"/>
                <a:gd name="connsiteY7" fmla="*/ 61713 h 304780"/>
                <a:gd name="connsiteX8" fmla="*/ 190758 w 367682"/>
                <a:gd name="connsiteY8" fmla="*/ 59335 h 304780"/>
                <a:gd name="connsiteX9" fmla="*/ 261982 w 367682"/>
                <a:gd name="connsiteY9" fmla="*/ 11889 h 304780"/>
                <a:gd name="connsiteX10" fmla="*/ 290406 w 367682"/>
                <a:gd name="connsiteY10" fmla="*/ 41502 h 304780"/>
                <a:gd name="connsiteX11" fmla="*/ 301106 w 367682"/>
                <a:gd name="connsiteY11" fmla="*/ 40313 h 304780"/>
                <a:gd name="connsiteX12" fmla="*/ 305862 w 367682"/>
                <a:gd name="connsiteY12" fmla="*/ 7133 h 304780"/>
                <a:gd name="connsiteX13" fmla="*/ 323694 w 367682"/>
                <a:gd name="connsiteY13" fmla="*/ 0 h 304780"/>
                <a:gd name="connsiteX14" fmla="*/ 332017 w 367682"/>
                <a:gd name="connsiteY14" fmla="*/ 15455 h 304780"/>
                <a:gd name="connsiteX15" fmla="*/ 318939 w 367682"/>
                <a:gd name="connsiteY15" fmla="*/ 49824 h 304780"/>
                <a:gd name="connsiteX16" fmla="*/ 324883 w 367682"/>
                <a:gd name="connsiteY16" fmla="*/ 78249 h 304780"/>
                <a:gd name="connsiteX17" fmla="*/ 334394 w 367682"/>
                <a:gd name="connsiteY17" fmla="*/ 113806 h 304780"/>
                <a:gd name="connsiteX18" fmla="*/ 346283 w 367682"/>
                <a:gd name="connsiteY18" fmla="*/ 132828 h 304780"/>
                <a:gd name="connsiteX19" fmla="*/ 367682 w 367682"/>
                <a:gd name="connsiteY19" fmla="*/ 143528 h 304780"/>
                <a:gd name="connsiteX20" fmla="*/ 366494 w 367682"/>
                <a:gd name="connsiteY20" fmla="*/ 192163 h 304780"/>
                <a:gd name="connsiteX21" fmla="*/ 289434 w 367682"/>
                <a:gd name="connsiteY21" fmla="*/ 202863 h 304780"/>
                <a:gd name="connsiteX22" fmla="*/ 259712 w 367682"/>
                <a:gd name="connsiteY22" fmla="*/ 232477 h 304780"/>
                <a:gd name="connsiteX23" fmla="*/ 215832 w 367682"/>
                <a:gd name="connsiteY23" fmla="*/ 257443 h 304780"/>
                <a:gd name="connsiteX24" fmla="*/ 213455 w 367682"/>
                <a:gd name="connsiteY24" fmla="*/ 287056 h 304780"/>
                <a:gd name="connsiteX25" fmla="*/ 162442 w 367682"/>
                <a:gd name="connsiteY25" fmla="*/ 270412 h 304780"/>
                <a:gd name="connsiteX26" fmla="*/ 124506 w 367682"/>
                <a:gd name="connsiteY26" fmla="*/ 304781 h 304780"/>
                <a:gd name="connsiteX27" fmla="*/ 51013 w 367682"/>
                <a:gd name="connsiteY27" fmla="*/ 303592 h 304780"/>
                <a:gd name="connsiteX28" fmla="*/ 27236 w 367682"/>
                <a:gd name="connsiteY28" fmla="*/ 294081 h 304780"/>
                <a:gd name="connsiteX29" fmla="*/ 0 w 367682"/>
                <a:gd name="connsiteY29" fmla="*/ 289325 h 304780"/>
                <a:gd name="connsiteX30" fmla="*/ 10700 w 367682"/>
                <a:gd name="connsiteY30" fmla="*/ 265657 h 304780"/>
                <a:gd name="connsiteX31" fmla="*/ 10484 w 367682"/>
                <a:gd name="connsiteY31" fmla="*/ 259820 h 304780"/>
                <a:gd name="connsiteX32" fmla="*/ 10484 w 367682"/>
                <a:gd name="connsiteY32" fmla="*/ 259820 h 30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7682" h="304780" extrusionOk="0">
                  <a:moveTo>
                    <a:pt x="10484" y="259820"/>
                  </a:moveTo>
                  <a:lnTo>
                    <a:pt x="4539" y="199296"/>
                  </a:lnTo>
                  <a:lnTo>
                    <a:pt x="25939" y="179086"/>
                  </a:lnTo>
                  <a:lnTo>
                    <a:pt x="85274" y="134017"/>
                  </a:lnTo>
                  <a:lnTo>
                    <a:pt x="117265" y="83004"/>
                  </a:lnTo>
                  <a:lnTo>
                    <a:pt x="122020" y="53391"/>
                  </a:lnTo>
                  <a:lnTo>
                    <a:pt x="164711" y="49824"/>
                  </a:lnTo>
                  <a:lnTo>
                    <a:pt x="162334" y="61713"/>
                  </a:lnTo>
                  <a:lnTo>
                    <a:pt x="190758" y="59335"/>
                  </a:lnTo>
                  <a:lnTo>
                    <a:pt x="261982" y="11889"/>
                  </a:lnTo>
                  <a:lnTo>
                    <a:pt x="290406" y="41502"/>
                  </a:lnTo>
                  <a:lnTo>
                    <a:pt x="301106" y="40313"/>
                  </a:lnTo>
                  <a:lnTo>
                    <a:pt x="305862" y="7133"/>
                  </a:lnTo>
                  <a:lnTo>
                    <a:pt x="323694" y="0"/>
                  </a:lnTo>
                  <a:lnTo>
                    <a:pt x="332017" y="15455"/>
                  </a:lnTo>
                  <a:lnTo>
                    <a:pt x="318939" y="49824"/>
                  </a:lnTo>
                  <a:lnTo>
                    <a:pt x="324883" y="78249"/>
                  </a:lnTo>
                  <a:lnTo>
                    <a:pt x="334394" y="113806"/>
                  </a:lnTo>
                  <a:lnTo>
                    <a:pt x="346283" y="132828"/>
                  </a:lnTo>
                  <a:lnTo>
                    <a:pt x="367682" y="143528"/>
                  </a:lnTo>
                  <a:lnTo>
                    <a:pt x="366494" y="192163"/>
                  </a:lnTo>
                  <a:lnTo>
                    <a:pt x="289434" y="202863"/>
                  </a:lnTo>
                  <a:lnTo>
                    <a:pt x="259712" y="232477"/>
                  </a:lnTo>
                  <a:lnTo>
                    <a:pt x="215832" y="257443"/>
                  </a:lnTo>
                  <a:lnTo>
                    <a:pt x="213455" y="287056"/>
                  </a:lnTo>
                  <a:lnTo>
                    <a:pt x="162442" y="270412"/>
                  </a:lnTo>
                  <a:lnTo>
                    <a:pt x="124506" y="304781"/>
                  </a:lnTo>
                  <a:lnTo>
                    <a:pt x="51013" y="303592"/>
                  </a:lnTo>
                  <a:lnTo>
                    <a:pt x="27236" y="294081"/>
                  </a:lnTo>
                  <a:lnTo>
                    <a:pt x="0" y="289325"/>
                  </a:lnTo>
                  <a:lnTo>
                    <a:pt x="10700" y="265657"/>
                  </a:lnTo>
                  <a:lnTo>
                    <a:pt x="10484" y="259820"/>
                  </a:lnTo>
                  <a:lnTo>
                    <a:pt x="10484" y="25982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0" name="Полилиния: фигура 150"/>
            <p:cNvSpPr/>
            <p:nvPr/>
          </p:nvSpPr>
          <p:spPr bwMode="auto">
            <a:xfrm>
              <a:off x="2677884" y="4589255"/>
              <a:ext cx="250309" cy="234962"/>
            </a:xfrm>
            <a:custGeom>
              <a:avLst/>
              <a:gdLst>
                <a:gd name="connsiteX0" fmla="*/ 0 w 250309"/>
                <a:gd name="connsiteY0" fmla="*/ 160172 h 234962"/>
                <a:gd name="connsiteX1" fmla="*/ 0 w 250309"/>
                <a:gd name="connsiteY1" fmla="*/ 94893 h 234962"/>
                <a:gd name="connsiteX2" fmla="*/ 4755 w 250309"/>
                <a:gd name="connsiteY2" fmla="*/ 65279 h 234962"/>
                <a:gd name="connsiteX3" fmla="*/ 47446 w 250309"/>
                <a:gd name="connsiteY3" fmla="*/ 41502 h 234962"/>
                <a:gd name="connsiteX4" fmla="*/ 77168 w 250309"/>
                <a:gd name="connsiteY4" fmla="*/ 10700 h 234962"/>
                <a:gd name="connsiteX5" fmla="*/ 155417 w 250309"/>
                <a:gd name="connsiteY5" fmla="*/ 0 h 234962"/>
                <a:gd name="connsiteX6" fmla="*/ 164927 w 250309"/>
                <a:gd name="connsiteY6" fmla="*/ 13077 h 234962"/>
                <a:gd name="connsiteX7" fmla="*/ 166116 w 250309"/>
                <a:gd name="connsiteY7" fmla="*/ 72412 h 234962"/>
                <a:gd name="connsiteX8" fmla="*/ 199296 w 250309"/>
                <a:gd name="connsiteY8" fmla="*/ 104404 h 234962"/>
                <a:gd name="connsiteX9" fmla="*/ 214752 w 250309"/>
                <a:gd name="connsiteY9" fmla="*/ 115103 h 234962"/>
                <a:gd name="connsiteX10" fmla="*/ 245554 w 250309"/>
                <a:gd name="connsiteY10" fmla="*/ 125803 h 234962"/>
                <a:gd name="connsiteX11" fmla="*/ 250309 w 250309"/>
                <a:gd name="connsiteY11" fmla="*/ 169683 h 234962"/>
                <a:gd name="connsiteX12" fmla="*/ 211185 w 250309"/>
                <a:gd name="connsiteY12" fmla="*/ 187516 h 234962"/>
                <a:gd name="connsiteX13" fmla="*/ 208807 w 250309"/>
                <a:gd name="connsiteY13" fmla="*/ 209996 h 234962"/>
                <a:gd name="connsiteX14" fmla="*/ 205241 w 250309"/>
                <a:gd name="connsiteY14" fmla="*/ 211185 h 234962"/>
                <a:gd name="connsiteX15" fmla="*/ 182652 w 250309"/>
                <a:gd name="connsiteY15" fmla="*/ 234962 h 234962"/>
                <a:gd name="connsiteX16" fmla="*/ 151850 w 250309"/>
                <a:gd name="connsiteY16" fmla="*/ 195838 h 234962"/>
                <a:gd name="connsiteX17" fmla="*/ 102026 w 250309"/>
                <a:gd name="connsiteY17" fmla="*/ 197027 h 234962"/>
                <a:gd name="connsiteX18" fmla="*/ 99648 w 250309"/>
                <a:gd name="connsiteY18" fmla="*/ 150769 h 234962"/>
                <a:gd name="connsiteX19" fmla="*/ 62902 w 250309"/>
                <a:gd name="connsiteY19" fmla="*/ 149580 h 234962"/>
                <a:gd name="connsiteX20" fmla="*/ 38044 w 250309"/>
                <a:gd name="connsiteY20" fmla="*/ 162658 h 234962"/>
                <a:gd name="connsiteX21" fmla="*/ 0 w 250309"/>
                <a:gd name="connsiteY21" fmla="*/ 160172 h 234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50309" h="234962" extrusionOk="0">
                  <a:moveTo>
                    <a:pt x="0" y="160172"/>
                  </a:moveTo>
                  <a:lnTo>
                    <a:pt x="0" y="94893"/>
                  </a:lnTo>
                  <a:lnTo>
                    <a:pt x="4755" y="65279"/>
                  </a:lnTo>
                  <a:lnTo>
                    <a:pt x="47446" y="41502"/>
                  </a:lnTo>
                  <a:lnTo>
                    <a:pt x="77168" y="10700"/>
                  </a:lnTo>
                  <a:lnTo>
                    <a:pt x="155417" y="0"/>
                  </a:lnTo>
                  <a:lnTo>
                    <a:pt x="164927" y="13077"/>
                  </a:lnTo>
                  <a:lnTo>
                    <a:pt x="166116" y="72412"/>
                  </a:lnTo>
                  <a:lnTo>
                    <a:pt x="199296" y="104404"/>
                  </a:lnTo>
                  <a:lnTo>
                    <a:pt x="214752" y="115103"/>
                  </a:lnTo>
                  <a:lnTo>
                    <a:pt x="245554" y="125803"/>
                  </a:lnTo>
                  <a:lnTo>
                    <a:pt x="250309" y="169683"/>
                  </a:lnTo>
                  <a:lnTo>
                    <a:pt x="211185" y="187516"/>
                  </a:lnTo>
                  <a:lnTo>
                    <a:pt x="208807" y="209996"/>
                  </a:lnTo>
                  <a:lnTo>
                    <a:pt x="205241" y="211185"/>
                  </a:lnTo>
                  <a:lnTo>
                    <a:pt x="182652" y="234962"/>
                  </a:lnTo>
                  <a:lnTo>
                    <a:pt x="151850" y="195838"/>
                  </a:lnTo>
                  <a:lnTo>
                    <a:pt x="102026" y="197027"/>
                  </a:lnTo>
                  <a:lnTo>
                    <a:pt x="99648" y="150769"/>
                  </a:lnTo>
                  <a:lnTo>
                    <a:pt x="62902" y="149580"/>
                  </a:lnTo>
                  <a:lnTo>
                    <a:pt x="38044" y="162658"/>
                  </a:lnTo>
                  <a:lnTo>
                    <a:pt x="0" y="16017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1" name="Полилиния: фигура 151"/>
            <p:cNvSpPr/>
            <p:nvPr/>
          </p:nvSpPr>
          <p:spPr bwMode="auto">
            <a:xfrm>
              <a:off x="2590124" y="4738726"/>
              <a:ext cx="189677" cy="182652"/>
            </a:xfrm>
            <a:custGeom>
              <a:avLst/>
              <a:gdLst>
                <a:gd name="connsiteX0" fmla="*/ 0 w 189677"/>
                <a:gd name="connsiteY0" fmla="*/ 131639 h 182652"/>
                <a:gd name="connsiteX1" fmla="*/ 5944 w 189677"/>
                <a:gd name="connsiteY1" fmla="*/ 75871 h 182652"/>
                <a:gd name="connsiteX2" fmla="*/ 51013 w 189677"/>
                <a:gd name="connsiteY2" fmla="*/ 46257 h 182652"/>
                <a:gd name="connsiteX3" fmla="*/ 87760 w 189677"/>
                <a:gd name="connsiteY3" fmla="*/ 9511 h 182652"/>
                <a:gd name="connsiteX4" fmla="*/ 125695 w 189677"/>
                <a:gd name="connsiteY4" fmla="*/ 13077 h 182652"/>
                <a:gd name="connsiteX5" fmla="*/ 151742 w 189677"/>
                <a:gd name="connsiteY5" fmla="*/ 0 h 182652"/>
                <a:gd name="connsiteX6" fmla="*/ 188489 w 189677"/>
                <a:gd name="connsiteY6" fmla="*/ 0 h 182652"/>
                <a:gd name="connsiteX7" fmla="*/ 189677 w 189677"/>
                <a:gd name="connsiteY7" fmla="*/ 47447 h 182652"/>
                <a:gd name="connsiteX8" fmla="*/ 142231 w 189677"/>
                <a:gd name="connsiteY8" fmla="*/ 97270 h 182652"/>
                <a:gd name="connsiteX9" fmla="*/ 132720 w 189677"/>
                <a:gd name="connsiteY9" fmla="*/ 143528 h 182652"/>
                <a:gd name="connsiteX10" fmla="*/ 75763 w 189677"/>
                <a:gd name="connsiteY10" fmla="*/ 182652 h 182652"/>
                <a:gd name="connsiteX11" fmla="*/ 54363 w 189677"/>
                <a:gd name="connsiteY11" fmla="*/ 170764 h 182652"/>
                <a:gd name="connsiteX12" fmla="*/ 46041 w 189677"/>
                <a:gd name="connsiteY12" fmla="*/ 152931 h 182652"/>
                <a:gd name="connsiteX13" fmla="*/ 24642 w 189677"/>
                <a:gd name="connsiteY13" fmla="*/ 158875 h 182652"/>
                <a:gd name="connsiteX14" fmla="*/ 4431 w 189677"/>
                <a:gd name="connsiteY14" fmla="*/ 136287 h 182652"/>
                <a:gd name="connsiteX15" fmla="*/ 0 w 189677"/>
                <a:gd name="connsiteY15" fmla="*/ 131639 h 182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9677" h="182652" extrusionOk="0">
                  <a:moveTo>
                    <a:pt x="0" y="131639"/>
                  </a:moveTo>
                  <a:lnTo>
                    <a:pt x="5944" y="75871"/>
                  </a:lnTo>
                  <a:lnTo>
                    <a:pt x="51013" y="46257"/>
                  </a:lnTo>
                  <a:lnTo>
                    <a:pt x="87760" y="9511"/>
                  </a:lnTo>
                  <a:lnTo>
                    <a:pt x="125695" y="13077"/>
                  </a:lnTo>
                  <a:lnTo>
                    <a:pt x="151742" y="0"/>
                  </a:lnTo>
                  <a:lnTo>
                    <a:pt x="188489" y="0"/>
                  </a:lnTo>
                  <a:lnTo>
                    <a:pt x="189677" y="47447"/>
                  </a:lnTo>
                  <a:lnTo>
                    <a:pt x="142231" y="97270"/>
                  </a:lnTo>
                  <a:lnTo>
                    <a:pt x="132720" y="143528"/>
                  </a:lnTo>
                  <a:lnTo>
                    <a:pt x="75763" y="182652"/>
                  </a:lnTo>
                  <a:lnTo>
                    <a:pt x="54363" y="170764"/>
                  </a:lnTo>
                  <a:lnTo>
                    <a:pt x="46041" y="152931"/>
                  </a:lnTo>
                  <a:lnTo>
                    <a:pt x="24642" y="158875"/>
                  </a:lnTo>
                  <a:lnTo>
                    <a:pt x="4431" y="136287"/>
                  </a:lnTo>
                  <a:lnTo>
                    <a:pt x="0" y="13163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2" name="Полилиния: фигура 152"/>
            <p:cNvSpPr/>
            <p:nvPr/>
          </p:nvSpPr>
          <p:spPr bwMode="auto">
            <a:xfrm>
              <a:off x="2655404" y="4882364"/>
              <a:ext cx="166224" cy="138772"/>
            </a:xfrm>
            <a:custGeom>
              <a:avLst/>
              <a:gdLst>
                <a:gd name="connsiteX0" fmla="*/ 10700 w 166224"/>
                <a:gd name="connsiteY0" fmla="*/ 37827 h 138772"/>
                <a:gd name="connsiteX1" fmla="*/ 15455 w 166224"/>
                <a:gd name="connsiteY1" fmla="*/ 58038 h 138772"/>
                <a:gd name="connsiteX2" fmla="*/ 1189 w 166224"/>
                <a:gd name="connsiteY2" fmla="*/ 63982 h 138772"/>
                <a:gd name="connsiteX3" fmla="*/ 0 w 166224"/>
                <a:gd name="connsiteY3" fmla="*/ 91218 h 138772"/>
                <a:gd name="connsiteX4" fmla="*/ 14266 w 166224"/>
                <a:gd name="connsiteY4" fmla="*/ 92407 h 138772"/>
                <a:gd name="connsiteX5" fmla="*/ 10700 w 166224"/>
                <a:gd name="connsiteY5" fmla="*/ 112617 h 138772"/>
                <a:gd name="connsiteX6" fmla="*/ 39232 w 166224"/>
                <a:gd name="connsiteY6" fmla="*/ 110240 h 138772"/>
                <a:gd name="connsiteX7" fmla="*/ 38044 w 166224"/>
                <a:gd name="connsiteY7" fmla="*/ 122128 h 138772"/>
                <a:gd name="connsiteX8" fmla="*/ 100945 w 166224"/>
                <a:gd name="connsiteY8" fmla="*/ 123317 h 138772"/>
                <a:gd name="connsiteX9" fmla="*/ 121156 w 166224"/>
                <a:gd name="connsiteY9" fmla="*/ 138772 h 138772"/>
                <a:gd name="connsiteX10" fmla="*/ 149580 w 166224"/>
                <a:gd name="connsiteY10" fmla="*/ 137583 h 138772"/>
                <a:gd name="connsiteX11" fmla="*/ 166224 w 166224"/>
                <a:gd name="connsiteY11" fmla="*/ 123317 h 138772"/>
                <a:gd name="connsiteX12" fmla="*/ 159091 w 166224"/>
                <a:gd name="connsiteY12" fmla="*/ 71115 h 138772"/>
                <a:gd name="connsiteX13" fmla="*/ 144825 w 166224"/>
                <a:gd name="connsiteY13" fmla="*/ 35558 h 138772"/>
                <a:gd name="connsiteX14" fmla="*/ 90245 w 166224"/>
                <a:gd name="connsiteY14" fmla="*/ 35558 h 138772"/>
                <a:gd name="connsiteX15" fmla="*/ 66468 w 166224"/>
                <a:gd name="connsiteY15" fmla="*/ 0 h 138772"/>
                <a:gd name="connsiteX16" fmla="*/ 10700 w 166224"/>
                <a:gd name="connsiteY16" fmla="*/ 37827 h 138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6224" h="138772" extrusionOk="0">
                  <a:moveTo>
                    <a:pt x="10700" y="37827"/>
                  </a:moveTo>
                  <a:lnTo>
                    <a:pt x="15455" y="58038"/>
                  </a:lnTo>
                  <a:lnTo>
                    <a:pt x="1189" y="63982"/>
                  </a:lnTo>
                  <a:lnTo>
                    <a:pt x="0" y="91218"/>
                  </a:lnTo>
                  <a:lnTo>
                    <a:pt x="14266" y="92407"/>
                  </a:lnTo>
                  <a:lnTo>
                    <a:pt x="10700" y="112617"/>
                  </a:lnTo>
                  <a:lnTo>
                    <a:pt x="39232" y="110240"/>
                  </a:lnTo>
                  <a:lnTo>
                    <a:pt x="38044" y="122128"/>
                  </a:lnTo>
                  <a:lnTo>
                    <a:pt x="100945" y="123317"/>
                  </a:lnTo>
                  <a:lnTo>
                    <a:pt x="121156" y="138772"/>
                  </a:lnTo>
                  <a:lnTo>
                    <a:pt x="149580" y="137583"/>
                  </a:lnTo>
                  <a:lnTo>
                    <a:pt x="166224" y="123317"/>
                  </a:lnTo>
                  <a:lnTo>
                    <a:pt x="159091" y="71115"/>
                  </a:lnTo>
                  <a:lnTo>
                    <a:pt x="144825" y="35558"/>
                  </a:lnTo>
                  <a:lnTo>
                    <a:pt x="90245" y="35558"/>
                  </a:lnTo>
                  <a:lnTo>
                    <a:pt x="66468" y="0"/>
                  </a:lnTo>
                  <a:lnTo>
                    <a:pt x="10700" y="37827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3" name="Полилиния: фигура 153"/>
            <p:cNvSpPr/>
            <p:nvPr/>
          </p:nvSpPr>
          <p:spPr bwMode="auto">
            <a:xfrm>
              <a:off x="2722953" y="4782607"/>
              <a:ext cx="171952" cy="174330"/>
            </a:xfrm>
            <a:custGeom>
              <a:avLst/>
              <a:gdLst>
                <a:gd name="connsiteX0" fmla="*/ 0 w 171952"/>
                <a:gd name="connsiteY0" fmla="*/ 99648 h 174330"/>
                <a:gd name="connsiteX1" fmla="*/ 9511 w 171952"/>
                <a:gd name="connsiteY1" fmla="*/ 52202 h 174330"/>
                <a:gd name="connsiteX2" fmla="*/ 56957 w 171952"/>
                <a:gd name="connsiteY2" fmla="*/ 2378 h 174330"/>
                <a:gd name="connsiteX3" fmla="*/ 106781 w 171952"/>
                <a:gd name="connsiteY3" fmla="*/ 0 h 174330"/>
                <a:gd name="connsiteX4" fmla="*/ 136395 w 171952"/>
                <a:gd name="connsiteY4" fmla="*/ 37936 h 174330"/>
                <a:gd name="connsiteX5" fmla="*/ 171953 w 171952"/>
                <a:gd name="connsiteY5" fmla="*/ 113806 h 174330"/>
                <a:gd name="connsiteX6" fmla="*/ 128073 w 171952"/>
                <a:gd name="connsiteY6" fmla="*/ 123317 h 174330"/>
                <a:gd name="connsiteX7" fmla="*/ 128073 w 171952"/>
                <a:gd name="connsiteY7" fmla="*/ 154120 h 174330"/>
                <a:gd name="connsiteX8" fmla="*/ 109159 w 171952"/>
                <a:gd name="connsiteY8" fmla="*/ 174330 h 174330"/>
                <a:gd name="connsiteX9" fmla="*/ 91326 w 171952"/>
                <a:gd name="connsiteY9" fmla="*/ 170764 h 174330"/>
                <a:gd name="connsiteX10" fmla="*/ 75871 w 171952"/>
                <a:gd name="connsiteY10" fmla="*/ 134017 h 174330"/>
                <a:gd name="connsiteX11" fmla="*/ 23669 w 171952"/>
                <a:gd name="connsiteY11" fmla="*/ 134017 h 174330"/>
                <a:gd name="connsiteX12" fmla="*/ 0 w 171952"/>
                <a:gd name="connsiteY12" fmla="*/ 99648 h 17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1952" h="174330" extrusionOk="0">
                  <a:moveTo>
                    <a:pt x="0" y="99648"/>
                  </a:moveTo>
                  <a:lnTo>
                    <a:pt x="9511" y="52202"/>
                  </a:lnTo>
                  <a:lnTo>
                    <a:pt x="56957" y="2378"/>
                  </a:lnTo>
                  <a:lnTo>
                    <a:pt x="106781" y="0"/>
                  </a:lnTo>
                  <a:lnTo>
                    <a:pt x="136395" y="37936"/>
                  </a:lnTo>
                  <a:lnTo>
                    <a:pt x="171953" y="113806"/>
                  </a:lnTo>
                  <a:lnTo>
                    <a:pt x="128073" y="123317"/>
                  </a:lnTo>
                  <a:lnTo>
                    <a:pt x="128073" y="154120"/>
                  </a:lnTo>
                  <a:lnTo>
                    <a:pt x="109159" y="174330"/>
                  </a:lnTo>
                  <a:lnTo>
                    <a:pt x="91326" y="170764"/>
                  </a:lnTo>
                  <a:lnTo>
                    <a:pt x="75871" y="134017"/>
                  </a:lnTo>
                  <a:lnTo>
                    <a:pt x="23669" y="134017"/>
                  </a:lnTo>
                  <a:lnTo>
                    <a:pt x="0" y="99648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4" name="Полилиния: фигура 154"/>
            <p:cNvSpPr/>
            <p:nvPr/>
          </p:nvSpPr>
          <p:spPr bwMode="auto">
            <a:xfrm>
              <a:off x="2842811" y="5019839"/>
              <a:ext cx="249120" cy="216048"/>
            </a:xfrm>
            <a:custGeom>
              <a:avLst/>
              <a:gdLst>
                <a:gd name="connsiteX0" fmla="*/ 149472 w 249120"/>
                <a:gd name="connsiteY0" fmla="*/ 28425 h 216048"/>
                <a:gd name="connsiteX1" fmla="*/ 213563 w 249120"/>
                <a:gd name="connsiteY1" fmla="*/ 29613 h 216048"/>
                <a:gd name="connsiteX2" fmla="*/ 249120 w 249120"/>
                <a:gd name="connsiteY2" fmla="*/ 73493 h 216048"/>
                <a:gd name="connsiteX3" fmla="*/ 213563 w 249120"/>
                <a:gd name="connsiteY3" fmla="*/ 72304 h 216048"/>
                <a:gd name="connsiteX4" fmla="*/ 194541 w 249120"/>
                <a:gd name="connsiteY4" fmla="*/ 92515 h 216048"/>
                <a:gd name="connsiteX5" fmla="*/ 167305 w 249120"/>
                <a:gd name="connsiteY5" fmla="*/ 97270 h 216048"/>
                <a:gd name="connsiteX6" fmla="*/ 153039 w 249120"/>
                <a:gd name="connsiteY6" fmla="*/ 109159 h 216048"/>
                <a:gd name="connsiteX7" fmla="*/ 166116 w 249120"/>
                <a:gd name="connsiteY7" fmla="*/ 129370 h 216048"/>
                <a:gd name="connsiteX8" fmla="*/ 166116 w 249120"/>
                <a:gd name="connsiteY8" fmla="*/ 157902 h 216048"/>
                <a:gd name="connsiteX9" fmla="*/ 135314 w 249120"/>
                <a:gd name="connsiteY9" fmla="*/ 179302 h 216048"/>
                <a:gd name="connsiteX10" fmla="*/ 131747 w 249120"/>
                <a:gd name="connsiteY10" fmla="*/ 216048 h 216048"/>
                <a:gd name="connsiteX11" fmla="*/ 78357 w 249120"/>
                <a:gd name="connsiteY11" fmla="*/ 210104 h 216048"/>
                <a:gd name="connsiteX12" fmla="*/ 39232 w 249120"/>
                <a:gd name="connsiteY12" fmla="*/ 146014 h 216048"/>
                <a:gd name="connsiteX13" fmla="*/ 28533 w 249120"/>
                <a:gd name="connsiteY13" fmla="*/ 109267 h 216048"/>
                <a:gd name="connsiteX14" fmla="*/ 11889 w 249120"/>
                <a:gd name="connsiteY14" fmla="*/ 89056 h 216048"/>
                <a:gd name="connsiteX15" fmla="*/ 0 w 249120"/>
                <a:gd name="connsiteY15" fmla="*/ 71224 h 216048"/>
                <a:gd name="connsiteX16" fmla="*/ 0 w 249120"/>
                <a:gd name="connsiteY16" fmla="*/ 9511 h 216048"/>
                <a:gd name="connsiteX17" fmla="*/ 14266 w 249120"/>
                <a:gd name="connsiteY17" fmla="*/ 11889 h 216048"/>
                <a:gd name="connsiteX18" fmla="*/ 24966 w 249120"/>
                <a:gd name="connsiteY18" fmla="*/ 0 h 216048"/>
                <a:gd name="connsiteX19" fmla="*/ 113915 w 249120"/>
                <a:gd name="connsiteY19" fmla="*/ 4755 h 216048"/>
                <a:gd name="connsiteX20" fmla="*/ 148283 w 249120"/>
                <a:gd name="connsiteY20" fmla="*/ 28532 h 216048"/>
                <a:gd name="connsiteX21" fmla="*/ 149472 w 249120"/>
                <a:gd name="connsiteY21" fmla="*/ 28425 h 216048"/>
                <a:gd name="connsiteX22" fmla="*/ 149472 w 249120"/>
                <a:gd name="connsiteY22" fmla="*/ 28425 h 216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9120" h="216048" extrusionOk="0">
                  <a:moveTo>
                    <a:pt x="149472" y="28425"/>
                  </a:moveTo>
                  <a:lnTo>
                    <a:pt x="213563" y="29613"/>
                  </a:lnTo>
                  <a:lnTo>
                    <a:pt x="249120" y="73493"/>
                  </a:lnTo>
                  <a:lnTo>
                    <a:pt x="213563" y="72304"/>
                  </a:lnTo>
                  <a:lnTo>
                    <a:pt x="194541" y="92515"/>
                  </a:lnTo>
                  <a:lnTo>
                    <a:pt x="167305" y="97270"/>
                  </a:lnTo>
                  <a:lnTo>
                    <a:pt x="153039" y="109159"/>
                  </a:lnTo>
                  <a:lnTo>
                    <a:pt x="166116" y="129370"/>
                  </a:lnTo>
                  <a:lnTo>
                    <a:pt x="166116" y="157902"/>
                  </a:lnTo>
                  <a:lnTo>
                    <a:pt x="135314" y="179302"/>
                  </a:lnTo>
                  <a:lnTo>
                    <a:pt x="131747" y="216048"/>
                  </a:lnTo>
                  <a:lnTo>
                    <a:pt x="78357" y="210104"/>
                  </a:lnTo>
                  <a:lnTo>
                    <a:pt x="39232" y="146014"/>
                  </a:lnTo>
                  <a:lnTo>
                    <a:pt x="28533" y="109267"/>
                  </a:lnTo>
                  <a:lnTo>
                    <a:pt x="11889" y="89056"/>
                  </a:lnTo>
                  <a:lnTo>
                    <a:pt x="0" y="71224"/>
                  </a:lnTo>
                  <a:lnTo>
                    <a:pt x="0" y="9511"/>
                  </a:lnTo>
                  <a:lnTo>
                    <a:pt x="14266" y="11889"/>
                  </a:lnTo>
                  <a:lnTo>
                    <a:pt x="24966" y="0"/>
                  </a:lnTo>
                  <a:lnTo>
                    <a:pt x="113915" y="4755"/>
                  </a:lnTo>
                  <a:lnTo>
                    <a:pt x="148283" y="28532"/>
                  </a:lnTo>
                  <a:lnTo>
                    <a:pt x="149472" y="28425"/>
                  </a:lnTo>
                  <a:lnTo>
                    <a:pt x="149472" y="2842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5" name="Полилиния: фигура 155"/>
            <p:cNvSpPr/>
            <p:nvPr/>
          </p:nvSpPr>
          <p:spPr bwMode="auto">
            <a:xfrm>
              <a:off x="2924519" y="4879878"/>
              <a:ext cx="168602" cy="170871"/>
            </a:xfrm>
            <a:custGeom>
              <a:avLst/>
              <a:gdLst>
                <a:gd name="connsiteX0" fmla="*/ 168602 w 168602"/>
                <a:gd name="connsiteY0" fmla="*/ 103215 h 170871"/>
                <a:gd name="connsiteX1" fmla="*/ 167413 w 168602"/>
                <a:gd name="connsiteY1" fmla="*/ 56957 h 170871"/>
                <a:gd name="connsiteX2" fmla="*/ 142447 w 168602"/>
                <a:gd name="connsiteY2" fmla="*/ 37936 h 170871"/>
                <a:gd name="connsiteX3" fmla="*/ 128181 w 168602"/>
                <a:gd name="connsiteY3" fmla="*/ 37936 h 170871"/>
                <a:gd name="connsiteX4" fmla="*/ 111537 w 168602"/>
                <a:gd name="connsiteY4" fmla="*/ 18914 h 170871"/>
                <a:gd name="connsiteX5" fmla="*/ 112726 w 168602"/>
                <a:gd name="connsiteY5" fmla="*/ 0 h 170871"/>
                <a:gd name="connsiteX6" fmla="*/ 71224 w 168602"/>
                <a:gd name="connsiteY6" fmla="*/ 2378 h 170871"/>
                <a:gd name="connsiteX7" fmla="*/ 47446 w 168602"/>
                <a:gd name="connsiteY7" fmla="*/ 29614 h 170871"/>
                <a:gd name="connsiteX8" fmla="*/ 9511 w 168602"/>
                <a:gd name="connsiteY8" fmla="*/ 30802 h 170871"/>
                <a:gd name="connsiteX9" fmla="*/ 9511 w 168602"/>
                <a:gd name="connsiteY9" fmla="*/ 69927 h 170871"/>
                <a:gd name="connsiteX10" fmla="*/ 0 w 168602"/>
                <a:gd name="connsiteY10" fmla="*/ 81815 h 170871"/>
                <a:gd name="connsiteX11" fmla="*/ 3567 w 168602"/>
                <a:gd name="connsiteY11" fmla="*/ 97270 h 170871"/>
                <a:gd name="connsiteX12" fmla="*/ 32099 w 168602"/>
                <a:gd name="connsiteY12" fmla="*/ 119859 h 170871"/>
                <a:gd name="connsiteX13" fmla="*/ 32099 w 168602"/>
                <a:gd name="connsiteY13" fmla="*/ 144717 h 170871"/>
                <a:gd name="connsiteX14" fmla="*/ 68846 w 168602"/>
                <a:gd name="connsiteY14" fmla="*/ 169683 h 170871"/>
                <a:gd name="connsiteX15" fmla="*/ 132936 w 168602"/>
                <a:gd name="connsiteY15" fmla="*/ 170872 h 170871"/>
                <a:gd name="connsiteX16" fmla="*/ 157794 w 168602"/>
                <a:gd name="connsiteY16" fmla="*/ 142447 h 170871"/>
                <a:gd name="connsiteX17" fmla="*/ 158983 w 168602"/>
                <a:gd name="connsiteY17" fmla="*/ 109267 h 170871"/>
                <a:gd name="connsiteX18" fmla="*/ 168602 w 168602"/>
                <a:gd name="connsiteY18" fmla="*/ 103215 h 170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8602" h="170871" extrusionOk="0">
                  <a:moveTo>
                    <a:pt x="168602" y="103215"/>
                  </a:moveTo>
                  <a:lnTo>
                    <a:pt x="167413" y="56957"/>
                  </a:lnTo>
                  <a:lnTo>
                    <a:pt x="142447" y="37936"/>
                  </a:lnTo>
                  <a:lnTo>
                    <a:pt x="128181" y="37936"/>
                  </a:lnTo>
                  <a:lnTo>
                    <a:pt x="111537" y="18914"/>
                  </a:lnTo>
                  <a:lnTo>
                    <a:pt x="112726" y="0"/>
                  </a:lnTo>
                  <a:lnTo>
                    <a:pt x="71224" y="2378"/>
                  </a:lnTo>
                  <a:lnTo>
                    <a:pt x="47446" y="29614"/>
                  </a:lnTo>
                  <a:lnTo>
                    <a:pt x="9511" y="30802"/>
                  </a:lnTo>
                  <a:lnTo>
                    <a:pt x="9511" y="69927"/>
                  </a:lnTo>
                  <a:lnTo>
                    <a:pt x="0" y="81815"/>
                  </a:lnTo>
                  <a:lnTo>
                    <a:pt x="3567" y="97270"/>
                  </a:lnTo>
                  <a:lnTo>
                    <a:pt x="32099" y="119859"/>
                  </a:lnTo>
                  <a:lnTo>
                    <a:pt x="32099" y="144717"/>
                  </a:lnTo>
                  <a:lnTo>
                    <a:pt x="68846" y="169683"/>
                  </a:lnTo>
                  <a:lnTo>
                    <a:pt x="132936" y="170872"/>
                  </a:lnTo>
                  <a:lnTo>
                    <a:pt x="157794" y="142447"/>
                  </a:lnTo>
                  <a:lnTo>
                    <a:pt x="158983" y="109267"/>
                  </a:lnTo>
                  <a:lnTo>
                    <a:pt x="168602" y="10321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6" name="Полилиния: фигура 156"/>
            <p:cNvSpPr/>
            <p:nvPr/>
          </p:nvSpPr>
          <p:spPr bwMode="auto">
            <a:xfrm>
              <a:off x="2997038" y="5090630"/>
              <a:ext cx="348660" cy="312130"/>
            </a:xfrm>
            <a:custGeom>
              <a:avLst/>
              <a:gdLst>
                <a:gd name="connsiteX0" fmla="*/ 197999 w 348660"/>
                <a:gd name="connsiteY0" fmla="*/ 7457 h 312130"/>
                <a:gd name="connsiteX1" fmla="*/ 211077 w 348660"/>
                <a:gd name="connsiteY1" fmla="*/ 47771 h 312130"/>
                <a:gd name="connsiteX2" fmla="*/ 226532 w 348660"/>
                <a:gd name="connsiteY2" fmla="*/ 58470 h 312130"/>
                <a:gd name="connsiteX3" fmla="*/ 243176 w 348660"/>
                <a:gd name="connsiteY3" fmla="*/ 45393 h 312130"/>
                <a:gd name="connsiteX4" fmla="*/ 259820 w 348660"/>
                <a:gd name="connsiteY4" fmla="*/ 69170 h 312130"/>
                <a:gd name="connsiteX5" fmla="*/ 290622 w 348660"/>
                <a:gd name="connsiteY5" fmla="*/ 50148 h 312130"/>
                <a:gd name="connsiteX6" fmla="*/ 321425 w 348660"/>
                <a:gd name="connsiteY6" fmla="*/ 84517 h 312130"/>
                <a:gd name="connsiteX7" fmla="*/ 348661 w 348660"/>
                <a:gd name="connsiteY7" fmla="*/ 107106 h 312130"/>
                <a:gd name="connsiteX8" fmla="*/ 317858 w 348660"/>
                <a:gd name="connsiteY8" fmla="*/ 152174 h 312130"/>
                <a:gd name="connsiteX9" fmla="*/ 307159 w 348660"/>
                <a:gd name="connsiteY9" fmla="*/ 186543 h 312130"/>
                <a:gd name="connsiteX10" fmla="*/ 302403 w 348660"/>
                <a:gd name="connsiteY10" fmla="*/ 212590 h 312130"/>
                <a:gd name="connsiteX11" fmla="*/ 249012 w 348660"/>
                <a:gd name="connsiteY11" fmla="*/ 209023 h 312130"/>
                <a:gd name="connsiteX12" fmla="*/ 217021 w 348660"/>
                <a:gd name="connsiteY12" fmla="*/ 213779 h 312130"/>
                <a:gd name="connsiteX13" fmla="*/ 194433 w 348660"/>
                <a:gd name="connsiteY13" fmla="*/ 251714 h 312130"/>
                <a:gd name="connsiteX14" fmla="*/ 143420 w 348660"/>
                <a:gd name="connsiteY14" fmla="*/ 276572 h 312130"/>
                <a:gd name="connsiteX15" fmla="*/ 114995 w 348660"/>
                <a:gd name="connsiteY15" fmla="*/ 312130 h 312130"/>
                <a:gd name="connsiteX16" fmla="*/ 85382 w 348660"/>
                <a:gd name="connsiteY16" fmla="*/ 296675 h 312130"/>
                <a:gd name="connsiteX17" fmla="*/ 84193 w 348660"/>
                <a:gd name="connsiteY17" fmla="*/ 270628 h 312130"/>
                <a:gd name="connsiteX18" fmla="*/ 49824 w 348660"/>
                <a:gd name="connsiteY18" fmla="*/ 268250 h 312130"/>
                <a:gd name="connsiteX19" fmla="*/ 51013 w 348660"/>
                <a:gd name="connsiteY19" fmla="*/ 242204 h 312130"/>
                <a:gd name="connsiteX20" fmla="*/ 74682 w 348660"/>
                <a:gd name="connsiteY20" fmla="*/ 221993 h 312130"/>
                <a:gd name="connsiteX21" fmla="*/ 74682 w 348660"/>
                <a:gd name="connsiteY21" fmla="*/ 193460 h 312130"/>
                <a:gd name="connsiteX22" fmla="*/ 51013 w 348660"/>
                <a:gd name="connsiteY22" fmla="*/ 175627 h 312130"/>
                <a:gd name="connsiteX23" fmla="*/ 48635 w 348660"/>
                <a:gd name="connsiteY23" fmla="*/ 123426 h 312130"/>
                <a:gd name="connsiteX24" fmla="*/ 11889 w 348660"/>
                <a:gd name="connsiteY24" fmla="*/ 85490 h 312130"/>
                <a:gd name="connsiteX25" fmla="*/ 11889 w 348660"/>
                <a:gd name="connsiteY25" fmla="*/ 58254 h 312130"/>
                <a:gd name="connsiteX26" fmla="*/ 0 w 348660"/>
                <a:gd name="connsiteY26" fmla="*/ 38044 h 312130"/>
                <a:gd name="connsiteX27" fmla="*/ 14266 w 348660"/>
                <a:gd name="connsiteY27" fmla="*/ 24966 h 312130"/>
                <a:gd name="connsiteX28" fmla="*/ 42799 w 348660"/>
                <a:gd name="connsiteY28" fmla="*/ 21400 h 312130"/>
                <a:gd name="connsiteX29" fmla="*/ 59443 w 348660"/>
                <a:gd name="connsiteY29" fmla="*/ 0 h 312130"/>
                <a:gd name="connsiteX30" fmla="*/ 197999 w 348660"/>
                <a:gd name="connsiteY30" fmla="*/ 7457 h 312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48660" h="312130" extrusionOk="0">
                  <a:moveTo>
                    <a:pt x="197999" y="7457"/>
                  </a:moveTo>
                  <a:lnTo>
                    <a:pt x="211077" y="47771"/>
                  </a:lnTo>
                  <a:lnTo>
                    <a:pt x="226532" y="58470"/>
                  </a:lnTo>
                  <a:lnTo>
                    <a:pt x="243176" y="45393"/>
                  </a:lnTo>
                  <a:lnTo>
                    <a:pt x="259820" y="69170"/>
                  </a:lnTo>
                  <a:lnTo>
                    <a:pt x="290622" y="50148"/>
                  </a:lnTo>
                  <a:lnTo>
                    <a:pt x="321425" y="84517"/>
                  </a:lnTo>
                  <a:lnTo>
                    <a:pt x="348661" y="107106"/>
                  </a:lnTo>
                  <a:lnTo>
                    <a:pt x="317858" y="152174"/>
                  </a:lnTo>
                  <a:lnTo>
                    <a:pt x="307159" y="186543"/>
                  </a:lnTo>
                  <a:lnTo>
                    <a:pt x="302403" y="212590"/>
                  </a:lnTo>
                  <a:lnTo>
                    <a:pt x="249012" y="209023"/>
                  </a:lnTo>
                  <a:lnTo>
                    <a:pt x="217021" y="213779"/>
                  </a:lnTo>
                  <a:lnTo>
                    <a:pt x="194433" y="251714"/>
                  </a:lnTo>
                  <a:lnTo>
                    <a:pt x="143420" y="276572"/>
                  </a:lnTo>
                  <a:lnTo>
                    <a:pt x="114995" y="312130"/>
                  </a:lnTo>
                  <a:lnTo>
                    <a:pt x="85382" y="296675"/>
                  </a:lnTo>
                  <a:lnTo>
                    <a:pt x="84193" y="270628"/>
                  </a:lnTo>
                  <a:lnTo>
                    <a:pt x="49824" y="268250"/>
                  </a:lnTo>
                  <a:lnTo>
                    <a:pt x="51013" y="242204"/>
                  </a:lnTo>
                  <a:lnTo>
                    <a:pt x="74682" y="221993"/>
                  </a:lnTo>
                  <a:lnTo>
                    <a:pt x="74682" y="193460"/>
                  </a:lnTo>
                  <a:lnTo>
                    <a:pt x="51013" y="175627"/>
                  </a:lnTo>
                  <a:lnTo>
                    <a:pt x="48635" y="123426"/>
                  </a:lnTo>
                  <a:lnTo>
                    <a:pt x="11889" y="85490"/>
                  </a:lnTo>
                  <a:lnTo>
                    <a:pt x="11889" y="58254"/>
                  </a:lnTo>
                  <a:lnTo>
                    <a:pt x="0" y="38044"/>
                  </a:lnTo>
                  <a:lnTo>
                    <a:pt x="14266" y="24966"/>
                  </a:lnTo>
                  <a:lnTo>
                    <a:pt x="42799" y="21400"/>
                  </a:lnTo>
                  <a:lnTo>
                    <a:pt x="59443" y="0"/>
                  </a:lnTo>
                  <a:lnTo>
                    <a:pt x="197999" y="7457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7" name="Полилиния: фигура 157"/>
            <p:cNvSpPr/>
            <p:nvPr/>
          </p:nvSpPr>
          <p:spPr bwMode="auto">
            <a:xfrm>
              <a:off x="3057563" y="4955641"/>
              <a:ext cx="450794" cy="241987"/>
            </a:xfrm>
            <a:custGeom>
              <a:avLst/>
              <a:gdLst>
                <a:gd name="connsiteX0" fmla="*/ 117373 w 450794"/>
                <a:gd name="connsiteY0" fmla="*/ 55876 h 241987"/>
                <a:gd name="connsiteX1" fmla="*/ 65171 w 450794"/>
                <a:gd name="connsiteY1" fmla="*/ 25074 h 241987"/>
                <a:gd name="connsiteX2" fmla="*/ 34369 w 450794"/>
                <a:gd name="connsiteY2" fmla="*/ 26263 h 241987"/>
                <a:gd name="connsiteX3" fmla="*/ 24858 w 450794"/>
                <a:gd name="connsiteY3" fmla="*/ 34585 h 241987"/>
                <a:gd name="connsiteX4" fmla="*/ 24858 w 450794"/>
                <a:gd name="connsiteY4" fmla="*/ 65387 h 241987"/>
                <a:gd name="connsiteX5" fmla="*/ 0 w 450794"/>
                <a:gd name="connsiteY5" fmla="*/ 95001 h 241987"/>
                <a:gd name="connsiteX6" fmla="*/ 33180 w 450794"/>
                <a:gd name="connsiteY6" fmla="*/ 136503 h 241987"/>
                <a:gd name="connsiteX7" fmla="*/ 137584 w 450794"/>
                <a:gd name="connsiteY7" fmla="*/ 142447 h 241987"/>
                <a:gd name="connsiteX8" fmla="*/ 150661 w 450794"/>
                <a:gd name="connsiteY8" fmla="*/ 182760 h 241987"/>
                <a:gd name="connsiteX9" fmla="*/ 167305 w 450794"/>
                <a:gd name="connsiteY9" fmla="*/ 193460 h 241987"/>
                <a:gd name="connsiteX10" fmla="*/ 183949 w 450794"/>
                <a:gd name="connsiteY10" fmla="*/ 179194 h 241987"/>
                <a:gd name="connsiteX11" fmla="*/ 199404 w 450794"/>
                <a:gd name="connsiteY11" fmla="*/ 204052 h 241987"/>
                <a:gd name="connsiteX12" fmla="*/ 231396 w 450794"/>
                <a:gd name="connsiteY12" fmla="*/ 183841 h 241987"/>
                <a:gd name="connsiteX13" fmla="*/ 259820 w 450794"/>
                <a:gd name="connsiteY13" fmla="*/ 219399 h 241987"/>
                <a:gd name="connsiteX14" fmla="*/ 287056 w 450794"/>
                <a:gd name="connsiteY14" fmla="*/ 241987 h 241987"/>
                <a:gd name="connsiteX15" fmla="*/ 306078 w 450794"/>
                <a:gd name="connsiteY15" fmla="*/ 219399 h 241987"/>
                <a:gd name="connsiteX16" fmla="*/ 308455 w 450794"/>
                <a:gd name="connsiteY16" fmla="*/ 207510 h 241987"/>
                <a:gd name="connsiteX17" fmla="*/ 309644 w 450794"/>
                <a:gd name="connsiteY17" fmla="*/ 187300 h 241987"/>
                <a:gd name="connsiteX18" fmla="*/ 319155 w 450794"/>
                <a:gd name="connsiteY18" fmla="*/ 160064 h 241987"/>
                <a:gd name="connsiteX19" fmla="*/ 338069 w 450794"/>
                <a:gd name="connsiteY19" fmla="*/ 151742 h 241987"/>
                <a:gd name="connsiteX20" fmla="*/ 374815 w 450794"/>
                <a:gd name="connsiteY20" fmla="*/ 151742 h 241987"/>
                <a:gd name="connsiteX21" fmla="*/ 421073 w 450794"/>
                <a:gd name="connsiteY21" fmla="*/ 149364 h 241987"/>
                <a:gd name="connsiteX22" fmla="*/ 438906 w 450794"/>
                <a:gd name="connsiteY22" fmla="*/ 133909 h 241987"/>
                <a:gd name="connsiteX23" fmla="*/ 450795 w 450794"/>
                <a:gd name="connsiteY23" fmla="*/ 104295 h 241987"/>
                <a:gd name="connsiteX24" fmla="*/ 326288 w 450794"/>
                <a:gd name="connsiteY24" fmla="*/ 27236 h 241987"/>
                <a:gd name="connsiteX25" fmla="*/ 308455 w 450794"/>
                <a:gd name="connsiteY25" fmla="*/ 0 h 241987"/>
                <a:gd name="connsiteX26" fmla="*/ 266953 w 450794"/>
                <a:gd name="connsiteY26" fmla="*/ 21400 h 241987"/>
                <a:gd name="connsiteX27" fmla="*/ 226640 w 450794"/>
                <a:gd name="connsiteY27" fmla="*/ 16644 h 241987"/>
                <a:gd name="connsiteX28" fmla="*/ 206430 w 450794"/>
                <a:gd name="connsiteY28" fmla="*/ 36855 h 241987"/>
                <a:gd name="connsiteX29" fmla="*/ 142339 w 450794"/>
                <a:gd name="connsiteY29" fmla="*/ 36855 h 241987"/>
                <a:gd name="connsiteX30" fmla="*/ 117373 w 450794"/>
                <a:gd name="connsiteY30" fmla="*/ 55876 h 24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50794" h="241987" extrusionOk="0">
                  <a:moveTo>
                    <a:pt x="117373" y="55876"/>
                  </a:moveTo>
                  <a:lnTo>
                    <a:pt x="65171" y="25074"/>
                  </a:lnTo>
                  <a:lnTo>
                    <a:pt x="34369" y="26263"/>
                  </a:lnTo>
                  <a:lnTo>
                    <a:pt x="24858" y="34585"/>
                  </a:lnTo>
                  <a:lnTo>
                    <a:pt x="24858" y="65387"/>
                  </a:lnTo>
                  <a:lnTo>
                    <a:pt x="0" y="95001"/>
                  </a:lnTo>
                  <a:lnTo>
                    <a:pt x="33180" y="136503"/>
                  </a:lnTo>
                  <a:lnTo>
                    <a:pt x="137584" y="142447"/>
                  </a:lnTo>
                  <a:lnTo>
                    <a:pt x="150661" y="182760"/>
                  </a:lnTo>
                  <a:lnTo>
                    <a:pt x="167305" y="193460"/>
                  </a:lnTo>
                  <a:lnTo>
                    <a:pt x="183949" y="179194"/>
                  </a:lnTo>
                  <a:lnTo>
                    <a:pt x="199404" y="204052"/>
                  </a:lnTo>
                  <a:lnTo>
                    <a:pt x="231396" y="183841"/>
                  </a:lnTo>
                  <a:lnTo>
                    <a:pt x="259820" y="219399"/>
                  </a:lnTo>
                  <a:lnTo>
                    <a:pt x="287056" y="241987"/>
                  </a:lnTo>
                  <a:lnTo>
                    <a:pt x="306078" y="219399"/>
                  </a:lnTo>
                  <a:lnTo>
                    <a:pt x="308455" y="207510"/>
                  </a:lnTo>
                  <a:lnTo>
                    <a:pt x="309644" y="187300"/>
                  </a:lnTo>
                  <a:lnTo>
                    <a:pt x="319155" y="160064"/>
                  </a:lnTo>
                  <a:lnTo>
                    <a:pt x="338069" y="151742"/>
                  </a:lnTo>
                  <a:lnTo>
                    <a:pt x="374815" y="151742"/>
                  </a:lnTo>
                  <a:lnTo>
                    <a:pt x="421073" y="149364"/>
                  </a:lnTo>
                  <a:lnTo>
                    <a:pt x="438906" y="133909"/>
                  </a:lnTo>
                  <a:lnTo>
                    <a:pt x="450795" y="104295"/>
                  </a:lnTo>
                  <a:lnTo>
                    <a:pt x="326288" y="27236"/>
                  </a:lnTo>
                  <a:lnTo>
                    <a:pt x="308455" y="0"/>
                  </a:lnTo>
                  <a:lnTo>
                    <a:pt x="266953" y="21400"/>
                  </a:lnTo>
                  <a:lnTo>
                    <a:pt x="226640" y="16644"/>
                  </a:lnTo>
                  <a:lnTo>
                    <a:pt x="206430" y="36855"/>
                  </a:lnTo>
                  <a:lnTo>
                    <a:pt x="142339" y="36855"/>
                  </a:lnTo>
                  <a:lnTo>
                    <a:pt x="117373" y="55876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8" name="Полилиния: фигура 158"/>
            <p:cNvSpPr/>
            <p:nvPr/>
          </p:nvSpPr>
          <p:spPr bwMode="auto">
            <a:xfrm>
              <a:off x="2783476" y="4378178"/>
              <a:ext cx="204051" cy="228909"/>
            </a:xfrm>
            <a:custGeom>
              <a:avLst/>
              <a:gdLst>
                <a:gd name="connsiteX0" fmla="*/ 163739 w 204051"/>
                <a:gd name="connsiteY0" fmla="*/ 120940 h 228909"/>
                <a:gd name="connsiteX1" fmla="*/ 204052 w 204051"/>
                <a:gd name="connsiteY1" fmla="*/ 71115 h 228909"/>
                <a:gd name="connsiteX2" fmla="*/ 204052 w 204051"/>
                <a:gd name="connsiteY2" fmla="*/ 39124 h 228909"/>
                <a:gd name="connsiteX3" fmla="*/ 154228 w 204051"/>
                <a:gd name="connsiteY3" fmla="*/ 35558 h 228909"/>
                <a:gd name="connsiteX4" fmla="*/ 99648 w 204051"/>
                <a:gd name="connsiteY4" fmla="*/ 0 h 228909"/>
                <a:gd name="connsiteX5" fmla="*/ 15455 w 204051"/>
                <a:gd name="connsiteY5" fmla="*/ 35558 h 228909"/>
                <a:gd name="connsiteX6" fmla="*/ 0 w 204051"/>
                <a:gd name="connsiteY6" fmla="*/ 68738 h 228909"/>
                <a:gd name="connsiteX7" fmla="*/ 16644 w 204051"/>
                <a:gd name="connsiteY7" fmla="*/ 136395 h 228909"/>
                <a:gd name="connsiteX8" fmla="*/ 28533 w 204051"/>
                <a:gd name="connsiteY8" fmla="*/ 153039 h 228909"/>
                <a:gd name="connsiteX9" fmla="*/ 51121 w 204051"/>
                <a:gd name="connsiteY9" fmla="*/ 163739 h 228909"/>
                <a:gd name="connsiteX10" fmla="*/ 49932 w 204051"/>
                <a:gd name="connsiteY10" fmla="*/ 208807 h 228909"/>
                <a:gd name="connsiteX11" fmla="*/ 60632 w 204051"/>
                <a:gd name="connsiteY11" fmla="*/ 227721 h 228909"/>
                <a:gd name="connsiteX12" fmla="*/ 100945 w 204051"/>
                <a:gd name="connsiteY12" fmla="*/ 228910 h 228909"/>
                <a:gd name="connsiteX13" fmla="*/ 109267 w 204051"/>
                <a:gd name="connsiteY13" fmla="*/ 196919 h 228909"/>
                <a:gd name="connsiteX14" fmla="*/ 141258 w 204051"/>
                <a:gd name="connsiteY14" fmla="*/ 193352 h 228909"/>
                <a:gd name="connsiteX15" fmla="*/ 169791 w 204051"/>
                <a:gd name="connsiteY15" fmla="*/ 164927 h 228909"/>
                <a:gd name="connsiteX16" fmla="*/ 163739 w 204051"/>
                <a:gd name="connsiteY16" fmla="*/ 120940 h 22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051" h="228909" extrusionOk="0">
                  <a:moveTo>
                    <a:pt x="163739" y="120940"/>
                  </a:moveTo>
                  <a:lnTo>
                    <a:pt x="204052" y="71115"/>
                  </a:lnTo>
                  <a:lnTo>
                    <a:pt x="204052" y="39124"/>
                  </a:lnTo>
                  <a:lnTo>
                    <a:pt x="154228" y="35558"/>
                  </a:lnTo>
                  <a:lnTo>
                    <a:pt x="99648" y="0"/>
                  </a:lnTo>
                  <a:lnTo>
                    <a:pt x="15455" y="35558"/>
                  </a:lnTo>
                  <a:lnTo>
                    <a:pt x="0" y="68738"/>
                  </a:lnTo>
                  <a:lnTo>
                    <a:pt x="16644" y="136395"/>
                  </a:lnTo>
                  <a:lnTo>
                    <a:pt x="28533" y="153039"/>
                  </a:lnTo>
                  <a:lnTo>
                    <a:pt x="51121" y="163739"/>
                  </a:lnTo>
                  <a:lnTo>
                    <a:pt x="49932" y="208807"/>
                  </a:lnTo>
                  <a:lnTo>
                    <a:pt x="60632" y="227721"/>
                  </a:lnTo>
                  <a:lnTo>
                    <a:pt x="100945" y="228910"/>
                  </a:lnTo>
                  <a:lnTo>
                    <a:pt x="109267" y="196919"/>
                  </a:lnTo>
                  <a:lnTo>
                    <a:pt x="141258" y="193352"/>
                  </a:lnTo>
                  <a:lnTo>
                    <a:pt x="169791" y="164927"/>
                  </a:lnTo>
                  <a:lnTo>
                    <a:pt x="163739" y="12094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9" name="Полилиния: фигура 159"/>
            <p:cNvSpPr/>
            <p:nvPr/>
          </p:nvSpPr>
          <p:spPr bwMode="auto">
            <a:xfrm>
              <a:off x="2947322" y="4315385"/>
              <a:ext cx="378273" cy="231178"/>
            </a:xfrm>
            <a:custGeom>
              <a:avLst/>
              <a:gdLst>
                <a:gd name="connsiteX0" fmla="*/ 36639 w 378273"/>
                <a:gd name="connsiteY0" fmla="*/ 231179 h 231179"/>
                <a:gd name="connsiteX1" fmla="*/ 65171 w 378273"/>
                <a:gd name="connsiteY1" fmla="*/ 182544 h 231179"/>
                <a:gd name="connsiteX2" fmla="*/ 112618 w 378273"/>
                <a:gd name="connsiteY2" fmla="*/ 201566 h 231179"/>
                <a:gd name="connsiteX3" fmla="*/ 155308 w 378273"/>
                <a:gd name="connsiteY3" fmla="*/ 211077 h 231179"/>
                <a:gd name="connsiteX4" fmla="*/ 207510 w 378273"/>
                <a:gd name="connsiteY4" fmla="*/ 205132 h 231179"/>
                <a:gd name="connsiteX5" fmla="*/ 238313 w 378273"/>
                <a:gd name="connsiteY5" fmla="*/ 174330 h 231179"/>
                <a:gd name="connsiteX6" fmla="*/ 247824 w 378273"/>
                <a:gd name="connsiteY6" fmla="*/ 147094 h 231179"/>
                <a:gd name="connsiteX7" fmla="*/ 322506 w 378273"/>
                <a:gd name="connsiteY7" fmla="*/ 151850 h 231179"/>
                <a:gd name="connsiteX8" fmla="*/ 322506 w 378273"/>
                <a:gd name="connsiteY8" fmla="*/ 121047 h 231179"/>
                <a:gd name="connsiteX9" fmla="*/ 367574 w 378273"/>
                <a:gd name="connsiteY9" fmla="*/ 66468 h 231179"/>
                <a:gd name="connsiteX10" fmla="*/ 378274 w 378273"/>
                <a:gd name="connsiteY10" fmla="*/ 45068 h 231179"/>
                <a:gd name="connsiteX11" fmla="*/ 369952 w 378273"/>
                <a:gd name="connsiteY11" fmla="*/ 26047 h 231179"/>
                <a:gd name="connsiteX12" fmla="*/ 351038 w 378273"/>
                <a:gd name="connsiteY12" fmla="*/ 0 h 231179"/>
                <a:gd name="connsiteX13" fmla="*/ 309536 w 378273"/>
                <a:gd name="connsiteY13" fmla="*/ 31991 h 231179"/>
                <a:gd name="connsiteX14" fmla="*/ 205133 w 378273"/>
                <a:gd name="connsiteY14" fmla="*/ 40313 h 231179"/>
                <a:gd name="connsiteX15" fmla="*/ 131639 w 378273"/>
                <a:gd name="connsiteY15" fmla="*/ 31991 h 231179"/>
                <a:gd name="connsiteX16" fmla="*/ 92515 w 378273"/>
                <a:gd name="connsiteY16" fmla="*/ 15347 h 231179"/>
                <a:gd name="connsiteX17" fmla="*/ 40313 w 378273"/>
                <a:gd name="connsiteY17" fmla="*/ 101918 h 231179"/>
                <a:gd name="connsiteX18" fmla="*/ 40313 w 378273"/>
                <a:gd name="connsiteY18" fmla="*/ 135098 h 231179"/>
                <a:gd name="connsiteX19" fmla="*/ 0 w 378273"/>
                <a:gd name="connsiteY19" fmla="*/ 182544 h 231179"/>
                <a:gd name="connsiteX20" fmla="*/ 5944 w 378273"/>
                <a:gd name="connsiteY20" fmla="*/ 227613 h 231179"/>
                <a:gd name="connsiteX21" fmla="*/ 36639 w 378273"/>
                <a:gd name="connsiteY21" fmla="*/ 231179 h 23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78273" h="231179" extrusionOk="0">
                  <a:moveTo>
                    <a:pt x="36639" y="231179"/>
                  </a:moveTo>
                  <a:lnTo>
                    <a:pt x="65171" y="182544"/>
                  </a:lnTo>
                  <a:lnTo>
                    <a:pt x="112618" y="201566"/>
                  </a:lnTo>
                  <a:lnTo>
                    <a:pt x="155308" y="211077"/>
                  </a:lnTo>
                  <a:lnTo>
                    <a:pt x="207510" y="205132"/>
                  </a:lnTo>
                  <a:lnTo>
                    <a:pt x="238313" y="174330"/>
                  </a:lnTo>
                  <a:lnTo>
                    <a:pt x="247824" y="147094"/>
                  </a:lnTo>
                  <a:lnTo>
                    <a:pt x="322506" y="151850"/>
                  </a:lnTo>
                  <a:lnTo>
                    <a:pt x="322506" y="121047"/>
                  </a:lnTo>
                  <a:lnTo>
                    <a:pt x="367574" y="66468"/>
                  </a:lnTo>
                  <a:lnTo>
                    <a:pt x="378274" y="45068"/>
                  </a:lnTo>
                  <a:lnTo>
                    <a:pt x="369952" y="26047"/>
                  </a:lnTo>
                  <a:lnTo>
                    <a:pt x="351038" y="0"/>
                  </a:lnTo>
                  <a:lnTo>
                    <a:pt x="309536" y="31991"/>
                  </a:lnTo>
                  <a:lnTo>
                    <a:pt x="205133" y="40313"/>
                  </a:lnTo>
                  <a:lnTo>
                    <a:pt x="131639" y="31991"/>
                  </a:lnTo>
                  <a:lnTo>
                    <a:pt x="92515" y="15347"/>
                  </a:lnTo>
                  <a:lnTo>
                    <a:pt x="40313" y="101918"/>
                  </a:lnTo>
                  <a:lnTo>
                    <a:pt x="40313" y="135098"/>
                  </a:lnTo>
                  <a:lnTo>
                    <a:pt x="0" y="182544"/>
                  </a:lnTo>
                  <a:lnTo>
                    <a:pt x="5944" y="227613"/>
                  </a:lnTo>
                  <a:lnTo>
                    <a:pt x="36639" y="23117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0" name="Полилиния: фигура 160"/>
            <p:cNvSpPr/>
            <p:nvPr/>
          </p:nvSpPr>
          <p:spPr bwMode="auto">
            <a:xfrm>
              <a:off x="2842811" y="4572611"/>
              <a:ext cx="239609" cy="195729"/>
            </a:xfrm>
            <a:custGeom>
              <a:avLst/>
              <a:gdLst>
                <a:gd name="connsiteX0" fmla="*/ 80626 w 239609"/>
                <a:gd name="connsiteY0" fmla="*/ 160172 h 195729"/>
                <a:gd name="connsiteX1" fmla="*/ 136395 w 239609"/>
                <a:gd name="connsiteY1" fmla="*/ 160172 h 195729"/>
                <a:gd name="connsiteX2" fmla="*/ 211077 w 239609"/>
                <a:gd name="connsiteY2" fmla="*/ 195730 h 195729"/>
                <a:gd name="connsiteX3" fmla="*/ 224154 w 239609"/>
                <a:gd name="connsiteY3" fmla="*/ 170764 h 195729"/>
                <a:gd name="connsiteX4" fmla="*/ 224154 w 239609"/>
                <a:gd name="connsiteY4" fmla="*/ 141150 h 195729"/>
                <a:gd name="connsiteX5" fmla="*/ 239610 w 239609"/>
                <a:gd name="connsiteY5" fmla="*/ 117481 h 195729"/>
                <a:gd name="connsiteX6" fmla="*/ 239610 w 239609"/>
                <a:gd name="connsiteY6" fmla="*/ 55768 h 195729"/>
                <a:gd name="connsiteX7" fmla="*/ 171953 w 239609"/>
                <a:gd name="connsiteY7" fmla="*/ 46257 h 195729"/>
                <a:gd name="connsiteX8" fmla="*/ 126884 w 239609"/>
                <a:gd name="connsiteY8" fmla="*/ 35558 h 195729"/>
                <a:gd name="connsiteX9" fmla="*/ 100837 w 239609"/>
                <a:gd name="connsiteY9" fmla="*/ 51013 h 195729"/>
                <a:gd name="connsiteX10" fmla="*/ 49824 w 239609"/>
                <a:gd name="connsiteY10" fmla="*/ 0 h 195729"/>
                <a:gd name="connsiteX11" fmla="*/ 41502 w 239609"/>
                <a:gd name="connsiteY11" fmla="*/ 33180 h 195729"/>
                <a:gd name="connsiteX12" fmla="*/ 1189 w 239609"/>
                <a:gd name="connsiteY12" fmla="*/ 33180 h 195729"/>
                <a:gd name="connsiteX13" fmla="*/ 0 w 239609"/>
                <a:gd name="connsiteY13" fmla="*/ 88949 h 195729"/>
                <a:gd name="connsiteX14" fmla="*/ 33180 w 239609"/>
                <a:gd name="connsiteY14" fmla="*/ 118562 h 195729"/>
                <a:gd name="connsiteX15" fmla="*/ 45069 w 239609"/>
                <a:gd name="connsiteY15" fmla="*/ 130451 h 195729"/>
                <a:gd name="connsiteX16" fmla="*/ 75871 w 239609"/>
                <a:gd name="connsiteY16" fmla="*/ 143528 h 195729"/>
                <a:gd name="connsiteX17" fmla="*/ 80626 w 239609"/>
                <a:gd name="connsiteY17" fmla="*/ 160172 h 19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9609" h="195729" extrusionOk="0">
                  <a:moveTo>
                    <a:pt x="80626" y="160172"/>
                  </a:moveTo>
                  <a:lnTo>
                    <a:pt x="136395" y="160172"/>
                  </a:lnTo>
                  <a:lnTo>
                    <a:pt x="211077" y="195730"/>
                  </a:lnTo>
                  <a:lnTo>
                    <a:pt x="224154" y="170764"/>
                  </a:lnTo>
                  <a:lnTo>
                    <a:pt x="224154" y="141150"/>
                  </a:lnTo>
                  <a:lnTo>
                    <a:pt x="239610" y="117481"/>
                  </a:lnTo>
                  <a:lnTo>
                    <a:pt x="239610" y="55768"/>
                  </a:lnTo>
                  <a:lnTo>
                    <a:pt x="171953" y="46257"/>
                  </a:lnTo>
                  <a:lnTo>
                    <a:pt x="126884" y="35558"/>
                  </a:lnTo>
                  <a:lnTo>
                    <a:pt x="100837" y="51013"/>
                  </a:lnTo>
                  <a:lnTo>
                    <a:pt x="49824" y="0"/>
                  </a:lnTo>
                  <a:lnTo>
                    <a:pt x="41502" y="33180"/>
                  </a:lnTo>
                  <a:lnTo>
                    <a:pt x="1189" y="33180"/>
                  </a:lnTo>
                  <a:lnTo>
                    <a:pt x="0" y="88949"/>
                  </a:lnTo>
                  <a:lnTo>
                    <a:pt x="33180" y="118562"/>
                  </a:lnTo>
                  <a:lnTo>
                    <a:pt x="45069" y="130451"/>
                  </a:lnTo>
                  <a:lnTo>
                    <a:pt x="75871" y="143528"/>
                  </a:lnTo>
                  <a:lnTo>
                    <a:pt x="80626" y="16017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1" name="Полилиния: фигура 161"/>
            <p:cNvSpPr/>
            <p:nvPr/>
          </p:nvSpPr>
          <p:spPr bwMode="auto">
            <a:xfrm>
              <a:off x="2861833" y="4730406"/>
              <a:ext cx="206428" cy="181571"/>
            </a:xfrm>
            <a:custGeom>
              <a:avLst/>
              <a:gdLst>
                <a:gd name="connsiteX0" fmla="*/ 176708 w 206429"/>
                <a:gd name="connsiteY0" fmla="*/ 149472 h 181571"/>
                <a:gd name="connsiteX1" fmla="*/ 193352 w 206429"/>
                <a:gd name="connsiteY1" fmla="*/ 131639 h 181571"/>
                <a:gd name="connsiteX2" fmla="*/ 195730 w 206429"/>
                <a:gd name="connsiteY2" fmla="*/ 96081 h 181571"/>
                <a:gd name="connsiteX3" fmla="*/ 206430 w 206429"/>
                <a:gd name="connsiteY3" fmla="*/ 84193 h 181571"/>
                <a:gd name="connsiteX4" fmla="*/ 206430 w 206429"/>
                <a:gd name="connsiteY4" fmla="*/ 53391 h 181571"/>
                <a:gd name="connsiteX5" fmla="*/ 193352 w 206429"/>
                <a:gd name="connsiteY5" fmla="*/ 37935 h 181571"/>
                <a:gd name="connsiteX6" fmla="*/ 115103 w 206429"/>
                <a:gd name="connsiteY6" fmla="*/ 0 h 181571"/>
                <a:gd name="connsiteX7" fmla="*/ 61713 w 206429"/>
                <a:gd name="connsiteY7" fmla="*/ 0 h 181571"/>
                <a:gd name="connsiteX8" fmla="*/ 66468 w 206429"/>
                <a:gd name="connsiteY8" fmla="*/ 28532 h 181571"/>
                <a:gd name="connsiteX9" fmla="*/ 26155 w 206429"/>
                <a:gd name="connsiteY9" fmla="*/ 43988 h 181571"/>
                <a:gd name="connsiteX10" fmla="*/ 22588 w 206429"/>
                <a:gd name="connsiteY10" fmla="*/ 66576 h 181571"/>
                <a:gd name="connsiteX11" fmla="*/ 0 w 206429"/>
                <a:gd name="connsiteY11" fmla="*/ 91434 h 181571"/>
                <a:gd name="connsiteX12" fmla="*/ 30802 w 206429"/>
                <a:gd name="connsiteY12" fmla="*/ 166116 h 181571"/>
                <a:gd name="connsiteX13" fmla="*/ 74682 w 206429"/>
                <a:gd name="connsiteY13" fmla="*/ 181571 h 181571"/>
                <a:gd name="connsiteX14" fmla="*/ 111429 w 206429"/>
                <a:gd name="connsiteY14" fmla="*/ 181571 h 181571"/>
                <a:gd name="connsiteX15" fmla="*/ 135206 w 206429"/>
                <a:gd name="connsiteY15" fmla="*/ 151958 h 181571"/>
                <a:gd name="connsiteX16" fmla="*/ 176708 w 206429"/>
                <a:gd name="connsiteY16" fmla="*/ 149472 h 181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6429" h="181571" extrusionOk="0">
                  <a:moveTo>
                    <a:pt x="176708" y="149472"/>
                  </a:moveTo>
                  <a:lnTo>
                    <a:pt x="193352" y="131639"/>
                  </a:lnTo>
                  <a:lnTo>
                    <a:pt x="195730" y="96081"/>
                  </a:lnTo>
                  <a:lnTo>
                    <a:pt x="206430" y="84193"/>
                  </a:lnTo>
                  <a:lnTo>
                    <a:pt x="206430" y="53391"/>
                  </a:lnTo>
                  <a:lnTo>
                    <a:pt x="193352" y="37935"/>
                  </a:lnTo>
                  <a:lnTo>
                    <a:pt x="115103" y="0"/>
                  </a:lnTo>
                  <a:lnTo>
                    <a:pt x="61713" y="0"/>
                  </a:lnTo>
                  <a:lnTo>
                    <a:pt x="66468" y="28532"/>
                  </a:lnTo>
                  <a:lnTo>
                    <a:pt x="26155" y="43988"/>
                  </a:lnTo>
                  <a:lnTo>
                    <a:pt x="22588" y="66576"/>
                  </a:lnTo>
                  <a:lnTo>
                    <a:pt x="0" y="91434"/>
                  </a:lnTo>
                  <a:lnTo>
                    <a:pt x="30802" y="166116"/>
                  </a:lnTo>
                  <a:lnTo>
                    <a:pt x="74682" y="181571"/>
                  </a:lnTo>
                  <a:lnTo>
                    <a:pt x="111429" y="181571"/>
                  </a:lnTo>
                  <a:lnTo>
                    <a:pt x="135206" y="151958"/>
                  </a:lnTo>
                  <a:lnTo>
                    <a:pt x="176708" y="14947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2" name="Полилиния: фигура 162"/>
            <p:cNvSpPr/>
            <p:nvPr/>
          </p:nvSpPr>
          <p:spPr bwMode="auto">
            <a:xfrm>
              <a:off x="3035947" y="4841942"/>
              <a:ext cx="265872" cy="170871"/>
            </a:xfrm>
            <a:custGeom>
              <a:avLst/>
              <a:gdLst>
                <a:gd name="connsiteX0" fmla="*/ 17941 w 265872"/>
                <a:gd name="connsiteY0" fmla="*/ 20102 h 170871"/>
                <a:gd name="connsiteX1" fmla="*/ 47554 w 265872"/>
                <a:gd name="connsiteY1" fmla="*/ 30802 h 170871"/>
                <a:gd name="connsiteX2" fmla="*/ 70143 w 265872"/>
                <a:gd name="connsiteY2" fmla="*/ 11888 h 170871"/>
                <a:gd name="connsiteX3" fmla="*/ 92731 w 265872"/>
                <a:gd name="connsiteY3" fmla="*/ 20211 h 170871"/>
                <a:gd name="connsiteX4" fmla="*/ 117589 w 265872"/>
                <a:gd name="connsiteY4" fmla="*/ 30910 h 170871"/>
                <a:gd name="connsiteX5" fmla="*/ 144825 w 265872"/>
                <a:gd name="connsiteY5" fmla="*/ 23777 h 170871"/>
                <a:gd name="connsiteX6" fmla="*/ 147203 w 265872"/>
                <a:gd name="connsiteY6" fmla="*/ 9511 h 170871"/>
                <a:gd name="connsiteX7" fmla="*/ 194649 w 265872"/>
                <a:gd name="connsiteY7" fmla="*/ 9511 h 170871"/>
                <a:gd name="connsiteX8" fmla="*/ 218426 w 265872"/>
                <a:gd name="connsiteY8" fmla="*/ 0 h 170871"/>
                <a:gd name="connsiteX9" fmla="*/ 223182 w 265872"/>
                <a:gd name="connsiteY9" fmla="*/ 22480 h 170871"/>
                <a:gd name="connsiteX10" fmla="*/ 262306 w 265872"/>
                <a:gd name="connsiteY10" fmla="*/ 93704 h 170871"/>
                <a:gd name="connsiteX11" fmla="*/ 265873 w 265872"/>
                <a:gd name="connsiteY11" fmla="*/ 112617 h 170871"/>
                <a:gd name="connsiteX12" fmla="*/ 246851 w 265872"/>
                <a:gd name="connsiteY12" fmla="*/ 130450 h 170871"/>
                <a:gd name="connsiteX13" fmla="*/ 227937 w 265872"/>
                <a:gd name="connsiteY13" fmla="*/ 151850 h 170871"/>
                <a:gd name="connsiteX14" fmla="*/ 161469 w 265872"/>
                <a:gd name="connsiteY14" fmla="*/ 150661 h 170871"/>
                <a:gd name="connsiteX15" fmla="*/ 140069 w 265872"/>
                <a:gd name="connsiteY15" fmla="*/ 170872 h 170871"/>
                <a:gd name="connsiteX16" fmla="*/ 89056 w 265872"/>
                <a:gd name="connsiteY16" fmla="*/ 138880 h 170871"/>
                <a:gd name="connsiteX17" fmla="*/ 55876 w 265872"/>
                <a:gd name="connsiteY17" fmla="*/ 138880 h 170871"/>
                <a:gd name="connsiteX18" fmla="*/ 55876 w 265872"/>
                <a:gd name="connsiteY18" fmla="*/ 96190 h 170871"/>
                <a:gd name="connsiteX19" fmla="*/ 30910 w 265872"/>
                <a:gd name="connsiteY19" fmla="*/ 75979 h 170871"/>
                <a:gd name="connsiteX20" fmla="*/ 17833 w 265872"/>
                <a:gd name="connsiteY20" fmla="*/ 77168 h 170871"/>
                <a:gd name="connsiteX21" fmla="*/ 0 w 265872"/>
                <a:gd name="connsiteY21" fmla="*/ 58146 h 170871"/>
                <a:gd name="connsiteX22" fmla="*/ 3567 w 265872"/>
                <a:gd name="connsiteY22" fmla="*/ 37935 h 170871"/>
                <a:gd name="connsiteX23" fmla="*/ 17941 w 265872"/>
                <a:gd name="connsiteY23" fmla="*/ 20102 h 170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65872" h="170871" extrusionOk="0">
                  <a:moveTo>
                    <a:pt x="17941" y="20102"/>
                  </a:moveTo>
                  <a:lnTo>
                    <a:pt x="47554" y="30802"/>
                  </a:lnTo>
                  <a:lnTo>
                    <a:pt x="70143" y="11888"/>
                  </a:lnTo>
                  <a:lnTo>
                    <a:pt x="92731" y="20211"/>
                  </a:lnTo>
                  <a:lnTo>
                    <a:pt x="117589" y="30910"/>
                  </a:lnTo>
                  <a:lnTo>
                    <a:pt x="144825" y="23777"/>
                  </a:lnTo>
                  <a:lnTo>
                    <a:pt x="147203" y="9511"/>
                  </a:lnTo>
                  <a:lnTo>
                    <a:pt x="194649" y="9511"/>
                  </a:lnTo>
                  <a:lnTo>
                    <a:pt x="218426" y="0"/>
                  </a:lnTo>
                  <a:lnTo>
                    <a:pt x="223182" y="22480"/>
                  </a:lnTo>
                  <a:lnTo>
                    <a:pt x="262306" y="93704"/>
                  </a:lnTo>
                  <a:lnTo>
                    <a:pt x="265873" y="112617"/>
                  </a:lnTo>
                  <a:lnTo>
                    <a:pt x="246851" y="130450"/>
                  </a:lnTo>
                  <a:lnTo>
                    <a:pt x="227937" y="151850"/>
                  </a:lnTo>
                  <a:lnTo>
                    <a:pt x="161469" y="150661"/>
                  </a:lnTo>
                  <a:lnTo>
                    <a:pt x="140069" y="170872"/>
                  </a:lnTo>
                  <a:lnTo>
                    <a:pt x="89056" y="138880"/>
                  </a:lnTo>
                  <a:lnTo>
                    <a:pt x="55876" y="138880"/>
                  </a:lnTo>
                  <a:lnTo>
                    <a:pt x="55876" y="96190"/>
                  </a:lnTo>
                  <a:lnTo>
                    <a:pt x="30910" y="75979"/>
                  </a:lnTo>
                  <a:lnTo>
                    <a:pt x="17833" y="77168"/>
                  </a:lnTo>
                  <a:lnTo>
                    <a:pt x="0" y="58146"/>
                  </a:lnTo>
                  <a:lnTo>
                    <a:pt x="3567" y="37935"/>
                  </a:lnTo>
                  <a:lnTo>
                    <a:pt x="17941" y="2010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3" name="Полилиния: фигура 163"/>
            <p:cNvSpPr/>
            <p:nvPr/>
          </p:nvSpPr>
          <p:spPr bwMode="auto">
            <a:xfrm>
              <a:off x="3053780" y="4755263"/>
              <a:ext cx="224262" cy="117589"/>
            </a:xfrm>
            <a:custGeom>
              <a:avLst/>
              <a:gdLst>
                <a:gd name="connsiteX0" fmla="*/ 14374 w 224262"/>
                <a:gd name="connsiteY0" fmla="*/ 29722 h 117589"/>
                <a:gd name="connsiteX1" fmla="*/ 43988 w 224262"/>
                <a:gd name="connsiteY1" fmla="*/ 26155 h 117589"/>
                <a:gd name="connsiteX2" fmla="*/ 74790 w 224262"/>
                <a:gd name="connsiteY2" fmla="*/ 23777 h 117589"/>
                <a:gd name="connsiteX3" fmla="*/ 119859 w 224262"/>
                <a:gd name="connsiteY3" fmla="*/ 48635 h 117589"/>
                <a:gd name="connsiteX4" fmla="*/ 141258 w 224262"/>
                <a:gd name="connsiteY4" fmla="*/ 31991 h 117589"/>
                <a:gd name="connsiteX5" fmla="*/ 153147 w 224262"/>
                <a:gd name="connsiteY5" fmla="*/ 2378 h 117589"/>
                <a:gd name="connsiteX6" fmla="*/ 155525 w 224262"/>
                <a:gd name="connsiteY6" fmla="*/ 0 h 117589"/>
                <a:gd name="connsiteX7" fmla="*/ 182760 w 224262"/>
                <a:gd name="connsiteY7" fmla="*/ 0 h 117589"/>
                <a:gd name="connsiteX8" fmla="*/ 189894 w 224262"/>
                <a:gd name="connsiteY8" fmla="*/ 17833 h 117589"/>
                <a:gd name="connsiteX9" fmla="*/ 224262 w 224262"/>
                <a:gd name="connsiteY9" fmla="*/ 21400 h 117589"/>
                <a:gd name="connsiteX10" fmla="*/ 214752 w 224262"/>
                <a:gd name="connsiteY10" fmla="*/ 61713 h 117589"/>
                <a:gd name="connsiteX11" fmla="*/ 201674 w 224262"/>
                <a:gd name="connsiteY11" fmla="*/ 86679 h 117589"/>
                <a:gd name="connsiteX12" fmla="*/ 176708 w 224262"/>
                <a:gd name="connsiteY12" fmla="*/ 96190 h 117589"/>
                <a:gd name="connsiteX13" fmla="*/ 129262 w 224262"/>
                <a:gd name="connsiteY13" fmla="*/ 96190 h 117589"/>
                <a:gd name="connsiteX14" fmla="*/ 126884 w 224262"/>
                <a:gd name="connsiteY14" fmla="*/ 110456 h 117589"/>
                <a:gd name="connsiteX15" fmla="*/ 99648 w 224262"/>
                <a:gd name="connsiteY15" fmla="*/ 117589 h 117589"/>
                <a:gd name="connsiteX16" fmla="*/ 74790 w 224262"/>
                <a:gd name="connsiteY16" fmla="*/ 105701 h 117589"/>
                <a:gd name="connsiteX17" fmla="*/ 52202 w 224262"/>
                <a:gd name="connsiteY17" fmla="*/ 97379 h 117589"/>
                <a:gd name="connsiteX18" fmla="*/ 29613 w 224262"/>
                <a:gd name="connsiteY18" fmla="*/ 117589 h 117589"/>
                <a:gd name="connsiteX19" fmla="*/ 0 w 224262"/>
                <a:gd name="connsiteY19" fmla="*/ 108078 h 117589"/>
                <a:gd name="connsiteX20" fmla="*/ 2378 w 224262"/>
                <a:gd name="connsiteY20" fmla="*/ 70143 h 117589"/>
                <a:gd name="connsiteX21" fmla="*/ 15455 w 224262"/>
                <a:gd name="connsiteY21" fmla="*/ 57065 h 117589"/>
                <a:gd name="connsiteX22" fmla="*/ 14374 w 224262"/>
                <a:gd name="connsiteY22" fmla="*/ 29722 h 117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262" h="117589" extrusionOk="0">
                  <a:moveTo>
                    <a:pt x="14374" y="29722"/>
                  </a:moveTo>
                  <a:lnTo>
                    <a:pt x="43988" y="26155"/>
                  </a:lnTo>
                  <a:lnTo>
                    <a:pt x="74790" y="23777"/>
                  </a:lnTo>
                  <a:lnTo>
                    <a:pt x="119859" y="48635"/>
                  </a:lnTo>
                  <a:lnTo>
                    <a:pt x="141258" y="31991"/>
                  </a:lnTo>
                  <a:lnTo>
                    <a:pt x="153147" y="2378"/>
                  </a:lnTo>
                  <a:lnTo>
                    <a:pt x="155525" y="0"/>
                  </a:lnTo>
                  <a:lnTo>
                    <a:pt x="182760" y="0"/>
                  </a:lnTo>
                  <a:lnTo>
                    <a:pt x="189894" y="17833"/>
                  </a:lnTo>
                  <a:lnTo>
                    <a:pt x="224262" y="21400"/>
                  </a:lnTo>
                  <a:lnTo>
                    <a:pt x="214752" y="61713"/>
                  </a:lnTo>
                  <a:lnTo>
                    <a:pt x="201674" y="86679"/>
                  </a:lnTo>
                  <a:lnTo>
                    <a:pt x="176708" y="96190"/>
                  </a:lnTo>
                  <a:lnTo>
                    <a:pt x="129262" y="96190"/>
                  </a:lnTo>
                  <a:lnTo>
                    <a:pt x="126884" y="110456"/>
                  </a:lnTo>
                  <a:lnTo>
                    <a:pt x="99648" y="117589"/>
                  </a:lnTo>
                  <a:lnTo>
                    <a:pt x="74790" y="105701"/>
                  </a:lnTo>
                  <a:lnTo>
                    <a:pt x="52202" y="97379"/>
                  </a:lnTo>
                  <a:lnTo>
                    <a:pt x="29613" y="117589"/>
                  </a:lnTo>
                  <a:lnTo>
                    <a:pt x="0" y="108078"/>
                  </a:lnTo>
                  <a:lnTo>
                    <a:pt x="2378" y="70143"/>
                  </a:lnTo>
                  <a:lnTo>
                    <a:pt x="15455" y="57065"/>
                  </a:lnTo>
                  <a:lnTo>
                    <a:pt x="14374" y="2972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4" name="Полилиния: фигура 164"/>
            <p:cNvSpPr/>
            <p:nvPr/>
          </p:nvSpPr>
          <p:spPr bwMode="auto">
            <a:xfrm>
              <a:off x="3053888" y="4462155"/>
              <a:ext cx="278733" cy="341635"/>
            </a:xfrm>
            <a:custGeom>
              <a:avLst/>
              <a:gdLst>
                <a:gd name="connsiteX0" fmla="*/ 0 w 278733"/>
                <a:gd name="connsiteY0" fmla="*/ 306186 h 341635"/>
                <a:gd name="connsiteX1" fmla="*/ 15455 w 278733"/>
                <a:gd name="connsiteY1" fmla="*/ 325099 h 341635"/>
                <a:gd name="connsiteX2" fmla="*/ 45069 w 278733"/>
                <a:gd name="connsiteY2" fmla="*/ 319155 h 341635"/>
                <a:gd name="connsiteX3" fmla="*/ 75871 w 278733"/>
                <a:gd name="connsiteY3" fmla="*/ 316777 h 341635"/>
                <a:gd name="connsiteX4" fmla="*/ 119751 w 278733"/>
                <a:gd name="connsiteY4" fmla="*/ 341635 h 341635"/>
                <a:gd name="connsiteX5" fmla="*/ 142231 w 278733"/>
                <a:gd name="connsiteY5" fmla="*/ 324992 h 341635"/>
                <a:gd name="connsiteX6" fmla="*/ 154120 w 278733"/>
                <a:gd name="connsiteY6" fmla="*/ 293000 h 341635"/>
                <a:gd name="connsiteX7" fmla="*/ 170764 w 278733"/>
                <a:gd name="connsiteY7" fmla="*/ 293000 h 341635"/>
                <a:gd name="connsiteX8" fmla="*/ 188597 w 278733"/>
                <a:gd name="connsiteY8" fmla="*/ 256254 h 341635"/>
                <a:gd name="connsiteX9" fmla="*/ 199296 w 278733"/>
                <a:gd name="connsiteY9" fmla="*/ 218318 h 341635"/>
                <a:gd name="connsiteX10" fmla="*/ 190974 w 278733"/>
                <a:gd name="connsiteY10" fmla="*/ 167305 h 341635"/>
                <a:gd name="connsiteX11" fmla="*/ 176708 w 278733"/>
                <a:gd name="connsiteY11" fmla="*/ 150661 h 341635"/>
                <a:gd name="connsiteX12" fmla="*/ 176708 w 278733"/>
                <a:gd name="connsiteY12" fmla="*/ 138772 h 341635"/>
                <a:gd name="connsiteX13" fmla="*/ 251390 w 278733"/>
                <a:gd name="connsiteY13" fmla="*/ 113915 h 341635"/>
                <a:gd name="connsiteX14" fmla="*/ 215832 w 278733"/>
                <a:gd name="connsiteY14" fmla="*/ 95001 h 341635"/>
                <a:gd name="connsiteX15" fmla="*/ 217021 w 278733"/>
                <a:gd name="connsiteY15" fmla="*/ 75979 h 341635"/>
                <a:gd name="connsiteX16" fmla="*/ 259712 w 278733"/>
                <a:gd name="connsiteY16" fmla="*/ 52202 h 341635"/>
                <a:gd name="connsiteX17" fmla="*/ 273978 w 278733"/>
                <a:gd name="connsiteY17" fmla="*/ 41502 h 341635"/>
                <a:gd name="connsiteX18" fmla="*/ 278734 w 278733"/>
                <a:gd name="connsiteY18" fmla="*/ 8322 h 341635"/>
                <a:gd name="connsiteX19" fmla="*/ 141150 w 278733"/>
                <a:gd name="connsiteY19" fmla="*/ 0 h 341635"/>
                <a:gd name="connsiteX20" fmla="*/ 130450 w 278733"/>
                <a:gd name="connsiteY20" fmla="*/ 26047 h 341635"/>
                <a:gd name="connsiteX21" fmla="*/ 102026 w 278733"/>
                <a:gd name="connsiteY21" fmla="*/ 56849 h 341635"/>
                <a:gd name="connsiteX22" fmla="*/ 48635 w 278733"/>
                <a:gd name="connsiteY22" fmla="*/ 63982 h 341635"/>
                <a:gd name="connsiteX23" fmla="*/ 29613 w 278733"/>
                <a:gd name="connsiteY23" fmla="*/ 58038 h 341635"/>
                <a:gd name="connsiteX24" fmla="*/ 37935 w 278733"/>
                <a:gd name="connsiteY24" fmla="*/ 98351 h 341635"/>
                <a:gd name="connsiteX25" fmla="*/ 45069 w 278733"/>
                <a:gd name="connsiteY25" fmla="*/ 106673 h 341635"/>
                <a:gd name="connsiteX26" fmla="*/ 20211 w 278733"/>
                <a:gd name="connsiteY26" fmla="*/ 136287 h 341635"/>
                <a:gd name="connsiteX27" fmla="*/ 28533 w 278733"/>
                <a:gd name="connsiteY27" fmla="*/ 167089 h 341635"/>
                <a:gd name="connsiteX28" fmla="*/ 27344 w 278733"/>
                <a:gd name="connsiteY28" fmla="*/ 228802 h 341635"/>
                <a:gd name="connsiteX29" fmla="*/ 11889 w 278733"/>
                <a:gd name="connsiteY29" fmla="*/ 250201 h 341635"/>
                <a:gd name="connsiteX30" fmla="*/ 11889 w 278733"/>
                <a:gd name="connsiteY30" fmla="*/ 281004 h 341635"/>
                <a:gd name="connsiteX31" fmla="*/ 0 w 278733"/>
                <a:gd name="connsiteY31" fmla="*/ 306186 h 341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78733" h="341635" extrusionOk="0">
                  <a:moveTo>
                    <a:pt x="0" y="306186"/>
                  </a:moveTo>
                  <a:lnTo>
                    <a:pt x="15455" y="325099"/>
                  </a:lnTo>
                  <a:lnTo>
                    <a:pt x="45069" y="319155"/>
                  </a:lnTo>
                  <a:lnTo>
                    <a:pt x="75871" y="316777"/>
                  </a:lnTo>
                  <a:lnTo>
                    <a:pt x="119751" y="341635"/>
                  </a:lnTo>
                  <a:lnTo>
                    <a:pt x="142231" y="324992"/>
                  </a:lnTo>
                  <a:lnTo>
                    <a:pt x="154120" y="293000"/>
                  </a:lnTo>
                  <a:lnTo>
                    <a:pt x="170764" y="293000"/>
                  </a:lnTo>
                  <a:lnTo>
                    <a:pt x="188597" y="256254"/>
                  </a:lnTo>
                  <a:lnTo>
                    <a:pt x="199296" y="218318"/>
                  </a:lnTo>
                  <a:lnTo>
                    <a:pt x="190974" y="167305"/>
                  </a:lnTo>
                  <a:lnTo>
                    <a:pt x="176708" y="150661"/>
                  </a:lnTo>
                  <a:lnTo>
                    <a:pt x="176708" y="138772"/>
                  </a:lnTo>
                  <a:lnTo>
                    <a:pt x="251390" y="113915"/>
                  </a:lnTo>
                  <a:lnTo>
                    <a:pt x="215832" y="95001"/>
                  </a:lnTo>
                  <a:lnTo>
                    <a:pt x="217021" y="75979"/>
                  </a:lnTo>
                  <a:lnTo>
                    <a:pt x="259712" y="52202"/>
                  </a:lnTo>
                  <a:lnTo>
                    <a:pt x="273978" y="41502"/>
                  </a:lnTo>
                  <a:lnTo>
                    <a:pt x="278734" y="8322"/>
                  </a:lnTo>
                  <a:lnTo>
                    <a:pt x="141150" y="0"/>
                  </a:lnTo>
                  <a:lnTo>
                    <a:pt x="130450" y="26047"/>
                  </a:lnTo>
                  <a:lnTo>
                    <a:pt x="102026" y="56849"/>
                  </a:lnTo>
                  <a:lnTo>
                    <a:pt x="48635" y="63982"/>
                  </a:lnTo>
                  <a:lnTo>
                    <a:pt x="29613" y="58038"/>
                  </a:lnTo>
                  <a:lnTo>
                    <a:pt x="37935" y="98351"/>
                  </a:lnTo>
                  <a:lnTo>
                    <a:pt x="45069" y="106673"/>
                  </a:lnTo>
                  <a:lnTo>
                    <a:pt x="20211" y="136287"/>
                  </a:lnTo>
                  <a:lnTo>
                    <a:pt x="28533" y="167089"/>
                  </a:lnTo>
                  <a:lnTo>
                    <a:pt x="27344" y="228802"/>
                  </a:lnTo>
                  <a:lnTo>
                    <a:pt x="11889" y="250201"/>
                  </a:lnTo>
                  <a:lnTo>
                    <a:pt x="11889" y="281004"/>
                  </a:lnTo>
                  <a:lnTo>
                    <a:pt x="0" y="306186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5" name="Полилиния: фигура 165"/>
            <p:cNvSpPr/>
            <p:nvPr/>
          </p:nvSpPr>
          <p:spPr bwMode="auto">
            <a:xfrm>
              <a:off x="2713766" y="3497989"/>
              <a:ext cx="769841" cy="701428"/>
            </a:xfrm>
            <a:custGeom>
              <a:avLst/>
              <a:gdLst>
                <a:gd name="connsiteX0" fmla="*/ 37719 w 769841"/>
                <a:gd name="connsiteY0" fmla="*/ 341635 h 701428"/>
                <a:gd name="connsiteX1" fmla="*/ 59119 w 769841"/>
                <a:gd name="connsiteY1" fmla="*/ 348769 h 701428"/>
                <a:gd name="connsiteX2" fmla="*/ 98243 w 769841"/>
                <a:gd name="connsiteY2" fmla="*/ 341635 h 701428"/>
                <a:gd name="connsiteX3" fmla="*/ 107754 w 769841"/>
                <a:gd name="connsiteY3" fmla="*/ 335691 h 701428"/>
                <a:gd name="connsiteX4" fmla="*/ 99432 w 769841"/>
                <a:gd name="connsiteY4" fmla="*/ 323802 h 701428"/>
                <a:gd name="connsiteX5" fmla="*/ 95865 w 769841"/>
                <a:gd name="connsiteY5" fmla="*/ 293000 h 701428"/>
                <a:gd name="connsiteX6" fmla="*/ 91110 w 769841"/>
                <a:gd name="connsiteY6" fmla="*/ 271601 h 701428"/>
                <a:gd name="connsiteX7" fmla="*/ 86355 w 769841"/>
                <a:gd name="connsiteY7" fmla="*/ 268034 h 701428"/>
                <a:gd name="connsiteX8" fmla="*/ 68522 w 769841"/>
                <a:gd name="connsiteY8" fmla="*/ 277545 h 701428"/>
                <a:gd name="connsiteX9" fmla="*/ 60200 w 769841"/>
                <a:gd name="connsiteY9" fmla="*/ 284678 h 701428"/>
                <a:gd name="connsiteX10" fmla="*/ 59011 w 769841"/>
                <a:gd name="connsiteY10" fmla="*/ 284678 h 701428"/>
                <a:gd name="connsiteX11" fmla="*/ 50689 w 769841"/>
                <a:gd name="connsiteY11" fmla="*/ 285867 h 701428"/>
                <a:gd name="connsiteX12" fmla="*/ 23453 w 769841"/>
                <a:gd name="connsiteY12" fmla="*/ 249120 h 701428"/>
                <a:gd name="connsiteX13" fmla="*/ 13942 w 769841"/>
                <a:gd name="connsiteY13" fmla="*/ 225451 h 701428"/>
                <a:gd name="connsiteX14" fmla="*/ 13942 w 769841"/>
                <a:gd name="connsiteY14" fmla="*/ 213562 h 701428"/>
                <a:gd name="connsiteX15" fmla="*/ 16320 w 769841"/>
                <a:gd name="connsiteY15" fmla="*/ 206430 h 701428"/>
                <a:gd name="connsiteX16" fmla="*/ 34153 w 769841"/>
                <a:gd name="connsiteY16" fmla="*/ 194541 h 701428"/>
                <a:gd name="connsiteX17" fmla="*/ 35342 w 769841"/>
                <a:gd name="connsiteY17" fmla="*/ 175519 h 701428"/>
                <a:gd name="connsiteX18" fmla="*/ 36530 w 769841"/>
                <a:gd name="connsiteY18" fmla="*/ 175519 h 701428"/>
                <a:gd name="connsiteX19" fmla="*/ 43664 w 769841"/>
                <a:gd name="connsiteY19" fmla="*/ 175519 h 701428"/>
                <a:gd name="connsiteX20" fmla="*/ 53174 w 769841"/>
                <a:gd name="connsiteY20" fmla="*/ 176708 h 701428"/>
                <a:gd name="connsiteX21" fmla="*/ 54363 w 769841"/>
                <a:gd name="connsiteY21" fmla="*/ 176708 h 701428"/>
                <a:gd name="connsiteX22" fmla="*/ 66252 w 769841"/>
                <a:gd name="connsiteY22" fmla="*/ 175519 h 701428"/>
                <a:gd name="connsiteX23" fmla="*/ 74574 w 769841"/>
                <a:gd name="connsiteY23" fmla="*/ 180275 h 701428"/>
                <a:gd name="connsiteX24" fmla="*/ 74574 w 769841"/>
                <a:gd name="connsiteY24" fmla="*/ 181463 h 701428"/>
                <a:gd name="connsiteX25" fmla="*/ 87651 w 769841"/>
                <a:gd name="connsiteY25" fmla="*/ 208699 h 701428"/>
                <a:gd name="connsiteX26" fmla="*/ 104295 w 769841"/>
                <a:gd name="connsiteY26" fmla="*/ 221777 h 701428"/>
                <a:gd name="connsiteX27" fmla="*/ 113806 w 769841"/>
                <a:gd name="connsiteY27" fmla="*/ 226532 h 701428"/>
                <a:gd name="connsiteX28" fmla="*/ 134017 w 769841"/>
                <a:gd name="connsiteY28" fmla="*/ 214643 h 701428"/>
                <a:gd name="connsiteX29" fmla="*/ 144717 w 769841"/>
                <a:gd name="connsiteY29" fmla="*/ 218210 h 701428"/>
                <a:gd name="connsiteX30" fmla="*/ 202863 w 769841"/>
                <a:gd name="connsiteY30" fmla="*/ 245446 h 701428"/>
                <a:gd name="connsiteX31" fmla="*/ 228910 w 769841"/>
                <a:gd name="connsiteY31" fmla="*/ 250201 h 701428"/>
                <a:gd name="connsiteX32" fmla="*/ 238421 w 769841"/>
                <a:gd name="connsiteY32" fmla="*/ 237124 h 701428"/>
                <a:gd name="connsiteX33" fmla="*/ 244365 w 769841"/>
                <a:gd name="connsiteY33" fmla="*/ 219291 h 701428"/>
                <a:gd name="connsiteX34" fmla="*/ 235719 w 769841"/>
                <a:gd name="connsiteY34" fmla="*/ 205132 h 701428"/>
                <a:gd name="connsiteX35" fmla="*/ 210861 w 769841"/>
                <a:gd name="connsiteY35" fmla="*/ 181463 h 701428"/>
                <a:gd name="connsiteX36" fmla="*/ 195405 w 769841"/>
                <a:gd name="connsiteY36" fmla="*/ 149472 h 701428"/>
                <a:gd name="connsiteX37" fmla="*/ 189461 w 769841"/>
                <a:gd name="connsiteY37" fmla="*/ 134017 h 701428"/>
                <a:gd name="connsiteX38" fmla="*/ 240474 w 769841"/>
                <a:gd name="connsiteY38" fmla="*/ 84193 h 701428"/>
                <a:gd name="connsiteX39" fmla="*/ 259496 w 769841"/>
                <a:gd name="connsiteY39" fmla="*/ 65279 h 701428"/>
                <a:gd name="connsiteX40" fmla="*/ 292676 w 769841"/>
                <a:gd name="connsiteY40" fmla="*/ 52202 h 701428"/>
                <a:gd name="connsiteX41" fmla="*/ 317642 w 769841"/>
                <a:gd name="connsiteY41" fmla="*/ 21399 h 701428"/>
                <a:gd name="connsiteX42" fmla="*/ 336556 w 769841"/>
                <a:gd name="connsiteY42" fmla="*/ 0 h 701428"/>
                <a:gd name="connsiteX43" fmla="*/ 337745 w 769841"/>
                <a:gd name="connsiteY43" fmla="*/ 0 h 701428"/>
                <a:gd name="connsiteX44" fmla="*/ 349633 w 769841"/>
                <a:gd name="connsiteY44" fmla="*/ 15455 h 701428"/>
                <a:gd name="connsiteX45" fmla="*/ 367466 w 769841"/>
                <a:gd name="connsiteY45" fmla="*/ 20211 h 701428"/>
                <a:gd name="connsiteX46" fmla="*/ 387677 w 769841"/>
                <a:gd name="connsiteY46" fmla="*/ 33288 h 701428"/>
                <a:gd name="connsiteX47" fmla="*/ 393621 w 769841"/>
                <a:gd name="connsiteY47" fmla="*/ 46365 h 701428"/>
                <a:gd name="connsiteX48" fmla="*/ 415021 w 769841"/>
                <a:gd name="connsiteY48" fmla="*/ 53499 h 701428"/>
                <a:gd name="connsiteX49" fmla="*/ 428098 w 769841"/>
                <a:gd name="connsiteY49" fmla="*/ 45177 h 701428"/>
                <a:gd name="connsiteX50" fmla="*/ 434042 w 769841"/>
                <a:gd name="connsiteY50" fmla="*/ 38043 h 701428"/>
                <a:gd name="connsiteX51" fmla="*/ 445931 w 769841"/>
                <a:gd name="connsiteY51" fmla="*/ 15455 h 701428"/>
                <a:gd name="connsiteX52" fmla="*/ 481489 w 769841"/>
                <a:gd name="connsiteY52" fmla="*/ 36855 h 701428"/>
                <a:gd name="connsiteX53" fmla="*/ 498133 w 769841"/>
                <a:gd name="connsiteY53" fmla="*/ 47554 h 701428"/>
                <a:gd name="connsiteX54" fmla="*/ 536068 w 769841"/>
                <a:gd name="connsiteY54" fmla="*/ 48743 h 701428"/>
                <a:gd name="connsiteX55" fmla="*/ 594214 w 769841"/>
                <a:gd name="connsiteY55" fmla="*/ 87868 h 701428"/>
                <a:gd name="connsiteX56" fmla="*/ 654738 w 769841"/>
                <a:gd name="connsiteY56" fmla="*/ 41610 h 701428"/>
                <a:gd name="connsiteX57" fmla="*/ 695051 w 769841"/>
                <a:gd name="connsiteY57" fmla="*/ 47554 h 701428"/>
                <a:gd name="connsiteX58" fmla="*/ 690296 w 769841"/>
                <a:gd name="connsiteY58" fmla="*/ 97378 h 701428"/>
                <a:gd name="connsiteX59" fmla="*/ 681974 w 769841"/>
                <a:gd name="connsiteY59" fmla="*/ 108078 h 701428"/>
                <a:gd name="connsiteX60" fmla="*/ 681974 w 769841"/>
                <a:gd name="connsiteY60" fmla="*/ 112834 h 701428"/>
                <a:gd name="connsiteX61" fmla="*/ 680785 w 769841"/>
                <a:gd name="connsiteY61" fmla="*/ 137692 h 701428"/>
                <a:gd name="connsiteX62" fmla="*/ 679596 w 769841"/>
                <a:gd name="connsiteY62" fmla="*/ 157902 h 701428"/>
                <a:gd name="connsiteX63" fmla="*/ 711587 w 769841"/>
                <a:gd name="connsiteY63" fmla="*/ 157902 h 701428"/>
                <a:gd name="connsiteX64" fmla="*/ 734176 w 769841"/>
                <a:gd name="connsiteY64" fmla="*/ 189893 h 701428"/>
                <a:gd name="connsiteX65" fmla="*/ 746064 w 769841"/>
                <a:gd name="connsiteY65" fmla="*/ 212482 h 701428"/>
                <a:gd name="connsiteX66" fmla="*/ 769842 w 769841"/>
                <a:gd name="connsiteY66" fmla="*/ 214860 h 701428"/>
                <a:gd name="connsiteX67" fmla="*/ 763897 w 769841"/>
                <a:gd name="connsiteY67" fmla="*/ 230315 h 701428"/>
                <a:gd name="connsiteX68" fmla="*/ 742498 w 769841"/>
                <a:gd name="connsiteY68" fmla="*/ 250525 h 701428"/>
                <a:gd name="connsiteX69" fmla="*/ 698618 w 769841"/>
                <a:gd name="connsiteY69" fmla="*/ 256470 h 701428"/>
                <a:gd name="connsiteX70" fmla="*/ 679704 w 769841"/>
                <a:gd name="connsiteY70" fmla="*/ 273114 h 701428"/>
                <a:gd name="connsiteX71" fmla="*/ 652469 w 769841"/>
                <a:gd name="connsiteY71" fmla="*/ 271925 h 701428"/>
                <a:gd name="connsiteX72" fmla="*/ 622855 w 769841"/>
                <a:gd name="connsiteY72" fmla="*/ 262414 h 701428"/>
                <a:gd name="connsiteX73" fmla="*/ 592053 w 769841"/>
                <a:gd name="connsiteY73" fmla="*/ 267170 h 701428"/>
                <a:gd name="connsiteX74" fmla="*/ 560062 w 769841"/>
                <a:gd name="connsiteY74" fmla="*/ 292027 h 701428"/>
                <a:gd name="connsiteX75" fmla="*/ 514993 w 769841"/>
                <a:gd name="connsiteY75" fmla="*/ 293216 h 701428"/>
                <a:gd name="connsiteX76" fmla="*/ 513804 w 769841"/>
                <a:gd name="connsiteY76" fmla="*/ 318074 h 701428"/>
                <a:gd name="connsiteX77" fmla="*/ 550551 w 769841"/>
                <a:gd name="connsiteY77" fmla="*/ 334719 h 701428"/>
                <a:gd name="connsiteX78" fmla="*/ 580164 w 769841"/>
                <a:gd name="connsiteY78" fmla="*/ 375031 h 701428"/>
                <a:gd name="connsiteX79" fmla="*/ 607400 w 769841"/>
                <a:gd name="connsiteY79" fmla="*/ 411778 h 701428"/>
                <a:gd name="connsiteX80" fmla="*/ 606211 w 769841"/>
                <a:gd name="connsiteY80" fmla="*/ 434367 h 701428"/>
                <a:gd name="connsiteX81" fmla="*/ 596700 w 769841"/>
                <a:gd name="connsiteY81" fmla="*/ 447444 h 701428"/>
                <a:gd name="connsiteX82" fmla="*/ 599078 w 769841"/>
                <a:gd name="connsiteY82" fmla="*/ 513912 h 701428"/>
                <a:gd name="connsiteX83" fmla="*/ 619289 w 769841"/>
                <a:gd name="connsiteY83" fmla="*/ 518668 h 701428"/>
                <a:gd name="connsiteX84" fmla="*/ 647713 w 769841"/>
                <a:gd name="connsiteY84" fmla="*/ 510346 h 701428"/>
                <a:gd name="connsiteX85" fmla="*/ 650091 w 769841"/>
                <a:gd name="connsiteY85" fmla="*/ 492513 h 701428"/>
                <a:gd name="connsiteX86" fmla="*/ 641769 w 769841"/>
                <a:gd name="connsiteY86" fmla="*/ 468736 h 701428"/>
                <a:gd name="connsiteX87" fmla="*/ 648902 w 769841"/>
                <a:gd name="connsiteY87" fmla="*/ 449822 h 701428"/>
                <a:gd name="connsiteX88" fmla="*/ 666735 w 769841"/>
                <a:gd name="connsiteY88" fmla="*/ 442689 h 701428"/>
                <a:gd name="connsiteX89" fmla="*/ 686946 w 769841"/>
                <a:gd name="connsiteY89" fmla="*/ 464088 h 701428"/>
                <a:gd name="connsiteX90" fmla="*/ 705967 w 769841"/>
                <a:gd name="connsiteY90" fmla="*/ 466466 h 701428"/>
                <a:gd name="connsiteX91" fmla="*/ 710723 w 769841"/>
                <a:gd name="connsiteY91" fmla="*/ 534123 h 701428"/>
                <a:gd name="connsiteX92" fmla="*/ 695268 w 769841"/>
                <a:gd name="connsiteY92" fmla="*/ 550767 h 701428"/>
                <a:gd name="connsiteX93" fmla="*/ 690512 w 769841"/>
                <a:gd name="connsiteY93" fmla="*/ 575733 h 701428"/>
                <a:gd name="connsiteX94" fmla="*/ 692890 w 769841"/>
                <a:gd name="connsiteY94" fmla="*/ 575733 h 701428"/>
                <a:gd name="connsiteX95" fmla="*/ 707156 w 769841"/>
                <a:gd name="connsiteY95" fmla="*/ 587622 h 701428"/>
                <a:gd name="connsiteX96" fmla="*/ 702401 w 769841"/>
                <a:gd name="connsiteY96" fmla="*/ 617235 h 701428"/>
                <a:gd name="connsiteX97" fmla="*/ 669221 w 769841"/>
                <a:gd name="connsiteY97" fmla="*/ 651604 h 701428"/>
                <a:gd name="connsiteX98" fmla="*/ 659710 w 769841"/>
                <a:gd name="connsiteY98" fmla="*/ 694295 h 701428"/>
                <a:gd name="connsiteX99" fmla="*/ 619397 w 769841"/>
                <a:gd name="connsiteY99" fmla="*/ 665870 h 701428"/>
                <a:gd name="connsiteX100" fmla="*/ 614641 w 769841"/>
                <a:gd name="connsiteY100" fmla="*/ 652793 h 701428"/>
                <a:gd name="connsiteX101" fmla="*/ 595619 w 769841"/>
                <a:gd name="connsiteY101" fmla="*/ 653982 h 701428"/>
                <a:gd name="connsiteX102" fmla="*/ 596808 w 769841"/>
                <a:gd name="connsiteY102" fmla="*/ 668248 h 701428"/>
                <a:gd name="connsiteX103" fmla="*/ 541040 w 769841"/>
                <a:gd name="connsiteY103" fmla="*/ 670626 h 701428"/>
                <a:gd name="connsiteX104" fmla="*/ 493594 w 769841"/>
                <a:gd name="connsiteY104" fmla="*/ 653982 h 701428"/>
                <a:gd name="connsiteX105" fmla="*/ 474572 w 769841"/>
                <a:gd name="connsiteY105" fmla="*/ 688351 h 701428"/>
                <a:gd name="connsiteX106" fmla="*/ 434259 w 769841"/>
                <a:gd name="connsiteY106" fmla="*/ 661115 h 701428"/>
                <a:gd name="connsiteX107" fmla="*/ 340555 w 769841"/>
                <a:gd name="connsiteY107" fmla="*/ 689539 h 701428"/>
                <a:gd name="connsiteX108" fmla="*/ 329855 w 769841"/>
                <a:gd name="connsiteY108" fmla="*/ 672895 h 701428"/>
                <a:gd name="connsiteX109" fmla="*/ 296675 w 769841"/>
                <a:gd name="connsiteY109" fmla="*/ 672895 h 701428"/>
                <a:gd name="connsiteX110" fmla="*/ 289542 w 769841"/>
                <a:gd name="connsiteY110" fmla="*/ 696673 h 701428"/>
                <a:gd name="connsiteX111" fmla="*/ 227829 w 769841"/>
                <a:gd name="connsiteY111" fmla="*/ 701428 h 701428"/>
                <a:gd name="connsiteX112" fmla="*/ 144825 w 769841"/>
                <a:gd name="connsiteY112" fmla="*/ 682514 h 701428"/>
                <a:gd name="connsiteX113" fmla="*/ 102134 w 769841"/>
                <a:gd name="connsiteY113" fmla="*/ 606644 h 701428"/>
                <a:gd name="connsiteX114" fmla="*/ 97378 w 769841"/>
                <a:gd name="connsiteY114" fmla="*/ 555631 h 701428"/>
                <a:gd name="connsiteX115" fmla="*/ 84301 w 769841"/>
                <a:gd name="connsiteY115" fmla="*/ 533042 h 701428"/>
                <a:gd name="connsiteX116" fmla="*/ 77168 w 769841"/>
                <a:gd name="connsiteY116" fmla="*/ 477274 h 701428"/>
                <a:gd name="connsiteX117" fmla="*/ 26155 w 769841"/>
                <a:gd name="connsiteY117" fmla="*/ 436960 h 701428"/>
                <a:gd name="connsiteX118" fmla="*/ 21399 w 769841"/>
                <a:gd name="connsiteY118" fmla="*/ 385948 h 701428"/>
                <a:gd name="connsiteX119" fmla="*/ 0 w 769841"/>
                <a:gd name="connsiteY119" fmla="*/ 365737 h 701428"/>
                <a:gd name="connsiteX120" fmla="*/ 19022 w 769841"/>
                <a:gd name="connsiteY120" fmla="*/ 351471 h 701428"/>
                <a:gd name="connsiteX121" fmla="*/ 37719 w 769841"/>
                <a:gd name="connsiteY121" fmla="*/ 341635 h 70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769841" h="701428" extrusionOk="0">
                  <a:moveTo>
                    <a:pt x="37719" y="341635"/>
                  </a:moveTo>
                  <a:lnTo>
                    <a:pt x="59119" y="348769"/>
                  </a:lnTo>
                  <a:lnTo>
                    <a:pt x="98243" y="341635"/>
                  </a:lnTo>
                  <a:lnTo>
                    <a:pt x="107754" y="335691"/>
                  </a:lnTo>
                  <a:lnTo>
                    <a:pt x="99432" y="323802"/>
                  </a:lnTo>
                  <a:lnTo>
                    <a:pt x="95865" y="293000"/>
                  </a:lnTo>
                  <a:lnTo>
                    <a:pt x="91110" y="271601"/>
                  </a:lnTo>
                  <a:lnTo>
                    <a:pt x="86355" y="268034"/>
                  </a:lnTo>
                  <a:lnTo>
                    <a:pt x="68522" y="277545"/>
                  </a:lnTo>
                  <a:lnTo>
                    <a:pt x="60200" y="284678"/>
                  </a:lnTo>
                  <a:lnTo>
                    <a:pt x="59011" y="284678"/>
                  </a:lnTo>
                  <a:lnTo>
                    <a:pt x="50689" y="285867"/>
                  </a:lnTo>
                  <a:lnTo>
                    <a:pt x="23453" y="249120"/>
                  </a:lnTo>
                  <a:lnTo>
                    <a:pt x="13942" y="225451"/>
                  </a:lnTo>
                  <a:lnTo>
                    <a:pt x="13942" y="213562"/>
                  </a:lnTo>
                  <a:lnTo>
                    <a:pt x="16320" y="206430"/>
                  </a:lnTo>
                  <a:lnTo>
                    <a:pt x="34153" y="194541"/>
                  </a:lnTo>
                  <a:lnTo>
                    <a:pt x="35342" y="175519"/>
                  </a:lnTo>
                  <a:lnTo>
                    <a:pt x="36530" y="175519"/>
                  </a:lnTo>
                  <a:lnTo>
                    <a:pt x="43664" y="175519"/>
                  </a:lnTo>
                  <a:lnTo>
                    <a:pt x="53174" y="176708"/>
                  </a:lnTo>
                  <a:lnTo>
                    <a:pt x="54363" y="176708"/>
                  </a:lnTo>
                  <a:lnTo>
                    <a:pt x="66252" y="175519"/>
                  </a:lnTo>
                  <a:lnTo>
                    <a:pt x="74574" y="180275"/>
                  </a:lnTo>
                  <a:lnTo>
                    <a:pt x="74574" y="181463"/>
                  </a:lnTo>
                  <a:lnTo>
                    <a:pt x="87651" y="208699"/>
                  </a:lnTo>
                  <a:lnTo>
                    <a:pt x="104295" y="221777"/>
                  </a:lnTo>
                  <a:lnTo>
                    <a:pt x="113806" y="226532"/>
                  </a:lnTo>
                  <a:lnTo>
                    <a:pt x="134017" y="214643"/>
                  </a:lnTo>
                  <a:lnTo>
                    <a:pt x="144717" y="218210"/>
                  </a:lnTo>
                  <a:lnTo>
                    <a:pt x="202863" y="245446"/>
                  </a:lnTo>
                  <a:lnTo>
                    <a:pt x="228910" y="250201"/>
                  </a:lnTo>
                  <a:lnTo>
                    <a:pt x="238421" y="237124"/>
                  </a:lnTo>
                  <a:lnTo>
                    <a:pt x="244365" y="219291"/>
                  </a:lnTo>
                  <a:lnTo>
                    <a:pt x="235719" y="205132"/>
                  </a:lnTo>
                  <a:lnTo>
                    <a:pt x="210861" y="181463"/>
                  </a:lnTo>
                  <a:lnTo>
                    <a:pt x="195405" y="149472"/>
                  </a:lnTo>
                  <a:lnTo>
                    <a:pt x="189461" y="134017"/>
                  </a:lnTo>
                  <a:lnTo>
                    <a:pt x="240474" y="84193"/>
                  </a:lnTo>
                  <a:lnTo>
                    <a:pt x="259496" y="65279"/>
                  </a:lnTo>
                  <a:lnTo>
                    <a:pt x="292676" y="52202"/>
                  </a:lnTo>
                  <a:lnTo>
                    <a:pt x="317642" y="21399"/>
                  </a:lnTo>
                  <a:lnTo>
                    <a:pt x="336556" y="0"/>
                  </a:lnTo>
                  <a:lnTo>
                    <a:pt x="337745" y="0"/>
                  </a:lnTo>
                  <a:lnTo>
                    <a:pt x="349633" y="15455"/>
                  </a:lnTo>
                  <a:lnTo>
                    <a:pt x="367466" y="20211"/>
                  </a:lnTo>
                  <a:lnTo>
                    <a:pt x="387677" y="33288"/>
                  </a:lnTo>
                  <a:lnTo>
                    <a:pt x="393621" y="46365"/>
                  </a:lnTo>
                  <a:lnTo>
                    <a:pt x="415021" y="53499"/>
                  </a:lnTo>
                  <a:lnTo>
                    <a:pt x="428098" y="45177"/>
                  </a:lnTo>
                  <a:lnTo>
                    <a:pt x="434042" y="38043"/>
                  </a:lnTo>
                  <a:lnTo>
                    <a:pt x="445931" y="15455"/>
                  </a:lnTo>
                  <a:lnTo>
                    <a:pt x="481489" y="36855"/>
                  </a:lnTo>
                  <a:lnTo>
                    <a:pt x="498133" y="47554"/>
                  </a:lnTo>
                  <a:lnTo>
                    <a:pt x="536068" y="48743"/>
                  </a:lnTo>
                  <a:lnTo>
                    <a:pt x="594214" y="87868"/>
                  </a:lnTo>
                  <a:lnTo>
                    <a:pt x="654738" y="41610"/>
                  </a:lnTo>
                  <a:lnTo>
                    <a:pt x="695051" y="47554"/>
                  </a:lnTo>
                  <a:lnTo>
                    <a:pt x="690296" y="97378"/>
                  </a:lnTo>
                  <a:lnTo>
                    <a:pt x="681974" y="108078"/>
                  </a:lnTo>
                  <a:lnTo>
                    <a:pt x="681974" y="112834"/>
                  </a:lnTo>
                  <a:lnTo>
                    <a:pt x="680785" y="137692"/>
                  </a:lnTo>
                  <a:lnTo>
                    <a:pt x="679596" y="157902"/>
                  </a:lnTo>
                  <a:lnTo>
                    <a:pt x="711587" y="157902"/>
                  </a:lnTo>
                  <a:lnTo>
                    <a:pt x="734176" y="189893"/>
                  </a:lnTo>
                  <a:lnTo>
                    <a:pt x="746064" y="212482"/>
                  </a:lnTo>
                  <a:lnTo>
                    <a:pt x="769842" y="214860"/>
                  </a:lnTo>
                  <a:lnTo>
                    <a:pt x="763897" y="230315"/>
                  </a:lnTo>
                  <a:lnTo>
                    <a:pt x="742498" y="250525"/>
                  </a:lnTo>
                  <a:lnTo>
                    <a:pt x="698618" y="256470"/>
                  </a:lnTo>
                  <a:lnTo>
                    <a:pt x="679704" y="273114"/>
                  </a:lnTo>
                  <a:lnTo>
                    <a:pt x="652469" y="271925"/>
                  </a:lnTo>
                  <a:lnTo>
                    <a:pt x="622855" y="262414"/>
                  </a:lnTo>
                  <a:lnTo>
                    <a:pt x="592053" y="267170"/>
                  </a:lnTo>
                  <a:lnTo>
                    <a:pt x="560062" y="292027"/>
                  </a:lnTo>
                  <a:lnTo>
                    <a:pt x="514993" y="293216"/>
                  </a:lnTo>
                  <a:lnTo>
                    <a:pt x="513804" y="318074"/>
                  </a:lnTo>
                  <a:lnTo>
                    <a:pt x="550551" y="334719"/>
                  </a:lnTo>
                  <a:lnTo>
                    <a:pt x="580164" y="375031"/>
                  </a:lnTo>
                  <a:lnTo>
                    <a:pt x="607400" y="411778"/>
                  </a:lnTo>
                  <a:lnTo>
                    <a:pt x="606211" y="434367"/>
                  </a:lnTo>
                  <a:lnTo>
                    <a:pt x="596700" y="447444"/>
                  </a:lnTo>
                  <a:lnTo>
                    <a:pt x="599078" y="513912"/>
                  </a:lnTo>
                  <a:lnTo>
                    <a:pt x="619289" y="518668"/>
                  </a:lnTo>
                  <a:lnTo>
                    <a:pt x="647713" y="510346"/>
                  </a:lnTo>
                  <a:lnTo>
                    <a:pt x="650091" y="492513"/>
                  </a:lnTo>
                  <a:lnTo>
                    <a:pt x="641769" y="468736"/>
                  </a:lnTo>
                  <a:lnTo>
                    <a:pt x="648902" y="449822"/>
                  </a:lnTo>
                  <a:lnTo>
                    <a:pt x="666735" y="442689"/>
                  </a:lnTo>
                  <a:lnTo>
                    <a:pt x="686946" y="464088"/>
                  </a:lnTo>
                  <a:lnTo>
                    <a:pt x="705967" y="466466"/>
                  </a:lnTo>
                  <a:lnTo>
                    <a:pt x="710723" y="534123"/>
                  </a:lnTo>
                  <a:lnTo>
                    <a:pt x="695268" y="550767"/>
                  </a:lnTo>
                  <a:lnTo>
                    <a:pt x="690512" y="575733"/>
                  </a:lnTo>
                  <a:lnTo>
                    <a:pt x="692890" y="575733"/>
                  </a:lnTo>
                  <a:lnTo>
                    <a:pt x="707156" y="587622"/>
                  </a:lnTo>
                  <a:lnTo>
                    <a:pt x="702401" y="617235"/>
                  </a:lnTo>
                  <a:lnTo>
                    <a:pt x="669221" y="651604"/>
                  </a:lnTo>
                  <a:lnTo>
                    <a:pt x="659710" y="694295"/>
                  </a:lnTo>
                  <a:lnTo>
                    <a:pt x="619397" y="665870"/>
                  </a:lnTo>
                  <a:lnTo>
                    <a:pt x="614641" y="652793"/>
                  </a:lnTo>
                  <a:lnTo>
                    <a:pt x="595619" y="653982"/>
                  </a:lnTo>
                  <a:lnTo>
                    <a:pt x="596808" y="668248"/>
                  </a:lnTo>
                  <a:lnTo>
                    <a:pt x="541040" y="670626"/>
                  </a:lnTo>
                  <a:lnTo>
                    <a:pt x="493594" y="653982"/>
                  </a:lnTo>
                  <a:lnTo>
                    <a:pt x="474572" y="688351"/>
                  </a:lnTo>
                  <a:lnTo>
                    <a:pt x="434259" y="661115"/>
                  </a:lnTo>
                  <a:lnTo>
                    <a:pt x="340555" y="689539"/>
                  </a:lnTo>
                  <a:lnTo>
                    <a:pt x="329855" y="672895"/>
                  </a:lnTo>
                  <a:lnTo>
                    <a:pt x="296675" y="672895"/>
                  </a:lnTo>
                  <a:lnTo>
                    <a:pt x="289542" y="696673"/>
                  </a:lnTo>
                  <a:lnTo>
                    <a:pt x="227829" y="701428"/>
                  </a:lnTo>
                  <a:lnTo>
                    <a:pt x="144825" y="682514"/>
                  </a:lnTo>
                  <a:lnTo>
                    <a:pt x="102134" y="606644"/>
                  </a:lnTo>
                  <a:lnTo>
                    <a:pt x="97378" y="555631"/>
                  </a:lnTo>
                  <a:lnTo>
                    <a:pt x="84301" y="533042"/>
                  </a:lnTo>
                  <a:lnTo>
                    <a:pt x="77168" y="477274"/>
                  </a:lnTo>
                  <a:lnTo>
                    <a:pt x="26155" y="436960"/>
                  </a:lnTo>
                  <a:lnTo>
                    <a:pt x="21399" y="385948"/>
                  </a:lnTo>
                  <a:lnTo>
                    <a:pt x="0" y="365737"/>
                  </a:lnTo>
                  <a:lnTo>
                    <a:pt x="19022" y="351471"/>
                  </a:lnTo>
                  <a:lnTo>
                    <a:pt x="37719" y="34163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6" name="Полилиния: фигура 166"/>
            <p:cNvSpPr/>
            <p:nvPr/>
          </p:nvSpPr>
          <p:spPr bwMode="auto">
            <a:xfrm>
              <a:off x="2861617" y="5175040"/>
              <a:ext cx="296890" cy="340554"/>
            </a:xfrm>
            <a:custGeom>
              <a:avLst/>
              <a:gdLst>
                <a:gd name="connsiteX0" fmla="*/ 112834 w 296890"/>
                <a:gd name="connsiteY0" fmla="*/ 60632 h 340554"/>
                <a:gd name="connsiteX1" fmla="*/ 58254 w 296890"/>
                <a:gd name="connsiteY1" fmla="*/ 53499 h 340554"/>
                <a:gd name="connsiteX2" fmla="*/ 72521 w 296890"/>
                <a:gd name="connsiteY2" fmla="*/ 78357 h 340554"/>
                <a:gd name="connsiteX3" fmla="*/ 83220 w 296890"/>
                <a:gd name="connsiteY3" fmla="*/ 96190 h 340554"/>
                <a:gd name="connsiteX4" fmla="*/ 84409 w 296890"/>
                <a:gd name="connsiteY4" fmla="*/ 131747 h 340554"/>
                <a:gd name="connsiteX5" fmla="*/ 77276 w 296890"/>
                <a:gd name="connsiteY5" fmla="*/ 155417 h 340554"/>
                <a:gd name="connsiteX6" fmla="*/ 76087 w 296890"/>
                <a:gd name="connsiteY6" fmla="*/ 182652 h 340554"/>
                <a:gd name="connsiteX7" fmla="*/ 65387 w 296890"/>
                <a:gd name="connsiteY7" fmla="*/ 205241 h 340554"/>
                <a:gd name="connsiteX8" fmla="*/ 43988 w 296890"/>
                <a:gd name="connsiteY8" fmla="*/ 224155 h 340554"/>
                <a:gd name="connsiteX9" fmla="*/ 22588 w 296890"/>
                <a:gd name="connsiteY9" fmla="*/ 232477 h 340554"/>
                <a:gd name="connsiteX10" fmla="*/ 4755 w 296890"/>
                <a:gd name="connsiteY10" fmla="*/ 236043 h 340554"/>
                <a:gd name="connsiteX11" fmla="*/ 0 w 296890"/>
                <a:gd name="connsiteY11" fmla="*/ 246743 h 340554"/>
                <a:gd name="connsiteX12" fmla="*/ 0 w 296890"/>
                <a:gd name="connsiteY12" fmla="*/ 255065 h 340554"/>
                <a:gd name="connsiteX13" fmla="*/ 14266 w 296890"/>
                <a:gd name="connsiteY13" fmla="*/ 246743 h 340554"/>
                <a:gd name="connsiteX14" fmla="*/ 27344 w 296890"/>
                <a:gd name="connsiteY14" fmla="*/ 246743 h 340554"/>
                <a:gd name="connsiteX15" fmla="*/ 34477 w 296890"/>
                <a:gd name="connsiteY15" fmla="*/ 250309 h 340554"/>
                <a:gd name="connsiteX16" fmla="*/ 36855 w 296890"/>
                <a:gd name="connsiteY16" fmla="*/ 258632 h 340554"/>
                <a:gd name="connsiteX17" fmla="*/ 7241 w 296890"/>
                <a:gd name="connsiteY17" fmla="*/ 280031 h 340554"/>
                <a:gd name="connsiteX18" fmla="*/ 29830 w 296890"/>
                <a:gd name="connsiteY18" fmla="*/ 287164 h 340554"/>
                <a:gd name="connsiteX19" fmla="*/ 46474 w 296890"/>
                <a:gd name="connsiteY19" fmla="*/ 272898 h 340554"/>
                <a:gd name="connsiteX20" fmla="*/ 59551 w 296890"/>
                <a:gd name="connsiteY20" fmla="*/ 287164 h 340554"/>
                <a:gd name="connsiteX21" fmla="*/ 78573 w 296890"/>
                <a:gd name="connsiteY21" fmla="*/ 312022 h 340554"/>
                <a:gd name="connsiteX22" fmla="*/ 126019 w 296890"/>
                <a:gd name="connsiteY22" fmla="*/ 316777 h 340554"/>
                <a:gd name="connsiteX23" fmla="*/ 150877 w 296890"/>
                <a:gd name="connsiteY23" fmla="*/ 340555 h 340554"/>
                <a:gd name="connsiteX24" fmla="*/ 172277 w 296890"/>
                <a:gd name="connsiteY24" fmla="*/ 323911 h 340554"/>
                <a:gd name="connsiteX25" fmla="*/ 238745 w 296890"/>
                <a:gd name="connsiteY25" fmla="*/ 325100 h 340554"/>
                <a:gd name="connsiteX26" fmla="*/ 263603 w 296890"/>
                <a:gd name="connsiteY26" fmla="*/ 323911 h 340554"/>
                <a:gd name="connsiteX27" fmla="*/ 281436 w 296890"/>
                <a:gd name="connsiteY27" fmla="*/ 291920 h 340554"/>
                <a:gd name="connsiteX28" fmla="*/ 287380 w 296890"/>
                <a:gd name="connsiteY28" fmla="*/ 263387 h 340554"/>
                <a:gd name="connsiteX29" fmla="*/ 296891 w 296890"/>
                <a:gd name="connsiteY29" fmla="*/ 246743 h 340554"/>
                <a:gd name="connsiteX30" fmla="*/ 290947 w 296890"/>
                <a:gd name="connsiteY30" fmla="*/ 226532 h 340554"/>
                <a:gd name="connsiteX31" fmla="*/ 250633 w 296890"/>
                <a:gd name="connsiteY31" fmla="*/ 226532 h 340554"/>
                <a:gd name="connsiteX32" fmla="*/ 222101 w 296890"/>
                <a:gd name="connsiteY32" fmla="*/ 209888 h 340554"/>
                <a:gd name="connsiteX33" fmla="*/ 222101 w 296890"/>
                <a:gd name="connsiteY33" fmla="*/ 186111 h 340554"/>
                <a:gd name="connsiteX34" fmla="*/ 185354 w 296890"/>
                <a:gd name="connsiteY34" fmla="*/ 181355 h 340554"/>
                <a:gd name="connsiteX35" fmla="*/ 188921 w 296890"/>
                <a:gd name="connsiteY35" fmla="*/ 155308 h 340554"/>
                <a:gd name="connsiteX36" fmla="*/ 211509 w 296890"/>
                <a:gd name="connsiteY36" fmla="*/ 137584 h 340554"/>
                <a:gd name="connsiteX37" fmla="*/ 211509 w 296890"/>
                <a:gd name="connsiteY37" fmla="*/ 110348 h 340554"/>
                <a:gd name="connsiteX38" fmla="*/ 185462 w 296890"/>
                <a:gd name="connsiteY38" fmla="*/ 87760 h 340554"/>
                <a:gd name="connsiteX39" fmla="*/ 184273 w 296890"/>
                <a:gd name="connsiteY39" fmla="*/ 37936 h 340554"/>
                <a:gd name="connsiteX40" fmla="*/ 147527 w 296890"/>
                <a:gd name="connsiteY40" fmla="*/ 0 h 340554"/>
                <a:gd name="connsiteX41" fmla="*/ 116725 w 296890"/>
                <a:gd name="connsiteY41" fmla="*/ 22588 h 340554"/>
                <a:gd name="connsiteX42" fmla="*/ 112834 w 296890"/>
                <a:gd name="connsiteY42" fmla="*/ 60632 h 34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6890" h="340554" extrusionOk="0">
                  <a:moveTo>
                    <a:pt x="112834" y="60632"/>
                  </a:moveTo>
                  <a:lnTo>
                    <a:pt x="58254" y="53499"/>
                  </a:lnTo>
                  <a:lnTo>
                    <a:pt x="72521" y="78357"/>
                  </a:lnTo>
                  <a:lnTo>
                    <a:pt x="83220" y="96190"/>
                  </a:lnTo>
                  <a:lnTo>
                    <a:pt x="84409" y="131747"/>
                  </a:lnTo>
                  <a:lnTo>
                    <a:pt x="77276" y="155417"/>
                  </a:lnTo>
                  <a:lnTo>
                    <a:pt x="76087" y="182652"/>
                  </a:lnTo>
                  <a:lnTo>
                    <a:pt x="65387" y="205241"/>
                  </a:lnTo>
                  <a:lnTo>
                    <a:pt x="43988" y="224155"/>
                  </a:lnTo>
                  <a:lnTo>
                    <a:pt x="22588" y="232477"/>
                  </a:lnTo>
                  <a:lnTo>
                    <a:pt x="4755" y="236043"/>
                  </a:lnTo>
                  <a:lnTo>
                    <a:pt x="0" y="246743"/>
                  </a:lnTo>
                  <a:lnTo>
                    <a:pt x="0" y="255065"/>
                  </a:lnTo>
                  <a:lnTo>
                    <a:pt x="14266" y="246743"/>
                  </a:lnTo>
                  <a:lnTo>
                    <a:pt x="27344" y="246743"/>
                  </a:lnTo>
                  <a:lnTo>
                    <a:pt x="34477" y="250309"/>
                  </a:lnTo>
                  <a:lnTo>
                    <a:pt x="36855" y="258632"/>
                  </a:lnTo>
                  <a:lnTo>
                    <a:pt x="7241" y="280031"/>
                  </a:lnTo>
                  <a:lnTo>
                    <a:pt x="29830" y="287164"/>
                  </a:lnTo>
                  <a:lnTo>
                    <a:pt x="46474" y="272898"/>
                  </a:lnTo>
                  <a:lnTo>
                    <a:pt x="59551" y="287164"/>
                  </a:lnTo>
                  <a:lnTo>
                    <a:pt x="78573" y="312022"/>
                  </a:lnTo>
                  <a:lnTo>
                    <a:pt x="126019" y="316777"/>
                  </a:lnTo>
                  <a:lnTo>
                    <a:pt x="150877" y="340555"/>
                  </a:lnTo>
                  <a:lnTo>
                    <a:pt x="172277" y="323911"/>
                  </a:lnTo>
                  <a:lnTo>
                    <a:pt x="238745" y="325100"/>
                  </a:lnTo>
                  <a:lnTo>
                    <a:pt x="263603" y="323911"/>
                  </a:lnTo>
                  <a:lnTo>
                    <a:pt x="281436" y="291920"/>
                  </a:lnTo>
                  <a:lnTo>
                    <a:pt x="287380" y="263387"/>
                  </a:lnTo>
                  <a:lnTo>
                    <a:pt x="296891" y="246743"/>
                  </a:lnTo>
                  <a:lnTo>
                    <a:pt x="290947" y="226532"/>
                  </a:lnTo>
                  <a:lnTo>
                    <a:pt x="250633" y="226532"/>
                  </a:lnTo>
                  <a:lnTo>
                    <a:pt x="222101" y="209888"/>
                  </a:lnTo>
                  <a:lnTo>
                    <a:pt x="222101" y="186111"/>
                  </a:lnTo>
                  <a:lnTo>
                    <a:pt x="185354" y="181355"/>
                  </a:lnTo>
                  <a:lnTo>
                    <a:pt x="188921" y="155308"/>
                  </a:lnTo>
                  <a:lnTo>
                    <a:pt x="211509" y="137584"/>
                  </a:lnTo>
                  <a:lnTo>
                    <a:pt x="211509" y="110348"/>
                  </a:lnTo>
                  <a:lnTo>
                    <a:pt x="185462" y="87760"/>
                  </a:lnTo>
                  <a:lnTo>
                    <a:pt x="184273" y="37936"/>
                  </a:lnTo>
                  <a:lnTo>
                    <a:pt x="147527" y="0"/>
                  </a:lnTo>
                  <a:lnTo>
                    <a:pt x="116725" y="22588"/>
                  </a:lnTo>
                  <a:lnTo>
                    <a:pt x="112834" y="6063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7" name="Полилиния: фигура 167"/>
            <p:cNvSpPr/>
            <p:nvPr/>
          </p:nvSpPr>
          <p:spPr bwMode="auto">
            <a:xfrm>
              <a:off x="3191580" y="5297276"/>
              <a:ext cx="221884" cy="246850"/>
            </a:xfrm>
            <a:custGeom>
              <a:avLst/>
              <a:gdLst>
                <a:gd name="connsiteX0" fmla="*/ 0 w 221884"/>
                <a:gd name="connsiteY0" fmla="*/ 43988 h 246850"/>
                <a:gd name="connsiteX1" fmla="*/ 36747 w 221884"/>
                <a:gd name="connsiteY1" fmla="*/ 70035 h 246850"/>
                <a:gd name="connsiteX2" fmla="*/ 53391 w 221884"/>
                <a:gd name="connsiteY2" fmla="*/ 79546 h 246850"/>
                <a:gd name="connsiteX3" fmla="*/ 54579 w 221884"/>
                <a:gd name="connsiteY3" fmla="*/ 106781 h 246850"/>
                <a:gd name="connsiteX4" fmla="*/ 96082 w 221884"/>
                <a:gd name="connsiteY4" fmla="*/ 110348 h 246850"/>
                <a:gd name="connsiteX5" fmla="*/ 98459 w 221884"/>
                <a:gd name="connsiteY5" fmla="*/ 135206 h 246850"/>
                <a:gd name="connsiteX6" fmla="*/ 109159 w 221884"/>
                <a:gd name="connsiteY6" fmla="*/ 155417 h 246850"/>
                <a:gd name="connsiteX7" fmla="*/ 93704 w 221884"/>
                <a:gd name="connsiteY7" fmla="*/ 175627 h 246850"/>
                <a:gd name="connsiteX8" fmla="*/ 91326 w 221884"/>
                <a:gd name="connsiteY8" fmla="*/ 200593 h 246850"/>
                <a:gd name="connsiteX9" fmla="*/ 125695 w 221884"/>
                <a:gd name="connsiteY9" fmla="*/ 246851 h 246850"/>
                <a:gd name="connsiteX10" fmla="*/ 130450 w 221884"/>
                <a:gd name="connsiteY10" fmla="*/ 233773 h 246850"/>
                <a:gd name="connsiteX11" fmla="*/ 144717 w 221884"/>
                <a:gd name="connsiteY11" fmla="*/ 223074 h 246850"/>
                <a:gd name="connsiteX12" fmla="*/ 158983 w 221884"/>
                <a:gd name="connsiteY12" fmla="*/ 220696 h 246850"/>
                <a:gd name="connsiteX13" fmla="*/ 170872 w 221884"/>
                <a:gd name="connsiteY13" fmla="*/ 230207 h 246850"/>
                <a:gd name="connsiteX14" fmla="*/ 187516 w 221884"/>
                <a:gd name="connsiteY14" fmla="*/ 215941 h 246850"/>
                <a:gd name="connsiteX15" fmla="*/ 221885 w 221884"/>
                <a:gd name="connsiteY15" fmla="*/ 192271 h 246850"/>
                <a:gd name="connsiteX16" fmla="*/ 202971 w 221884"/>
                <a:gd name="connsiteY16" fmla="*/ 166224 h 246850"/>
                <a:gd name="connsiteX17" fmla="*/ 198216 w 221884"/>
                <a:gd name="connsiteY17" fmla="*/ 147203 h 246850"/>
                <a:gd name="connsiteX18" fmla="*/ 206538 w 221884"/>
                <a:gd name="connsiteY18" fmla="*/ 124614 h 246850"/>
                <a:gd name="connsiteX19" fmla="*/ 208915 w 221884"/>
                <a:gd name="connsiteY19" fmla="*/ 103215 h 246850"/>
                <a:gd name="connsiteX20" fmla="*/ 199404 w 221884"/>
                <a:gd name="connsiteY20" fmla="*/ 96082 h 246850"/>
                <a:gd name="connsiteX21" fmla="*/ 169791 w 221884"/>
                <a:gd name="connsiteY21" fmla="*/ 91326 h 246850"/>
                <a:gd name="connsiteX22" fmla="*/ 151958 w 221884"/>
                <a:gd name="connsiteY22" fmla="*/ 81815 h 246850"/>
                <a:gd name="connsiteX23" fmla="*/ 127100 w 221884"/>
                <a:gd name="connsiteY23" fmla="*/ 51013 h 246850"/>
                <a:gd name="connsiteX24" fmla="*/ 112834 w 221884"/>
                <a:gd name="connsiteY24" fmla="*/ 26155 h 246850"/>
                <a:gd name="connsiteX25" fmla="*/ 108078 w 221884"/>
                <a:gd name="connsiteY25" fmla="*/ 5945 h 246850"/>
                <a:gd name="connsiteX26" fmla="*/ 54688 w 221884"/>
                <a:gd name="connsiteY26" fmla="*/ 0 h 246850"/>
                <a:gd name="connsiteX27" fmla="*/ 21508 w 221884"/>
                <a:gd name="connsiteY27" fmla="*/ 5945 h 246850"/>
                <a:gd name="connsiteX28" fmla="*/ 0 w 221884"/>
                <a:gd name="connsiteY28" fmla="*/ 43988 h 24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1884" h="246850" extrusionOk="0">
                  <a:moveTo>
                    <a:pt x="0" y="43988"/>
                  </a:moveTo>
                  <a:lnTo>
                    <a:pt x="36747" y="70035"/>
                  </a:lnTo>
                  <a:lnTo>
                    <a:pt x="53391" y="79546"/>
                  </a:lnTo>
                  <a:lnTo>
                    <a:pt x="54579" y="106781"/>
                  </a:lnTo>
                  <a:lnTo>
                    <a:pt x="96082" y="110348"/>
                  </a:lnTo>
                  <a:lnTo>
                    <a:pt x="98459" y="135206"/>
                  </a:lnTo>
                  <a:lnTo>
                    <a:pt x="109159" y="155417"/>
                  </a:lnTo>
                  <a:lnTo>
                    <a:pt x="93704" y="175627"/>
                  </a:lnTo>
                  <a:lnTo>
                    <a:pt x="91326" y="200593"/>
                  </a:lnTo>
                  <a:lnTo>
                    <a:pt x="125695" y="246851"/>
                  </a:lnTo>
                  <a:lnTo>
                    <a:pt x="130450" y="233773"/>
                  </a:lnTo>
                  <a:lnTo>
                    <a:pt x="144717" y="223074"/>
                  </a:lnTo>
                  <a:lnTo>
                    <a:pt x="158983" y="220696"/>
                  </a:lnTo>
                  <a:lnTo>
                    <a:pt x="170872" y="230207"/>
                  </a:lnTo>
                  <a:lnTo>
                    <a:pt x="187516" y="215941"/>
                  </a:lnTo>
                  <a:lnTo>
                    <a:pt x="221885" y="192271"/>
                  </a:lnTo>
                  <a:lnTo>
                    <a:pt x="202971" y="166224"/>
                  </a:lnTo>
                  <a:lnTo>
                    <a:pt x="198216" y="147203"/>
                  </a:lnTo>
                  <a:lnTo>
                    <a:pt x="206538" y="124614"/>
                  </a:lnTo>
                  <a:lnTo>
                    <a:pt x="208915" y="103215"/>
                  </a:lnTo>
                  <a:lnTo>
                    <a:pt x="199404" y="96082"/>
                  </a:lnTo>
                  <a:lnTo>
                    <a:pt x="169791" y="91326"/>
                  </a:lnTo>
                  <a:lnTo>
                    <a:pt x="151958" y="81815"/>
                  </a:lnTo>
                  <a:lnTo>
                    <a:pt x="127100" y="51013"/>
                  </a:lnTo>
                  <a:lnTo>
                    <a:pt x="112834" y="26155"/>
                  </a:lnTo>
                  <a:lnTo>
                    <a:pt x="108078" y="5945"/>
                  </a:lnTo>
                  <a:lnTo>
                    <a:pt x="54688" y="0"/>
                  </a:lnTo>
                  <a:lnTo>
                    <a:pt x="21508" y="5945"/>
                  </a:lnTo>
                  <a:lnTo>
                    <a:pt x="0" y="43988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8" name="Полилиния: фигура 168"/>
            <p:cNvSpPr/>
            <p:nvPr/>
          </p:nvSpPr>
          <p:spPr bwMode="auto">
            <a:xfrm>
              <a:off x="2764347" y="5446856"/>
              <a:ext cx="264467" cy="275383"/>
            </a:xfrm>
            <a:custGeom>
              <a:avLst/>
              <a:gdLst>
                <a:gd name="connsiteX0" fmla="*/ 105701 w 264467"/>
                <a:gd name="connsiteY0" fmla="*/ 7133 h 275383"/>
                <a:gd name="connsiteX1" fmla="*/ 86679 w 264467"/>
                <a:gd name="connsiteY1" fmla="*/ 19022 h 275383"/>
                <a:gd name="connsiteX2" fmla="*/ 63010 w 264467"/>
                <a:gd name="connsiteY2" fmla="*/ 28533 h 275383"/>
                <a:gd name="connsiteX3" fmla="*/ 53499 w 264467"/>
                <a:gd name="connsiteY3" fmla="*/ 36855 h 275383"/>
                <a:gd name="connsiteX4" fmla="*/ 55876 w 264467"/>
                <a:gd name="connsiteY4" fmla="*/ 61713 h 275383"/>
                <a:gd name="connsiteX5" fmla="*/ 55876 w 264467"/>
                <a:gd name="connsiteY5" fmla="*/ 88949 h 275383"/>
                <a:gd name="connsiteX6" fmla="*/ 48743 w 264467"/>
                <a:gd name="connsiteY6" fmla="*/ 110348 h 275383"/>
                <a:gd name="connsiteX7" fmla="*/ 36855 w 264467"/>
                <a:gd name="connsiteY7" fmla="*/ 125803 h 275383"/>
                <a:gd name="connsiteX8" fmla="*/ 20211 w 264467"/>
                <a:gd name="connsiteY8" fmla="*/ 131747 h 275383"/>
                <a:gd name="connsiteX9" fmla="*/ 3567 w 264467"/>
                <a:gd name="connsiteY9" fmla="*/ 132937 h 275383"/>
                <a:gd name="connsiteX10" fmla="*/ 0 w 264467"/>
                <a:gd name="connsiteY10" fmla="*/ 140070 h 275383"/>
                <a:gd name="connsiteX11" fmla="*/ 16644 w 264467"/>
                <a:gd name="connsiteY11" fmla="*/ 157903 h 275383"/>
                <a:gd name="connsiteX12" fmla="*/ 51013 w 264467"/>
                <a:gd name="connsiteY12" fmla="*/ 179302 h 275383"/>
                <a:gd name="connsiteX13" fmla="*/ 75871 w 264467"/>
                <a:gd name="connsiteY13" fmla="*/ 181680 h 275383"/>
                <a:gd name="connsiteX14" fmla="*/ 91326 w 264467"/>
                <a:gd name="connsiteY14" fmla="*/ 185246 h 275383"/>
                <a:gd name="connsiteX15" fmla="*/ 105592 w 264467"/>
                <a:gd name="connsiteY15" fmla="*/ 194757 h 275383"/>
                <a:gd name="connsiteX16" fmla="*/ 145906 w 264467"/>
                <a:gd name="connsiteY16" fmla="*/ 243393 h 275383"/>
                <a:gd name="connsiteX17" fmla="*/ 169575 w 264467"/>
                <a:gd name="connsiteY17" fmla="*/ 275384 h 275383"/>
                <a:gd name="connsiteX18" fmla="*/ 200377 w 264467"/>
                <a:gd name="connsiteY18" fmla="*/ 259929 h 275383"/>
                <a:gd name="connsiteX19" fmla="*/ 207510 w 264467"/>
                <a:gd name="connsiteY19" fmla="*/ 253984 h 275383"/>
                <a:gd name="connsiteX20" fmla="*/ 208699 w 264467"/>
                <a:gd name="connsiteY20" fmla="*/ 219615 h 275383"/>
                <a:gd name="connsiteX21" fmla="*/ 234746 w 264467"/>
                <a:gd name="connsiteY21" fmla="*/ 205349 h 275383"/>
                <a:gd name="connsiteX22" fmla="*/ 246635 w 264467"/>
                <a:gd name="connsiteY22" fmla="*/ 182760 h 275383"/>
                <a:gd name="connsiteX23" fmla="*/ 264468 w 264467"/>
                <a:gd name="connsiteY23" fmla="*/ 175627 h 275383"/>
                <a:gd name="connsiteX24" fmla="*/ 252579 w 264467"/>
                <a:gd name="connsiteY24" fmla="*/ 158983 h 275383"/>
                <a:gd name="connsiteX25" fmla="*/ 247824 w 264467"/>
                <a:gd name="connsiteY25" fmla="*/ 122237 h 275383"/>
                <a:gd name="connsiteX26" fmla="*/ 215832 w 264467"/>
                <a:gd name="connsiteY26" fmla="*/ 102026 h 275383"/>
                <a:gd name="connsiteX27" fmla="*/ 215832 w 264467"/>
                <a:gd name="connsiteY27" fmla="*/ 84193 h 275383"/>
                <a:gd name="connsiteX28" fmla="*/ 247824 w 264467"/>
                <a:gd name="connsiteY28" fmla="*/ 68738 h 275383"/>
                <a:gd name="connsiteX29" fmla="*/ 221777 w 264467"/>
                <a:gd name="connsiteY29" fmla="*/ 42691 h 275383"/>
                <a:gd name="connsiteX30" fmla="*/ 174330 w 264467"/>
                <a:gd name="connsiteY30" fmla="*/ 39125 h 275383"/>
                <a:gd name="connsiteX31" fmla="*/ 155308 w 264467"/>
                <a:gd name="connsiteY31" fmla="*/ 14266 h 275383"/>
                <a:gd name="connsiteX32" fmla="*/ 143420 w 264467"/>
                <a:gd name="connsiteY32" fmla="*/ 0 h 275383"/>
                <a:gd name="connsiteX33" fmla="*/ 125587 w 264467"/>
                <a:gd name="connsiteY33" fmla="*/ 15455 h 275383"/>
                <a:gd name="connsiteX34" fmla="*/ 105701 w 264467"/>
                <a:gd name="connsiteY34" fmla="*/ 7133 h 275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4467" h="275383" extrusionOk="0">
                  <a:moveTo>
                    <a:pt x="105701" y="7133"/>
                  </a:moveTo>
                  <a:lnTo>
                    <a:pt x="86679" y="19022"/>
                  </a:lnTo>
                  <a:lnTo>
                    <a:pt x="63010" y="28533"/>
                  </a:lnTo>
                  <a:lnTo>
                    <a:pt x="53499" y="36855"/>
                  </a:lnTo>
                  <a:lnTo>
                    <a:pt x="55876" y="61713"/>
                  </a:lnTo>
                  <a:lnTo>
                    <a:pt x="55876" y="88949"/>
                  </a:lnTo>
                  <a:lnTo>
                    <a:pt x="48743" y="110348"/>
                  </a:lnTo>
                  <a:lnTo>
                    <a:pt x="36855" y="125803"/>
                  </a:lnTo>
                  <a:lnTo>
                    <a:pt x="20211" y="131747"/>
                  </a:lnTo>
                  <a:lnTo>
                    <a:pt x="3567" y="132937"/>
                  </a:lnTo>
                  <a:lnTo>
                    <a:pt x="0" y="140070"/>
                  </a:lnTo>
                  <a:lnTo>
                    <a:pt x="16644" y="157903"/>
                  </a:lnTo>
                  <a:lnTo>
                    <a:pt x="51013" y="179302"/>
                  </a:lnTo>
                  <a:lnTo>
                    <a:pt x="75871" y="181680"/>
                  </a:lnTo>
                  <a:lnTo>
                    <a:pt x="91326" y="185246"/>
                  </a:lnTo>
                  <a:lnTo>
                    <a:pt x="105592" y="194757"/>
                  </a:lnTo>
                  <a:lnTo>
                    <a:pt x="145906" y="243393"/>
                  </a:lnTo>
                  <a:lnTo>
                    <a:pt x="169575" y="275384"/>
                  </a:lnTo>
                  <a:lnTo>
                    <a:pt x="200377" y="259929"/>
                  </a:lnTo>
                  <a:lnTo>
                    <a:pt x="207510" y="253984"/>
                  </a:lnTo>
                  <a:lnTo>
                    <a:pt x="208699" y="219615"/>
                  </a:lnTo>
                  <a:lnTo>
                    <a:pt x="234746" y="205349"/>
                  </a:lnTo>
                  <a:lnTo>
                    <a:pt x="246635" y="182760"/>
                  </a:lnTo>
                  <a:lnTo>
                    <a:pt x="264468" y="175627"/>
                  </a:lnTo>
                  <a:lnTo>
                    <a:pt x="252579" y="158983"/>
                  </a:lnTo>
                  <a:lnTo>
                    <a:pt x="247824" y="122237"/>
                  </a:lnTo>
                  <a:lnTo>
                    <a:pt x="215832" y="102026"/>
                  </a:lnTo>
                  <a:lnTo>
                    <a:pt x="215832" y="84193"/>
                  </a:lnTo>
                  <a:lnTo>
                    <a:pt x="247824" y="68738"/>
                  </a:lnTo>
                  <a:lnTo>
                    <a:pt x="221777" y="42691"/>
                  </a:lnTo>
                  <a:lnTo>
                    <a:pt x="174330" y="39125"/>
                  </a:lnTo>
                  <a:lnTo>
                    <a:pt x="155308" y="14266"/>
                  </a:lnTo>
                  <a:lnTo>
                    <a:pt x="143420" y="0"/>
                  </a:lnTo>
                  <a:lnTo>
                    <a:pt x="125587" y="15455"/>
                  </a:lnTo>
                  <a:lnTo>
                    <a:pt x="105701" y="7133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9" name="Полилиния: фигура 169"/>
            <p:cNvSpPr/>
            <p:nvPr/>
          </p:nvSpPr>
          <p:spPr bwMode="auto">
            <a:xfrm>
              <a:off x="2972072" y="5621295"/>
              <a:ext cx="95000" cy="109159"/>
            </a:xfrm>
            <a:custGeom>
              <a:avLst/>
              <a:gdLst>
                <a:gd name="connsiteX0" fmla="*/ 0 w 95000"/>
                <a:gd name="connsiteY0" fmla="*/ 80626 h 109159"/>
                <a:gd name="connsiteX1" fmla="*/ 19022 w 95000"/>
                <a:gd name="connsiteY1" fmla="*/ 78249 h 109159"/>
                <a:gd name="connsiteX2" fmla="*/ 30910 w 95000"/>
                <a:gd name="connsiteY2" fmla="*/ 81815 h 109159"/>
                <a:gd name="connsiteX3" fmla="*/ 64090 w 95000"/>
                <a:gd name="connsiteY3" fmla="*/ 97270 h 109159"/>
                <a:gd name="connsiteX4" fmla="*/ 87868 w 95000"/>
                <a:gd name="connsiteY4" fmla="*/ 109159 h 109159"/>
                <a:gd name="connsiteX5" fmla="*/ 95001 w 95000"/>
                <a:gd name="connsiteY5" fmla="*/ 91326 h 109159"/>
                <a:gd name="connsiteX6" fmla="*/ 95001 w 95000"/>
                <a:gd name="connsiteY6" fmla="*/ 58146 h 109159"/>
                <a:gd name="connsiteX7" fmla="*/ 84301 w 95000"/>
                <a:gd name="connsiteY7" fmla="*/ 33180 h 109159"/>
                <a:gd name="connsiteX8" fmla="*/ 75979 w 95000"/>
                <a:gd name="connsiteY8" fmla="*/ 5944 h 109159"/>
                <a:gd name="connsiteX9" fmla="*/ 55768 w 95000"/>
                <a:gd name="connsiteY9" fmla="*/ 0 h 109159"/>
                <a:gd name="connsiteX10" fmla="*/ 37936 w 95000"/>
                <a:gd name="connsiteY10" fmla="*/ 7133 h 109159"/>
                <a:gd name="connsiteX11" fmla="*/ 27236 w 95000"/>
                <a:gd name="connsiteY11" fmla="*/ 30910 h 109159"/>
                <a:gd name="connsiteX12" fmla="*/ 2378 w 95000"/>
                <a:gd name="connsiteY12" fmla="*/ 43988 h 109159"/>
                <a:gd name="connsiteX13" fmla="*/ 0 w 95000"/>
                <a:gd name="connsiteY13" fmla="*/ 80626 h 109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000" h="109159" extrusionOk="0">
                  <a:moveTo>
                    <a:pt x="0" y="80626"/>
                  </a:moveTo>
                  <a:lnTo>
                    <a:pt x="19022" y="78249"/>
                  </a:lnTo>
                  <a:lnTo>
                    <a:pt x="30910" y="81815"/>
                  </a:lnTo>
                  <a:lnTo>
                    <a:pt x="64090" y="97270"/>
                  </a:lnTo>
                  <a:lnTo>
                    <a:pt x="87868" y="109159"/>
                  </a:lnTo>
                  <a:lnTo>
                    <a:pt x="95001" y="91326"/>
                  </a:lnTo>
                  <a:lnTo>
                    <a:pt x="95001" y="58146"/>
                  </a:lnTo>
                  <a:lnTo>
                    <a:pt x="84301" y="33180"/>
                  </a:lnTo>
                  <a:lnTo>
                    <a:pt x="75979" y="5944"/>
                  </a:lnTo>
                  <a:lnTo>
                    <a:pt x="55768" y="0"/>
                  </a:lnTo>
                  <a:lnTo>
                    <a:pt x="37936" y="7133"/>
                  </a:lnTo>
                  <a:lnTo>
                    <a:pt x="27236" y="30910"/>
                  </a:lnTo>
                  <a:lnTo>
                    <a:pt x="2378" y="43988"/>
                  </a:lnTo>
                  <a:lnTo>
                    <a:pt x="0" y="80626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0" name="Полилиния: фигура 170"/>
            <p:cNvSpPr/>
            <p:nvPr/>
          </p:nvSpPr>
          <p:spPr bwMode="auto">
            <a:xfrm>
              <a:off x="2977909" y="5497653"/>
              <a:ext cx="247715" cy="190001"/>
            </a:xfrm>
            <a:custGeom>
              <a:avLst/>
              <a:gdLst>
                <a:gd name="connsiteX0" fmla="*/ 140069 w 247715"/>
                <a:gd name="connsiteY0" fmla="*/ 175735 h 190001"/>
                <a:gd name="connsiteX1" fmla="*/ 89057 w 247715"/>
                <a:gd name="connsiteY1" fmla="*/ 180491 h 190001"/>
                <a:gd name="connsiteX2" fmla="*/ 78357 w 247715"/>
                <a:gd name="connsiteY2" fmla="*/ 156714 h 190001"/>
                <a:gd name="connsiteX3" fmla="*/ 68846 w 247715"/>
                <a:gd name="connsiteY3" fmla="*/ 128289 h 190001"/>
                <a:gd name="connsiteX4" fmla="*/ 49824 w 247715"/>
                <a:gd name="connsiteY4" fmla="*/ 121156 h 190001"/>
                <a:gd name="connsiteX5" fmla="*/ 39124 w 247715"/>
                <a:gd name="connsiteY5" fmla="*/ 108078 h 190001"/>
                <a:gd name="connsiteX6" fmla="*/ 33180 w 247715"/>
                <a:gd name="connsiteY6" fmla="*/ 72520 h 190001"/>
                <a:gd name="connsiteX7" fmla="*/ 0 w 247715"/>
                <a:gd name="connsiteY7" fmla="*/ 51121 h 190001"/>
                <a:gd name="connsiteX8" fmla="*/ 2378 w 247715"/>
                <a:gd name="connsiteY8" fmla="*/ 30911 h 190001"/>
                <a:gd name="connsiteX9" fmla="*/ 33180 w 247715"/>
                <a:gd name="connsiteY9" fmla="*/ 16644 h 190001"/>
                <a:gd name="connsiteX10" fmla="*/ 58038 w 247715"/>
                <a:gd name="connsiteY10" fmla="*/ 0 h 190001"/>
                <a:gd name="connsiteX11" fmla="*/ 148175 w 247715"/>
                <a:gd name="connsiteY11" fmla="*/ 1189 h 190001"/>
                <a:gd name="connsiteX12" fmla="*/ 167089 w 247715"/>
                <a:gd name="connsiteY12" fmla="*/ 29722 h 190001"/>
                <a:gd name="connsiteX13" fmla="*/ 210969 w 247715"/>
                <a:gd name="connsiteY13" fmla="*/ 49932 h 190001"/>
                <a:gd name="connsiteX14" fmla="*/ 244149 w 247715"/>
                <a:gd name="connsiteY14" fmla="*/ 91434 h 190001"/>
                <a:gd name="connsiteX15" fmla="*/ 239393 w 247715"/>
                <a:gd name="connsiteY15" fmla="*/ 116292 h 190001"/>
                <a:gd name="connsiteX16" fmla="*/ 239393 w 247715"/>
                <a:gd name="connsiteY16" fmla="*/ 117481 h 190001"/>
                <a:gd name="connsiteX17" fmla="*/ 231071 w 247715"/>
                <a:gd name="connsiteY17" fmla="*/ 123426 h 190001"/>
                <a:gd name="connsiteX18" fmla="*/ 231071 w 247715"/>
                <a:gd name="connsiteY18" fmla="*/ 142555 h 190001"/>
                <a:gd name="connsiteX19" fmla="*/ 247716 w 247715"/>
                <a:gd name="connsiteY19" fmla="*/ 170980 h 190001"/>
                <a:gd name="connsiteX20" fmla="*/ 207402 w 247715"/>
                <a:gd name="connsiteY20" fmla="*/ 190002 h 190001"/>
                <a:gd name="connsiteX21" fmla="*/ 181355 w 247715"/>
                <a:gd name="connsiteY21" fmla="*/ 181680 h 190001"/>
                <a:gd name="connsiteX22" fmla="*/ 167089 w 247715"/>
                <a:gd name="connsiteY22" fmla="*/ 157903 h 190001"/>
                <a:gd name="connsiteX23" fmla="*/ 140069 w 247715"/>
                <a:gd name="connsiteY23" fmla="*/ 175735 h 19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7715" h="190001" extrusionOk="0">
                  <a:moveTo>
                    <a:pt x="140069" y="175735"/>
                  </a:moveTo>
                  <a:lnTo>
                    <a:pt x="89057" y="180491"/>
                  </a:lnTo>
                  <a:lnTo>
                    <a:pt x="78357" y="156714"/>
                  </a:lnTo>
                  <a:lnTo>
                    <a:pt x="68846" y="128289"/>
                  </a:lnTo>
                  <a:lnTo>
                    <a:pt x="49824" y="121156"/>
                  </a:lnTo>
                  <a:lnTo>
                    <a:pt x="39124" y="108078"/>
                  </a:lnTo>
                  <a:lnTo>
                    <a:pt x="33180" y="72520"/>
                  </a:lnTo>
                  <a:lnTo>
                    <a:pt x="0" y="51121"/>
                  </a:lnTo>
                  <a:lnTo>
                    <a:pt x="2378" y="30911"/>
                  </a:lnTo>
                  <a:lnTo>
                    <a:pt x="33180" y="16644"/>
                  </a:lnTo>
                  <a:lnTo>
                    <a:pt x="58038" y="0"/>
                  </a:lnTo>
                  <a:lnTo>
                    <a:pt x="148175" y="1189"/>
                  </a:lnTo>
                  <a:lnTo>
                    <a:pt x="167089" y="29722"/>
                  </a:lnTo>
                  <a:lnTo>
                    <a:pt x="210969" y="49932"/>
                  </a:lnTo>
                  <a:lnTo>
                    <a:pt x="244149" y="91434"/>
                  </a:lnTo>
                  <a:lnTo>
                    <a:pt x="239393" y="116292"/>
                  </a:lnTo>
                  <a:lnTo>
                    <a:pt x="239393" y="117481"/>
                  </a:lnTo>
                  <a:lnTo>
                    <a:pt x="231071" y="123426"/>
                  </a:lnTo>
                  <a:lnTo>
                    <a:pt x="231071" y="142555"/>
                  </a:lnTo>
                  <a:lnTo>
                    <a:pt x="247716" y="170980"/>
                  </a:lnTo>
                  <a:lnTo>
                    <a:pt x="207402" y="190002"/>
                  </a:lnTo>
                  <a:lnTo>
                    <a:pt x="181355" y="181680"/>
                  </a:lnTo>
                  <a:lnTo>
                    <a:pt x="167089" y="157903"/>
                  </a:lnTo>
                  <a:lnTo>
                    <a:pt x="140069" y="17573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1" name="Полилиния: фигура 171"/>
            <p:cNvSpPr/>
            <p:nvPr/>
          </p:nvSpPr>
          <p:spPr bwMode="auto">
            <a:xfrm>
              <a:off x="3058644" y="5655556"/>
              <a:ext cx="128180" cy="104511"/>
            </a:xfrm>
            <a:custGeom>
              <a:avLst/>
              <a:gdLst>
                <a:gd name="connsiteX0" fmla="*/ 0 w 128180"/>
                <a:gd name="connsiteY0" fmla="*/ 75979 h 104511"/>
                <a:gd name="connsiteX1" fmla="*/ 24858 w 128180"/>
                <a:gd name="connsiteY1" fmla="*/ 89056 h 104511"/>
                <a:gd name="connsiteX2" fmla="*/ 68738 w 128180"/>
                <a:gd name="connsiteY2" fmla="*/ 104512 h 104511"/>
                <a:gd name="connsiteX3" fmla="*/ 67549 w 128180"/>
                <a:gd name="connsiteY3" fmla="*/ 83112 h 104511"/>
                <a:gd name="connsiteX4" fmla="*/ 77060 w 128180"/>
                <a:gd name="connsiteY4" fmla="*/ 68846 h 104511"/>
                <a:gd name="connsiteX5" fmla="*/ 98459 w 128180"/>
                <a:gd name="connsiteY5" fmla="*/ 49932 h 104511"/>
                <a:gd name="connsiteX6" fmla="*/ 118670 w 128180"/>
                <a:gd name="connsiteY6" fmla="*/ 46365 h 104511"/>
                <a:gd name="connsiteX7" fmla="*/ 128181 w 128180"/>
                <a:gd name="connsiteY7" fmla="*/ 32099 h 104511"/>
                <a:gd name="connsiteX8" fmla="*/ 99648 w 128180"/>
                <a:gd name="connsiteY8" fmla="*/ 23777 h 104511"/>
                <a:gd name="connsiteX9" fmla="*/ 85382 w 128180"/>
                <a:gd name="connsiteY9" fmla="*/ 0 h 104511"/>
                <a:gd name="connsiteX10" fmla="*/ 59335 w 128180"/>
                <a:gd name="connsiteY10" fmla="*/ 17833 h 104511"/>
                <a:gd name="connsiteX11" fmla="*/ 8322 w 128180"/>
                <a:gd name="connsiteY11" fmla="*/ 20211 h 104511"/>
                <a:gd name="connsiteX12" fmla="*/ 8322 w 128180"/>
                <a:gd name="connsiteY12" fmla="*/ 56957 h 104511"/>
                <a:gd name="connsiteX13" fmla="*/ 0 w 128180"/>
                <a:gd name="connsiteY13" fmla="*/ 75979 h 104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8180" h="104511" extrusionOk="0">
                  <a:moveTo>
                    <a:pt x="0" y="75979"/>
                  </a:moveTo>
                  <a:lnTo>
                    <a:pt x="24858" y="89056"/>
                  </a:lnTo>
                  <a:lnTo>
                    <a:pt x="68738" y="104512"/>
                  </a:lnTo>
                  <a:lnTo>
                    <a:pt x="67549" y="83112"/>
                  </a:lnTo>
                  <a:lnTo>
                    <a:pt x="77060" y="68846"/>
                  </a:lnTo>
                  <a:lnTo>
                    <a:pt x="98459" y="49932"/>
                  </a:lnTo>
                  <a:lnTo>
                    <a:pt x="118670" y="46365"/>
                  </a:lnTo>
                  <a:lnTo>
                    <a:pt x="128181" y="32099"/>
                  </a:lnTo>
                  <a:lnTo>
                    <a:pt x="99648" y="23777"/>
                  </a:lnTo>
                  <a:lnTo>
                    <a:pt x="85382" y="0"/>
                  </a:lnTo>
                  <a:lnTo>
                    <a:pt x="59335" y="17833"/>
                  </a:lnTo>
                  <a:lnTo>
                    <a:pt x="8322" y="20211"/>
                  </a:lnTo>
                  <a:lnTo>
                    <a:pt x="8322" y="56957"/>
                  </a:lnTo>
                  <a:lnTo>
                    <a:pt x="0" y="7597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2" name="Полилиния: фигура 172"/>
            <p:cNvSpPr/>
            <p:nvPr/>
          </p:nvSpPr>
          <p:spPr bwMode="auto">
            <a:xfrm>
              <a:off x="3126301" y="5699327"/>
              <a:ext cx="56957" cy="71331"/>
            </a:xfrm>
            <a:custGeom>
              <a:avLst/>
              <a:gdLst>
                <a:gd name="connsiteX0" fmla="*/ 40313 w 56957"/>
                <a:gd name="connsiteY0" fmla="*/ 71332 h 71331"/>
                <a:gd name="connsiteX1" fmla="*/ 0 w 56957"/>
                <a:gd name="connsiteY1" fmla="*/ 59443 h 71331"/>
                <a:gd name="connsiteX2" fmla="*/ 0 w 56957"/>
                <a:gd name="connsiteY2" fmla="*/ 39232 h 71331"/>
                <a:gd name="connsiteX3" fmla="*/ 9511 w 56957"/>
                <a:gd name="connsiteY3" fmla="*/ 23777 h 71331"/>
                <a:gd name="connsiteX4" fmla="*/ 29722 w 56957"/>
                <a:gd name="connsiteY4" fmla="*/ 5944 h 71331"/>
                <a:gd name="connsiteX5" fmla="*/ 53391 w 56957"/>
                <a:gd name="connsiteY5" fmla="*/ 0 h 71331"/>
                <a:gd name="connsiteX6" fmla="*/ 56957 w 56957"/>
                <a:gd name="connsiteY6" fmla="*/ 22588 h 71331"/>
                <a:gd name="connsiteX7" fmla="*/ 55768 w 56957"/>
                <a:gd name="connsiteY7" fmla="*/ 43988 h 71331"/>
                <a:gd name="connsiteX8" fmla="*/ 40313 w 56957"/>
                <a:gd name="connsiteY8" fmla="*/ 55877 h 71331"/>
                <a:gd name="connsiteX9" fmla="*/ 40313 w 56957"/>
                <a:gd name="connsiteY9" fmla="*/ 71332 h 71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957" h="71331" extrusionOk="0">
                  <a:moveTo>
                    <a:pt x="40313" y="71332"/>
                  </a:moveTo>
                  <a:lnTo>
                    <a:pt x="0" y="59443"/>
                  </a:lnTo>
                  <a:lnTo>
                    <a:pt x="0" y="39232"/>
                  </a:lnTo>
                  <a:lnTo>
                    <a:pt x="9511" y="23777"/>
                  </a:lnTo>
                  <a:lnTo>
                    <a:pt x="29722" y="5944"/>
                  </a:lnTo>
                  <a:lnTo>
                    <a:pt x="53391" y="0"/>
                  </a:lnTo>
                  <a:lnTo>
                    <a:pt x="56957" y="22588"/>
                  </a:lnTo>
                  <a:lnTo>
                    <a:pt x="55768" y="43988"/>
                  </a:lnTo>
                  <a:lnTo>
                    <a:pt x="40313" y="55877"/>
                  </a:lnTo>
                  <a:lnTo>
                    <a:pt x="40313" y="7133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3" name="Полилиния: фигура 173"/>
            <p:cNvSpPr/>
            <p:nvPr/>
          </p:nvSpPr>
          <p:spPr bwMode="auto">
            <a:xfrm>
              <a:off x="3165317" y="5681711"/>
              <a:ext cx="47554" cy="102025"/>
            </a:xfrm>
            <a:custGeom>
              <a:avLst/>
              <a:gdLst>
                <a:gd name="connsiteX0" fmla="*/ 46366 w 47554"/>
                <a:gd name="connsiteY0" fmla="*/ 102026 h 102025"/>
                <a:gd name="connsiteX1" fmla="*/ 47554 w 47554"/>
                <a:gd name="connsiteY1" fmla="*/ 56957 h 102025"/>
                <a:gd name="connsiteX2" fmla="*/ 36855 w 47554"/>
                <a:gd name="connsiteY2" fmla="*/ 43880 h 102025"/>
                <a:gd name="connsiteX3" fmla="*/ 32099 w 47554"/>
                <a:gd name="connsiteY3" fmla="*/ 7133 h 102025"/>
                <a:gd name="connsiteX4" fmla="*/ 30910 w 47554"/>
                <a:gd name="connsiteY4" fmla="*/ 0 h 102025"/>
                <a:gd name="connsiteX5" fmla="*/ 22588 w 47554"/>
                <a:gd name="connsiteY5" fmla="*/ 4755 h 102025"/>
                <a:gd name="connsiteX6" fmla="*/ 15455 w 47554"/>
                <a:gd name="connsiteY6" fmla="*/ 17833 h 102025"/>
                <a:gd name="connsiteX7" fmla="*/ 19022 w 47554"/>
                <a:gd name="connsiteY7" fmla="*/ 41610 h 102025"/>
                <a:gd name="connsiteX8" fmla="*/ 15455 w 47554"/>
                <a:gd name="connsiteY8" fmla="*/ 61821 h 102025"/>
                <a:gd name="connsiteX9" fmla="*/ 1189 w 47554"/>
                <a:gd name="connsiteY9" fmla="*/ 73709 h 102025"/>
                <a:gd name="connsiteX10" fmla="*/ 0 w 47554"/>
                <a:gd name="connsiteY10" fmla="*/ 89165 h 102025"/>
                <a:gd name="connsiteX11" fmla="*/ 46366 w 47554"/>
                <a:gd name="connsiteY11" fmla="*/ 102026 h 10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7554" h="102025" extrusionOk="0">
                  <a:moveTo>
                    <a:pt x="46366" y="102026"/>
                  </a:moveTo>
                  <a:lnTo>
                    <a:pt x="47554" y="56957"/>
                  </a:lnTo>
                  <a:lnTo>
                    <a:pt x="36855" y="43880"/>
                  </a:lnTo>
                  <a:lnTo>
                    <a:pt x="32099" y="7133"/>
                  </a:lnTo>
                  <a:lnTo>
                    <a:pt x="30910" y="0"/>
                  </a:lnTo>
                  <a:lnTo>
                    <a:pt x="22588" y="4755"/>
                  </a:lnTo>
                  <a:lnTo>
                    <a:pt x="15455" y="17833"/>
                  </a:lnTo>
                  <a:lnTo>
                    <a:pt x="19022" y="41610"/>
                  </a:lnTo>
                  <a:lnTo>
                    <a:pt x="15455" y="61821"/>
                  </a:lnTo>
                  <a:lnTo>
                    <a:pt x="1189" y="73709"/>
                  </a:lnTo>
                  <a:lnTo>
                    <a:pt x="0" y="89165"/>
                  </a:lnTo>
                  <a:lnTo>
                    <a:pt x="46366" y="102026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4" name="Полилиния: фигура 174"/>
            <p:cNvSpPr/>
            <p:nvPr/>
          </p:nvSpPr>
          <p:spPr bwMode="auto">
            <a:xfrm>
              <a:off x="3209305" y="5588007"/>
              <a:ext cx="213562" cy="273005"/>
            </a:xfrm>
            <a:custGeom>
              <a:avLst/>
              <a:gdLst>
                <a:gd name="connsiteX0" fmla="*/ 98459 w 213562"/>
                <a:gd name="connsiteY0" fmla="*/ 21399 h 273005"/>
                <a:gd name="connsiteX1" fmla="*/ 53391 w 213562"/>
                <a:gd name="connsiteY1" fmla="*/ 13077 h 273005"/>
                <a:gd name="connsiteX2" fmla="*/ 13077 w 213562"/>
                <a:gd name="connsiteY2" fmla="*/ 0 h 273005"/>
                <a:gd name="connsiteX3" fmla="*/ 8322 w 213562"/>
                <a:gd name="connsiteY3" fmla="*/ 27236 h 273005"/>
                <a:gd name="connsiteX4" fmla="*/ 1189 w 213562"/>
                <a:gd name="connsiteY4" fmla="*/ 31991 h 273005"/>
                <a:gd name="connsiteX5" fmla="*/ 0 w 213562"/>
                <a:gd name="connsiteY5" fmla="*/ 52202 h 273005"/>
                <a:gd name="connsiteX6" fmla="*/ 16644 w 213562"/>
                <a:gd name="connsiteY6" fmla="*/ 78249 h 273005"/>
                <a:gd name="connsiteX7" fmla="*/ 55768 w 213562"/>
                <a:gd name="connsiteY7" fmla="*/ 87760 h 273005"/>
                <a:gd name="connsiteX8" fmla="*/ 54579 w 213562"/>
                <a:gd name="connsiteY8" fmla="*/ 110348 h 273005"/>
                <a:gd name="connsiteX9" fmla="*/ 46257 w 213562"/>
                <a:gd name="connsiteY9" fmla="*/ 126992 h 273005"/>
                <a:gd name="connsiteX10" fmla="*/ 49824 w 213562"/>
                <a:gd name="connsiteY10" fmla="*/ 153039 h 273005"/>
                <a:gd name="connsiteX11" fmla="*/ 56957 w 213562"/>
                <a:gd name="connsiteY11" fmla="*/ 161361 h 273005"/>
                <a:gd name="connsiteX12" fmla="*/ 58146 w 213562"/>
                <a:gd name="connsiteY12" fmla="*/ 179194 h 273005"/>
                <a:gd name="connsiteX13" fmla="*/ 67657 w 213562"/>
                <a:gd name="connsiteY13" fmla="*/ 194649 h 273005"/>
                <a:gd name="connsiteX14" fmla="*/ 67657 w 213562"/>
                <a:gd name="connsiteY14" fmla="*/ 202971 h 273005"/>
                <a:gd name="connsiteX15" fmla="*/ 78357 w 213562"/>
                <a:gd name="connsiteY15" fmla="*/ 221885 h 273005"/>
                <a:gd name="connsiteX16" fmla="*/ 110348 w 213562"/>
                <a:gd name="connsiteY16" fmla="*/ 240906 h 273005"/>
                <a:gd name="connsiteX17" fmla="*/ 135206 w 213562"/>
                <a:gd name="connsiteY17" fmla="*/ 261117 h 273005"/>
                <a:gd name="connsiteX18" fmla="*/ 149472 w 213562"/>
                <a:gd name="connsiteY18" fmla="*/ 271817 h 273005"/>
                <a:gd name="connsiteX19" fmla="*/ 161361 w 213562"/>
                <a:gd name="connsiteY19" fmla="*/ 273006 h 273005"/>
                <a:gd name="connsiteX20" fmla="*/ 213563 w 213562"/>
                <a:gd name="connsiteY20" fmla="*/ 252795 h 273005"/>
                <a:gd name="connsiteX21" fmla="*/ 205241 w 213562"/>
                <a:gd name="connsiteY21" fmla="*/ 239718 h 273005"/>
                <a:gd name="connsiteX22" fmla="*/ 182652 w 213562"/>
                <a:gd name="connsiteY22" fmla="*/ 214859 h 273005"/>
                <a:gd name="connsiteX23" fmla="*/ 156605 w 213562"/>
                <a:gd name="connsiteY23" fmla="*/ 188813 h 273005"/>
                <a:gd name="connsiteX24" fmla="*/ 148283 w 213562"/>
                <a:gd name="connsiteY24" fmla="*/ 175735 h 273005"/>
                <a:gd name="connsiteX25" fmla="*/ 138773 w 213562"/>
                <a:gd name="connsiteY25" fmla="*/ 129478 h 273005"/>
                <a:gd name="connsiteX26" fmla="*/ 130450 w 213562"/>
                <a:gd name="connsiteY26" fmla="*/ 97487 h 273005"/>
                <a:gd name="connsiteX27" fmla="*/ 117373 w 213562"/>
                <a:gd name="connsiteY27" fmla="*/ 77276 h 273005"/>
                <a:gd name="connsiteX28" fmla="*/ 106673 w 213562"/>
                <a:gd name="connsiteY28" fmla="*/ 65387 h 273005"/>
                <a:gd name="connsiteX29" fmla="*/ 91218 w 213562"/>
                <a:gd name="connsiteY29" fmla="*/ 60632 h 273005"/>
                <a:gd name="connsiteX30" fmla="*/ 81707 w 213562"/>
                <a:gd name="connsiteY30" fmla="*/ 59443 h 273005"/>
                <a:gd name="connsiteX31" fmla="*/ 81707 w 213562"/>
                <a:gd name="connsiteY31" fmla="*/ 55876 h 273005"/>
                <a:gd name="connsiteX32" fmla="*/ 91218 w 213562"/>
                <a:gd name="connsiteY32" fmla="*/ 39232 h 273005"/>
                <a:gd name="connsiteX33" fmla="*/ 97162 w 213562"/>
                <a:gd name="connsiteY33" fmla="*/ 28532 h 273005"/>
                <a:gd name="connsiteX34" fmla="*/ 98459 w 213562"/>
                <a:gd name="connsiteY34" fmla="*/ 21399 h 27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13562" h="273005" extrusionOk="0">
                  <a:moveTo>
                    <a:pt x="98459" y="21399"/>
                  </a:moveTo>
                  <a:lnTo>
                    <a:pt x="53391" y="13077"/>
                  </a:lnTo>
                  <a:lnTo>
                    <a:pt x="13077" y="0"/>
                  </a:lnTo>
                  <a:lnTo>
                    <a:pt x="8322" y="27236"/>
                  </a:lnTo>
                  <a:lnTo>
                    <a:pt x="1189" y="31991"/>
                  </a:lnTo>
                  <a:lnTo>
                    <a:pt x="0" y="52202"/>
                  </a:lnTo>
                  <a:lnTo>
                    <a:pt x="16644" y="78249"/>
                  </a:lnTo>
                  <a:lnTo>
                    <a:pt x="55768" y="87760"/>
                  </a:lnTo>
                  <a:lnTo>
                    <a:pt x="54579" y="110348"/>
                  </a:lnTo>
                  <a:lnTo>
                    <a:pt x="46257" y="126992"/>
                  </a:lnTo>
                  <a:lnTo>
                    <a:pt x="49824" y="153039"/>
                  </a:lnTo>
                  <a:lnTo>
                    <a:pt x="56957" y="161361"/>
                  </a:lnTo>
                  <a:lnTo>
                    <a:pt x="58146" y="179194"/>
                  </a:lnTo>
                  <a:lnTo>
                    <a:pt x="67657" y="194649"/>
                  </a:lnTo>
                  <a:lnTo>
                    <a:pt x="67657" y="202971"/>
                  </a:lnTo>
                  <a:lnTo>
                    <a:pt x="78357" y="221885"/>
                  </a:lnTo>
                  <a:lnTo>
                    <a:pt x="110348" y="240906"/>
                  </a:lnTo>
                  <a:lnTo>
                    <a:pt x="135206" y="261117"/>
                  </a:lnTo>
                  <a:lnTo>
                    <a:pt x="149472" y="271817"/>
                  </a:lnTo>
                  <a:lnTo>
                    <a:pt x="161361" y="273006"/>
                  </a:lnTo>
                  <a:lnTo>
                    <a:pt x="213563" y="252795"/>
                  </a:lnTo>
                  <a:lnTo>
                    <a:pt x="205241" y="239718"/>
                  </a:lnTo>
                  <a:lnTo>
                    <a:pt x="182652" y="214859"/>
                  </a:lnTo>
                  <a:lnTo>
                    <a:pt x="156605" y="188813"/>
                  </a:lnTo>
                  <a:lnTo>
                    <a:pt x="148283" y="175735"/>
                  </a:lnTo>
                  <a:lnTo>
                    <a:pt x="138773" y="129478"/>
                  </a:lnTo>
                  <a:lnTo>
                    <a:pt x="130450" y="97487"/>
                  </a:lnTo>
                  <a:lnTo>
                    <a:pt x="117373" y="77276"/>
                  </a:lnTo>
                  <a:lnTo>
                    <a:pt x="106673" y="65387"/>
                  </a:lnTo>
                  <a:lnTo>
                    <a:pt x="91218" y="60632"/>
                  </a:lnTo>
                  <a:lnTo>
                    <a:pt x="81707" y="59443"/>
                  </a:lnTo>
                  <a:lnTo>
                    <a:pt x="81707" y="55876"/>
                  </a:lnTo>
                  <a:lnTo>
                    <a:pt x="91218" y="39232"/>
                  </a:lnTo>
                  <a:lnTo>
                    <a:pt x="97162" y="28532"/>
                  </a:lnTo>
                  <a:lnTo>
                    <a:pt x="98459" y="2139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5" name="Полилиния: фигура 175"/>
            <p:cNvSpPr/>
            <p:nvPr/>
          </p:nvSpPr>
          <p:spPr bwMode="auto">
            <a:xfrm>
              <a:off x="3531579" y="2378233"/>
              <a:ext cx="315621" cy="503994"/>
            </a:xfrm>
            <a:custGeom>
              <a:avLst/>
              <a:gdLst>
                <a:gd name="connsiteX0" fmla="*/ 309984 w 315621"/>
                <a:gd name="connsiteY0" fmla="*/ 492253 h 503994"/>
                <a:gd name="connsiteX1" fmla="*/ 289773 w 315621"/>
                <a:gd name="connsiteY1" fmla="*/ 499387 h 503994"/>
                <a:gd name="connsiteX2" fmla="*/ 264807 w 315621"/>
                <a:gd name="connsiteY2" fmla="*/ 494631 h 503994"/>
                <a:gd name="connsiteX3" fmla="*/ 244596 w 315621"/>
                <a:gd name="connsiteY3" fmla="*/ 502953 h 503994"/>
                <a:gd name="connsiteX4" fmla="*/ 219738 w 315621"/>
                <a:gd name="connsiteY4" fmla="*/ 476906 h 503994"/>
                <a:gd name="connsiteX5" fmla="*/ 206661 w 315621"/>
                <a:gd name="connsiteY5" fmla="*/ 491173 h 503994"/>
                <a:gd name="connsiteX6" fmla="*/ 178128 w 315621"/>
                <a:gd name="connsiteY6" fmla="*/ 476906 h 503994"/>
                <a:gd name="connsiteX7" fmla="*/ 110471 w 315621"/>
                <a:gd name="connsiteY7" fmla="*/ 461451 h 503994"/>
                <a:gd name="connsiteX8" fmla="*/ 117604 w 315621"/>
                <a:gd name="connsiteY8" fmla="*/ 423516 h 503994"/>
                <a:gd name="connsiteX9" fmla="*/ 117604 w 315621"/>
                <a:gd name="connsiteY9" fmla="*/ 391525 h 503994"/>
                <a:gd name="connsiteX10" fmla="*/ 99880 w 315621"/>
                <a:gd name="connsiteY10" fmla="*/ 372611 h 503994"/>
                <a:gd name="connsiteX11" fmla="*/ 80858 w 315621"/>
                <a:gd name="connsiteY11" fmla="*/ 378555 h 503994"/>
                <a:gd name="connsiteX12" fmla="*/ 67780 w 315621"/>
                <a:gd name="connsiteY12" fmla="*/ 367855 h 503994"/>
                <a:gd name="connsiteX13" fmla="*/ 22712 w 315621"/>
                <a:gd name="connsiteY13" fmla="*/ 353589 h 503994"/>
                <a:gd name="connsiteX14" fmla="*/ 231 w 315621"/>
                <a:gd name="connsiteY14" fmla="*/ 316842 h 503994"/>
                <a:gd name="connsiteX15" fmla="*/ 18064 w 315621"/>
                <a:gd name="connsiteY15" fmla="*/ 255130 h 503994"/>
                <a:gd name="connsiteX16" fmla="*/ 29953 w 315621"/>
                <a:gd name="connsiteY16" fmla="*/ 252752 h 503994"/>
                <a:gd name="connsiteX17" fmla="*/ 41841 w 315621"/>
                <a:gd name="connsiteY17" fmla="*/ 240863 h 503994"/>
                <a:gd name="connsiteX18" fmla="*/ 65511 w 315621"/>
                <a:gd name="connsiteY18" fmla="*/ 249185 h 503994"/>
                <a:gd name="connsiteX19" fmla="*/ 56000 w 315621"/>
                <a:gd name="connsiteY19" fmla="*/ 225516 h 503994"/>
                <a:gd name="connsiteX20" fmla="*/ 74913 w 315621"/>
                <a:gd name="connsiteY20" fmla="*/ 167370 h 503994"/>
                <a:gd name="connsiteX21" fmla="*/ 83235 w 315621"/>
                <a:gd name="connsiteY21" fmla="*/ 145971 h 503994"/>
                <a:gd name="connsiteX22" fmla="*/ 57189 w 315621"/>
                <a:gd name="connsiteY22" fmla="*/ 137649 h 503994"/>
                <a:gd name="connsiteX23" fmla="*/ 59566 w 315621"/>
                <a:gd name="connsiteY23" fmla="*/ 111602 h 503994"/>
                <a:gd name="connsiteX24" fmla="*/ 82155 w 315621"/>
                <a:gd name="connsiteY24" fmla="*/ 108035 h 503994"/>
                <a:gd name="connsiteX25" fmla="*/ 86910 w 315621"/>
                <a:gd name="connsiteY25" fmla="*/ 80799 h 503994"/>
                <a:gd name="connsiteX26" fmla="*/ 118901 w 315621"/>
                <a:gd name="connsiteY26" fmla="*/ 78422 h 503994"/>
                <a:gd name="connsiteX27" fmla="*/ 136734 w 315621"/>
                <a:gd name="connsiteY27" fmla="*/ 20276 h 503994"/>
                <a:gd name="connsiteX28" fmla="*/ 174670 w 315621"/>
                <a:gd name="connsiteY28" fmla="*/ 20276 h 503994"/>
                <a:gd name="connsiteX29" fmla="*/ 175859 w 315621"/>
                <a:gd name="connsiteY29" fmla="*/ 65 h 503994"/>
                <a:gd name="connsiteX30" fmla="*/ 206661 w 315621"/>
                <a:gd name="connsiteY30" fmla="*/ 16709 h 503994"/>
                <a:gd name="connsiteX31" fmla="*/ 239841 w 315621"/>
                <a:gd name="connsiteY31" fmla="*/ 29786 h 503994"/>
                <a:gd name="connsiteX32" fmla="*/ 265888 w 315621"/>
                <a:gd name="connsiteY32" fmla="*/ 41675 h 503994"/>
                <a:gd name="connsiteX33" fmla="*/ 263510 w 315621"/>
                <a:gd name="connsiteY33" fmla="*/ 78422 h 503994"/>
                <a:gd name="connsiteX34" fmla="*/ 248055 w 315621"/>
                <a:gd name="connsiteY34" fmla="*/ 95066 h 503994"/>
                <a:gd name="connsiteX35" fmla="*/ 245677 w 315621"/>
                <a:gd name="connsiteY35" fmla="*/ 117654 h 503994"/>
                <a:gd name="connsiteX36" fmla="*/ 220711 w 315621"/>
                <a:gd name="connsiteY36" fmla="*/ 111710 h 503994"/>
                <a:gd name="connsiteX37" fmla="*/ 226655 w 315621"/>
                <a:gd name="connsiteY37" fmla="*/ 140243 h 503994"/>
                <a:gd name="connsiteX38" fmla="*/ 204067 w 315621"/>
                <a:gd name="connsiteY38" fmla="*/ 178178 h 503994"/>
                <a:gd name="connsiteX39" fmla="*/ 206445 w 315621"/>
                <a:gd name="connsiteY39" fmla="*/ 194822 h 503994"/>
                <a:gd name="connsiteX40" fmla="*/ 206445 w 315621"/>
                <a:gd name="connsiteY40" fmla="*/ 232757 h 503994"/>
                <a:gd name="connsiteX41" fmla="*/ 219522 w 315621"/>
                <a:gd name="connsiteY41" fmla="*/ 251779 h 503994"/>
                <a:gd name="connsiteX42" fmla="*/ 205256 w 315621"/>
                <a:gd name="connsiteY42" fmla="*/ 287337 h 503994"/>
                <a:gd name="connsiteX43" fmla="*/ 217144 w 315621"/>
                <a:gd name="connsiteY43" fmla="*/ 330028 h 503994"/>
                <a:gd name="connsiteX44" fmla="*/ 240922 w 315621"/>
                <a:gd name="connsiteY44" fmla="*/ 376285 h 503994"/>
                <a:gd name="connsiteX45" fmla="*/ 249244 w 315621"/>
                <a:gd name="connsiteY45" fmla="*/ 405899 h 503994"/>
                <a:gd name="connsiteX46" fmla="*/ 278857 w 315621"/>
                <a:gd name="connsiteY46" fmla="*/ 441457 h 503994"/>
                <a:gd name="connsiteX47" fmla="*/ 301446 w 315621"/>
                <a:gd name="connsiteY47" fmla="*/ 455723 h 503994"/>
                <a:gd name="connsiteX48" fmla="*/ 309768 w 315621"/>
                <a:gd name="connsiteY48" fmla="*/ 469989 h 503994"/>
                <a:gd name="connsiteX49" fmla="*/ 309984 w 315621"/>
                <a:gd name="connsiteY49" fmla="*/ 492253 h 50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315621" h="503994" extrusionOk="0">
                  <a:moveTo>
                    <a:pt x="309984" y="492253"/>
                  </a:moveTo>
                  <a:cubicBezTo>
                    <a:pt x="300473" y="498198"/>
                    <a:pt x="295717" y="497009"/>
                    <a:pt x="289773" y="499387"/>
                  </a:cubicBezTo>
                  <a:cubicBezTo>
                    <a:pt x="283829" y="501764"/>
                    <a:pt x="264807" y="494631"/>
                    <a:pt x="264807" y="494631"/>
                  </a:cubicBezTo>
                  <a:cubicBezTo>
                    <a:pt x="264807" y="494631"/>
                    <a:pt x="251729" y="507709"/>
                    <a:pt x="244596" y="502953"/>
                  </a:cubicBezTo>
                  <a:cubicBezTo>
                    <a:pt x="237463" y="499387"/>
                    <a:pt x="225575" y="476906"/>
                    <a:pt x="219738" y="476906"/>
                  </a:cubicBezTo>
                  <a:cubicBezTo>
                    <a:pt x="213794" y="476906"/>
                    <a:pt x="218550" y="494739"/>
                    <a:pt x="206661" y="491173"/>
                  </a:cubicBezTo>
                  <a:cubicBezTo>
                    <a:pt x="195961" y="486417"/>
                    <a:pt x="184073" y="476906"/>
                    <a:pt x="178128" y="476906"/>
                  </a:cubicBezTo>
                  <a:cubicBezTo>
                    <a:pt x="170995" y="476906"/>
                    <a:pt x="110471" y="469773"/>
                    <a:pt x="110471" y="461451"/>
                  </a:cubicBezTo>
                  <a:cubicBezTo>
                    <a:pt x="110471" y="453129"/>
                    <a:pt x="125926" y="433027"/>
                    <a:pt x="117604" y="423516"/>
                  </a:cubicBezTo>
                  <a:cubicBezTo>
                    <a:pt x="109282" y="414005"/>
                    <a:pt x="125926" y="398658"/>
                    <a:pt x="117604" y="391525"/>
                  </a:cubicBezTo>
                  <a:cubicBezTo>
                    <a:pt x="109282" y="384391"/>
                    <a:pt x="109282" y="364289"/>
                    <a:pt x="99880" y="372611"/>
                  </a:cubicBezTo>
                  <a:cubicBezTo>
                    <a:pt x="91558" y="382122"/>
                    <a:pt x="89180" y="386877"/>
                    <a:pt x="80858" y="378555"/>
                  </a:cubicBezTo>
                  <a:cubicBezTo>
                    <a:pt x="72536" y="370233"/>
                    <a:pt x="74913" y="367855"/>
                    <a:pt x="67780" y="367855"/>
                  </a:cubicBezTo>
                  <a:cubicBezTo>
                    <a:pt x="60647" y="367855"/>
                    <a:pt x="31034" y="359533"/>
                    <a:pt x="22712" y="353589"/>
                  </a:cubicBezTo>
                  <a:cubicBezTo>
                    <a:pt x="14390" y="347645"/>
                    <a:pt x="-2146" y="334675"/>
                    <a:pt x="231" y="316842"/>
                  </a:cubicBezTo>
                  <a:cubicBezTo>
                    <a:pt x="3798" y="299010"/>
                    <a:pt x="10931" y="256318"/>
                    <a:pt x="18064" y="255130"/>
                  </a:cubicBezTo>
                  <a:cubicBezTo>
                    <a:pt x="25197" y="253941"/>
                    <a:pt x="22820" y="261074"/>
                    <a:pt x="29953" y="252752"/>
                  </a:cubicBezTo>
                  <a:cubicBezTo>
                    <a:pt x="37086" y="244430"/>
                    <a:pt x="27575" y="233730"/>
                    <a:pt x="41841" y="240863"/>
                  </a:cubicBezTo>
                  <a:cubicBezTo>
                    <a:pt x="56108" y="247997"/>
                    <a:pt x="65511" y="257507"/>
                    <a:pt x="65511" y="249185"/>
                  </a:cubicBezTo>
                  <a:cubicBezTo>
                    <a:pt x="65511" y="240863"/>
                    <a:pt x="57189" y="238486"/>
                    <a:pt x="56000" y="225516"/>
                  </a:cubicBezTo>
                  <a:cubicBezTo>
                    <a:pt x="53622" y="213628"/>
                    <a:pt x="69077" y="175692"/>
                    <a:pt x="74913" y="167370"/>
                  </a:cubicBezTo>
                  <a:cubicBezTo>
                    <a:pt x="80858" y="157859"/>
                    <a:pt x="93935" y="145971"/>
                    <a:pt x="83235" y="145971"/>
                  </a:cubicBezTo>
                  <a:cubicBezTo>
                    <a:pt x="73725" y="145971"/>
                    <a:pt x="66591" y="149537"/>
                    <a:pt x="57189" y="137649"/>
                  </a:cubicBezTo>
                  <a:cubicBezTo>
                    <a:pt x="46489" y="124571"/>
                    <a:pt x="45300" y="113979"/>
                    <a:pt x="59566" y="111602"/>
                  </a:cubicBezTo>
                  <a:cubicBezTo>
                    <a:pt x="73833" y="110413"/>
                    <a:pt x="82155" y="113979"/>
                    <a:pt x="82155" y="108035"/>
                  </a:cubicBezTo>
                  <a:cubicBezTo>
                    <a:pt x="82155" y="102091"/>
                    <a:pt x="78588" y="83177"/>
                    <a:pt x="86910" y="80799"/>
                  </a:cubicBezTo>
                  <a:cubicBezTo>
                    <a:pt x="95232" y="79611"/>
                    <a:pt x="111768" y="87933"/>
                    <a:pt x="118901" y="78422"/>
                  </a:cubicBezTo>
                  <a:cubicBezTo>
                    <a:pt x="126035" y="68911"/>
                    <a:pt x="124846" y="26220"/>
                    <a:pt x="136734" y="20276"/>
                  </a:cubicBezTo>
                  <a:cubicBezTo>
                    <a:pt x="149812" y="15520"/>
                    <a:pt x="174670" y="27409"/>
                    <a:pt x="174670" y="20276"/>
                  </a:cubicBezTo>
                  <a:cubicBezTo>
                    <a:pt x="174670" y="14331"/>
                    <a:pt x="166348" y="-1124"/>
                    <a:pt x="175859" y="65"/>
                  </a:cubicBezTo>
                  <a:cubicBezTo>
                    <a:pt x="186558" y="1254"/>
                    <a:pt x="196069" y="16709"/>
                    <a:pt x="206661" y="16709"/>
                  </a:cubicBezTo>
                  <a:cubicBezTo>
                    <a:pt x="218550" y="16709"/>
                    <a:pt x="228060" y="19087"/>
                    <a:pt x="239841" y="29786"/>
                  </a:cubicBezTo>
                  <a:cubicBezTo>
                    <a:pt x="250541" y="39297"/>
                    <a:pt x="262429" y="35731"/>
                    <a:pt x="265888" y="41675"/>
                  </a:cubicBezTo>
                  <a:cubicBezTo>
                    <a:pt x="270643" y="47619"/>
                    <a:pt x="268265" y="72477"/>
                    <a:pt x="263510" y="78422"/>
                  </a:cubicBezTo>
                  <a:cubicBezTo>
                    <a:pt x="257566" y="84366"/>
                    <a:pt x="248055" y="87933"/>
                    <a:pt x="248055" y="95066"/>
                  </a:cubicBezTo>
                  <a:cubicBezTo>
                    <a:pt x="248055" y="102199"/>
                    <a:pt x="255188" y="118843"/>
                    <a:pt x="245677" y="117654"/>
                  </a:cubicBezTo>
                  <a:cubicBezTo>
                    <a:pt x="237355" y="116465"/>
                    <a:pt x="224278" y="102199"/>
                    <a:pt x="220711" y="111710"/>
                  </a:cubicBezTo>
                  <a:cubicBezTo>
                    <a:pt x="218333" y="122409"/>
                    <a:pt x="226655" y="133109"/>
                    <a:pt x="226655" y="140243"/>
                  </a:cubicBezTo>
                  <a:cubicBezTo>
                    <a:pt x="226655" y="147376"/>
                    <a:pt x="205256" y="171045"/>
                    <a:pt x="204067" y="178178"/>
                  </a:cubicBezTo>
                  <a:cubicBezTo>
                    <a:pt x="202878" y="185311"/>
                    <a:pt x="208822" y="180556"/>
                    <a:pt x="206445" y="194822"/>
                  </a:cubicBezTo>
                  <a:cubicBezTo>
                    <a:pt x="205256" y="209088"/>
                    <a:pt x="196934" y="231569"/>
                    <a:pt x="206445" y="232757"/>
                  </a:cubicBezTo>
                  <a:cubicBezTo>
                    <a:pt x="217144" y="233946"/>
                    <a:pt x="226655" y="239891"/>
                    <a:pt x="219522" y="251779"/>
                  </a:cubicBezTo>
                  <a:cubicBezTo>
                    <a:pt x="212389" y="262479"/>
                    <a:pt x="202878" y="276637"/>
                    <a:pt x="205256" y="287337"/>
                  </a:cubicBezTo>
                  <a:cubicBezTo>
                    <a:pt x="208822" y="299226"/>
                    <a:pt x="217144" y="322895"/>
                    <a:pt x="217144" y="330028"/>
                  </a:cubicBezTo>
                  <a:cubicBezTo>
                    <a:pt x="217144" y="337161"/>
                    <a:pt x="243191" y="370341"/>
                    <a:pt x="240922" y="376285"/>
                  </a:cubicBezTo>
                  <a:cubicBezTo>
                    <a:pt x="237355" y="382230"/>
                    <a:pt x="249244" y="398874"/>
                    <a:pt x="249244" y="405899"/>
                  </a:cubicBezTo>
                  <a:cubicBezTo>
                    <a:pt x="249244" y="412924"/>
                    <a:pt x="274102" y="430757"/>
                    <a:pt x="278857" y="441457"/>
                  </a:cubicBezTo>
                  <a:cubicBezTo>
                    <a:pt x="282424" y="453345"/>
                    <a:pt x="297879" y="448590"/>
                    <a:pt x="301446" y="455723"/>
                  </a:cubicBezTo>
                  <a:cubicBezTo>
                    <a:pt x="303823" y="462856"/>
                    <a:pt x="305012" y="474637"/>
                    <a:pt x="309768" y="469989"/>
                  </a:cubicBezTo>
                  <a:cubicBezTo>
                    <a:pt x="313550" y="466207"/>
                    <a:pt x="320683" y="485120"/>
                    <a:pt x="309984" y="492253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6" name="Полилиния: фигура 176"/>
            <p:cNvSpPr/>
            <p:nvPr/>
          </p:nvSpPr>
          <p:spPr bwMode="auto">
            <a:xfrm>
              <a:off x="3633026" y="1644154"/>
              <a:ext cx="828331" cy="757903"/>
            </a:xfrm>
            <a:custGeom>
              <a:avLst/>
              <a:gdLst>
                <a:gd name="connsiteX0" fmla="*/ 182382 w 828332"/>
                <a:gd name="connsiteY0" fmla="*/ 757813 h 757903"/>
                <a:gd name="connsiteX1" fmla="*/ 146824 w 828332"/>
                <a:gd name="connsiteY1" fmla="*/ 738791 h 757903"/>
                <a:gd name="connsiteX2" fmla="*/ 116022 w 828332"/>
                <a:gd name="connsiteY2" fmla="*/ 729280 h 757903"/>
                <a:gd name="connsiteX3" fmla="*/ 81653 w 828332"/>
                <a:gd name="connsiteY3" fmla="*/ 711447 h 757903"/>
                <a:gd name="connsiteX4" fmla="*/ 40151 w 828332"/>
                <a:gd name="connsiteY4" fmla="*/ 704314 h 757903"/>
                <a:gd name="connsiteX5" fmla="*/ 41340 w 828332"/>
                <a:gd name="connsiteY5" fmla="*/ 664001 h 757903"/>
                <a:gd name="connsiteX6" fmla="*/ 3404 w 828332"/>
                <a:gd name="connsiteY6" fmla="*/ 675890 h 757903"/>
                <a:gd name="connsiteX7" fmla="*/ 40151 w 828332"/>
                <a:gd name="connsiteY7" fmla="*/ 643898 h 757903"/>
                <a:gd name="connsiteX8" fmla="*/ 55606 w 828332"/>
                <a:gd name="connsiteY8" fmla="*/ 619040 h 757903"/>
                <a:gd name="connsiteX9" fmla="*/ 78194 w 828332"/>
                <a:gd name="connsiteY9" fmla="*/ 603585 h 757903"/>
                <a:gd name="connsiteX10" fmla="*/ 110185 w 828332"/>
                <a:gd name="connsiteY10" fmla="*/ 617851 h 757903"/>
                <a:gd name="connsiteX11" fmla="*/ 100675 w 828332"/>
                <a:gd name="connsiteY11" fmla="*/ 587049 h 757903"/>
                <a:gd name="connsiteX12" fmla="*/ 95919 w 828332"/>
                <a:gd name="connsiteY12" fmla="*/ 552680 h 757903"/>
                <a:gd name="connsiteX13" fmla="*/ 126721 w 828332"/>
                <a:gd name="connsiteY13" fmla="*/ 546736 h 757903"/>
                <a:gd name="connsiteX14" fmla="*/ 110077 w 828332"/>
                <a:gd name="connsiteY14" fmla="*/ 518311 h 757903"/>
                <a:gd name="connsiteX15" fmla="*/ 139691 w 828332"/>
                <a:gd name="connsiteY15" fmla="*/ 508800 h 757903"/>
                <a:gd name="connsiteX16" fmla="*/ 120669 w 828332"/>
                <a:gd name="connsiteY16" fmla="*/ 485131 h 757903"/>
                <a:gd name="connsiteX17" fmla="*/ 131369 w 828332"/>
                <a:gd name="connsiteY17" fmla="*/ 459085 h 757903"/>
                <a:gd name="connsiteX18" fmla="*/ 119480 w 828332"/>
                <a:gd name="connsiteY18" fmla="*/ 451951 h 757903"/>
                <a:gd name="connsiteX19" fmla="*/ 142069 w 828332"/>
                <a:gd name="connsiteY19" fmla="*/ 437685 h 757903"/>
                <a:gd name="connsiteX20" fmla="*/ 158713 w 828332"/>
                <a:gd name="connsiteY20" fmla="*/ 437685 h 757903"/>
                <a:gd name="connsiteX21" fmla="*/ 187245 w 828332"/>
                <a:gd name="connsiteY21" fmla="*/ 387861 h 757903"/>
                <a:gd name="connsiteX22" fmla="*/ 207456 w 828332"/>
                <a:gd name="connsiteY22" fmla="*/ 368947 h 757903"/>
                <a:gd name="connsiteX23" fmla="*/ 224100 w 828332"/>
                <a:gd name="connsiteY23" fmla="*/ 365381 h 757903"/>
                <a:gd name="connsiteX24" fmla="*/ 220533 w 828332"/>
                <a:gd name="connsiteY24" fmla="*/ 338145 h 757903"/>
                <a:gd name="connsiteX25" fmla="*/ 259658 w 828332"/>
                <a:gd name="connsiteY25" fmla="*/ 315557 h 757903"/>
                <a:gd name="connsiteX26" fmla="*/ 279868 w 828332"/>
                <a:gd name="connsiteY26" fmla="*/ 292968 h 757903"/>
                <a:gd name="connsiteX27" fmla="*/ 285813 w 828332"/>
                <a:gd name="connsiteY27" fmla="*/ 270380 h 757903"/>
                <a:gd name="connsiteX28" fmla="*/ 297701 w 828332"/>
                <a:gd name="connsiteY28" fmla="*/ 285835 h 757903"/>
                <a:gd name="connsiteX29" fmla="*/ 317912 w 828332"/>
                <a:gd name="connsiteY29" fmla="*/ 272758 h 757903"/>
                <a:gd name="connsiteX30" fmla="*/ 372492 w 828332"/>
                <a:gd name="connsiteY30" fmla="*/ 219367 h 757903"/>
                <a:gd name="connsiteX31" fmla="*/ 386758 w 828332"/>
                <a:gd name="connsiteY31" fmla="*/ 194509 h 757903"/>
                <a:gd name="connsiteX32" fmla="*/ 385569 w 828332"/>
                <a:gd name="connsiteY32" fmla="*/ 181431 h 757903"/>
                <a:gd name="connsiteX33" fmla="*/ 406968 w 828332"/>
                <a:gd name="connsiteY33" fmla="*/ 176676 h 757903"/>
                <a:gd name="connsiteX34" fmla="*/ 430746 w 828332"/>
                <a:gd name="connsiteY34" fmla="*/ 167165 h 757903"/>
                <a:gd name="connsiteX35" fmla="*/ 461548 w 828332"/>
                <a:gd name="connsiteY35" fmla="*/ 192131 h 757903"/>
                <a:gd name="connsiteX36" fmla="*/ 481759 w 828332"/>
                <a:gd name="connsiteY36" fmla="*/ 181431 h 757903"/>
                <a:gd name="connsiteX37" fmla="*/ 493647 w 828332"/>
                <a:gd name="connsiteY37" fmla="*/ 168354 h 757903"/>
                <a:gd name="connsiteX38" fmla="*/ 515047 w 828332"/>
                <a:gd name="connsiteY38" fmla="*/ 199156 h 757903"/>
                <a:gd name="connsiteX39" fmla="*/ 545849 w 828332"/>
                <a:gd name="connsiteY39" fmla="*/ 186079 h 757903"/>
                <a:gd name="connsiteX40" fmla="*/ 612209 w 828332"/>
                <a:gd name="connsiteY40" fmla="*/ 163490 h 757903"/>
                <a:gd name="connsiteX41" fmla="*/ 645389 w 828332"/>
                <a:gd name="connsiteY41" fmla="*/ 136255 h 757903"/>
                <a:gd name="connsiteX42" fmla="*/ 684514 w 828332"/>
                <a:gd name="connsiteY42" fmla="*/ 89997 h 757903"/>
                <a:gd name="connsiteX43" fmla="*/ 709372 w 828332"/>
                <a:gd name="connsiteY43" fmla="*/ 44928 h 757903"/>
                <a:gd name="connsiteX44" fmla="*/ 708183 w 828332"/>
                <a:gd name="connsiteY44" fmla="*/ 14126 h 757903"/>
                <a:gd name="connsiteX45" fmla="*/ 741363 w 828332"/>
                <a:gd name="connsiteY45" fmla="*/ 5804 h 757903"/>
                <a:gd name="connsiteX46" fmla="*/ 755629 w 828332"/>
                <a:gd name="connsiteY46" fmla="*/ 10560 h 757903"/>
                <a:gd name="connsiteX47" fmla="*/ 777028 w 828332"/>
                <a:gd name="connsiteY47" fmla="*/ 2238 h 757903"/>
                <a:gd name="connsiteX48" fmla="*/ 806750 w 828332"/>
                <a:gd name="connsiteY48" fmla="*/ 22448 h 757903"/>
                <a:gd name="connsiteX49" fmla="*/ 810317 w 828332"/>
                <a:gd name="connsiteY49" fmla="*/ 50873 h 757903"/>
                <a:gd name="connsiteX50" fmla="*/ 826961 w 828332"/>
                <a:gd name="connsiteY50" fmla="*/ 82864 h 757903"/>
                <a:gd name="connsiteX51" fmla="*/ 813883 w 828332"/>
                <a:gd name="connsiteY51" fmla="*/ 100697 h 757903"/>
                <a:gd name="connsiteX52" fmla="*/ 822205 w 828332"/>
                <a:gd name="connsiteY52" fmla="*/ 146954 h 757903"/>
                <a:gd name="connsiteX53" fmla="*/ 816261 w 828332"/>
                <a:gd name="connsiteY53" fmla="*/ 162410 h 757903"/>
                <a:gd name="connsiteX54" fmla="*/ 801995 w 828332"/>
                <a:gd name="connsiteY54" fmla="*/ 196778 h 757903"/>
                <a:gd name="connsiteX55" fmla="*/ 815072 w 828332"/>
                <a:gd name="connsiteY55" fmla="*/ 219259 h 757903"/>
                <a:gd name="connsiteX56" fmla="*/ 791295 w 828332"/>
                <a:gd name="connsiteY56" fmla="*/ 238280 h 757903"/>
                <a:gd name="connsiteX57" fmla="*/ 747415 w 828332"/>
                <a:gd name="connsiteY57" fmla="*/ 267894 h 757903"/>
                <a:gd name="connsiteX58" fmla="*/ 721368 w 828332"/>
                <a:gd name="connsiteY58" fmla="*/ 290482 h 757903"/>
                <a:gd name="connsiteX59" fmla="*/ 672733 w 828332"/>
                <a:gd name="connsiteY59" fmla="*/ 299993 h 757903"/>
                <a:gd name="connsiteX60" fmla="*/ 624098 w 828332"/>
                <a:gd name="connsiteY60" fmla="*/ 284538 h 757903"/>
                <a:gd name="connsiteX61" fmla="*/ 574274 w 828332"/>
                <a:gd name="connsiteY61" fmla="*/ 309396 h 757903"/>
                <a:gd name="connsiteX62" fmla="*/ 532772 w 828332"/>
                <a:gd name="connsiteY62" fmla="*/ 349709 h 757903"/>
                <a:gd name="connsiteX63" fmla="*/ 479381 w 828332"/>
                <a:gd name="connsiteY63" fmla="*/ 391211 h 757903"/>
                <a:gd name="connsiteX64" fmla="*/ 465115 w 828332"/>
                <a:gd name="connsiteY64" fmla="*/ 404289 h 757903"/>
                <a:gd name="connsiteX65" fmla="*/ 443715 w 828332"/>
                <a:gd name="connsiteY65" fmla="*/ 419744 h 757903"/>
                <a:gd name="connsiteX66" fmla="*/ 431826 w 828332"/>
                <a:gd name="connsiteY66" fmla="*/ 409044 h 757903"/>
                <a:gd name="connsiteX67" fmla="*/ 416371 w 828332"/>
                <a:gd name="connsiteY67" fmla="*/ 460057 h 757903"/>
                <a:gd name="connsiteX68" fmla="*/ 396161 w 828332"/>
                <a:gd name="connsiteY68" fmla="*/ 458868 h 757903"/>
                <a:gd name="connsiteX69" fmla="*/ 384272 w 828332"/>
                <a:gd name="connsiteY69" fmla="*/ 476701 h 757903"/>
                <a:gd name="connsiteX70" fmla="*/ 342770 w 828332"/>
                <a:gd name="connsiteY70" fmla="*/ 464813 h 757903"/>
                <a:gd name="connsiteX71" fmla="*/ 348714 w 828332"/>
                <a:gd name="connsiteY71" fmla="*/ 493345 h 757903"/>
                <a:gd name="connsiteX72" fmla="*/ 328504 w 828332"/>
                <a:gd name="connsiteY72" fmla="*/ 500479 h 757903"/>
                <a:gd name="connsiteX73" fmla="*/ 309590 w 828332"/>
                <a:gd name="connsiteY73" fmla="*/ 507612 h 757903"/>
                <a:gd name="connsiteX74" fmla="*/ 295324 w 828332"/>
                <a:gd name="connsiteY74" fmla="*/ 520689 h 757903"/>
                <a:gd name="connsiteX75" fmla="*/ 316723 w 828332"/>
                <a:gd name="connsiteY75" fmla="*/ 533767 h 757903"/>
                <a:gd name="connsiteX76" fmla="*/ 291865 w 828332"/>
                <a:gd name="connsiteY76" fmla="*/ 539711 h 757903"/>
                <a:gd name="connsiteX77" fmla="*/ 289487 w 828332"/>
                <a:gd name="connsiteY77" fmla="*/ 574080 h 757903"/>
                <a:gd name="connsiteX78" fmla="*/ 269277 w 828332"/>
                <a:gd name="connsiteY78" fmla="*/ 589535 h 757903"/>
                <a:gd name="connsiteX79" fmla="*/ 253821 w 828332"/>
                <a:gd name="connsiteY79" fmla="*/ 596668 h 757903"/>
                <a:gd name="connsiteX80" fmla="*/ 256199 w 828332"/>
                <a:gd name="connsiteY80" fmla="*/ 613312 h 757903"/>
                <a:gd name="connsiteX81" fmla="*/ 231341 w 828332"/>
                <a:gd name="connsiteY81" fmla="*/ 626390 h 757903"/>
                <a:gd name="connsiteX82" fmla="*/ 246796 w 828332"/>
                <a:gd name="connsiteY82" fmla="*/ 652437 h 757903"/>
                <a:gd name="connsiteX83" fmla="*/ 227883 w 828332"/>
                <a:gd name="connsiteY83" fmla="*/ 652437 h 757903"/>
                <a:gd name="connsiteX84" fmla="*/ 235016 w 828332"/>
                <a:gd name="connsiteY84" fmla="*/ 679672 h 757903"/>
                <a:gd name="connsiteX85" fmla="*/ 195891 w 828332"/>
                <a:gd name="connsiteY85" fmla="*/ 676106 h 757903"/>
                <a:gd name="connsiteX86" fmla="*/ 208969 w 828332"/>
                <a:gd name="connsiteY86" fmla="*/ 696316 h 757903"/>
                <a:gd name="connsiteX87" fmla="*/ 205402 w 828332"/>
                <a:gd name="connsiteY87" fmla="*/ 733063 h 757903"/>
                <a:gd name="connsiteX88" fmla="*/ 182382 w 828332"/>
                <a:gd name="connsiteY88" fmla="*/ 757813 h 757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828332" h="757903" extrusionOk="0">
                  <a:moveTo>
                    <a:pt x="182382" y="757813"/>
                  </a:moveTo>
                  <a:cubicBezTo>
                    <a:pt x="170493" y="759002"/>
                    <a:pt x="146824" y="748302"/>
                    <a:pt x="146824" y="738791"/>
                  </a:cubicBezTo>
                  <a:cubicBezTo>
                    <a:pt x="146824" y="730469"/>
                    <a:pt x="123155" y="735224"/>
                    <a:pt x="116022" y="729280"/>
                  </a:cubicBezTo>
                  <a:cubicBezTo>
                    <a:pt x="108889" y="723336"/>
                    <a:pt x="93541" y="712636"/>
                    <a:pt x="81653" y="711447"/>
                  </a:cubicBezTo>
                  <a:cubicBezTo>
                    <a:pt x="70953" y="710258"/>
                    <a:pt x="42528" y="710258"/>
                    <a:pt x="40151" y="704314"/>
                  </a:cubicBezTo>
                  <a:cubicBezTo>
                    <a:pt x="36584" y="698370"/>
                    <a:pt x="52039" y="659245"/>
                    <a:pt x="41340" y="664001"/>
                  </a:cubicBezTo>
                  <a:cubicBezTo>
                    <a:pt x="29451" y="667568"/>
                    <a:pt x="-12051" y="699559"/>
                    <a:pt x="3404" y="675890"/>
                  </a:cubicBezTo>
                  <a:cubicBezTo>
                    <a:pt x="18859" y="652112"/>
                    <a:pt x="23615" y="645087"/>
                    <a:pt x="40151" y="643898"/>
                  </a:cubicBezTo>
                  <a:cubicBezTo>
                    <a:pt x="56795" y="642709"/>
                    <a:pt x="52039" y="629632"/>
                    <a:pt x="55606" y="619040"/>
                  </a:cubicBezTo>
                  <a:cubicBezTo>
                    <a:pt x="57984" y="607152"/>
                    <a:pt x="62739" y="604774"/>
                    <a:pt x="78194" y="603585"/>
                  </a:cubicBezTo>
                  <a:cubicBezTo>
                    <a:pt x="93650" y="602396"/>
                    <a:pt x="110185" y="630821"/>
                    <a:pt x="110185" y="617851"/>
                  </a:cubicBezTo>
                  <a:cubicBezTo>
                    <a:pt x="110185" y="603585"/>
                    <a:pt x="93541" y="596452"/>
                    <a:pt x="100675" y="587049"/>
                  </a:cubicBezTo>
                  <a:cubicBezTo>
                    <a:pt x="107808" y="576349"/>
                    <a:pt x="81653" y="558625"/>
                    <a:pt x="95919" y="552680"/>
                  </a:cubicBezTo>
                  <a:cubicBezTo>
                    <a:pt x="110185" y="546736"/>
                    <a:pt x="135044" y="555058"/>
                    <a:pt x="126721" y="546736"/>
                  </a:cubicBezTo>
                  <a:cubicBezTo>
                    <a:pt x="118399" y="538414"/>
                    <a:pt x="100675" y="521878"/>
                    <a:pt x="110077" y="518311"/>
                  </a:cubicBezTo>
                  <a:cubicBezTo>
                    <a:pt x="119588" y="513556"/>
                    <a:pt x="138502" y="515934"/>
                    <a:pt x="139691" y="508800"/>
                  </a:cubicBezTo>
                  <a:cubicBezTo>
                    <a:pt x="140880" y="502856"/>
                    <a:pt x="113644" y="493345"/>
                    <a:pt x="120669" y="485131"/>
                  </a:cubicBezTo>
                  <a:cubicBezTo>
                    <a:pt x="127802" y="476809"/>
                    <a:pt x="139691" y="459085"/>
                    <a:pt x="131369" y="459085"/>
                  </a:cubicBezTo>
                  <a:cubicBezTo>
                    <a:pt x="123047" y="459085"/>
                    <a:pt x="117102" y="457896"/>
                    <a:pt x="119480" y="451951"/>
                  </a:cubicBezTo>
                  <a:cubicBezTo>
                    <a:pt x="123047" y="446007"/>
                    <a:pt x="132558" y="436496"/>
                    <a:pt x="142069" y="437685"/>
                  </a:cubicBezTo>
                  <a:cubicBezTo>
                    <a:pt x="151579" y="438874"/>
                    <a:pt x="150391" y="447196"/>
                    <a:pt x="158713" y="437685"/>
                  </a:cubicBezTo>
                  <a:cubicBezTo>
                    <a:pt x="167035" y="428174"/>
                    <a:pt x="195459" y="389050"/>
                    <a:pt x="187245" y="387861"/>
                  </a:cubicBezTo>
                  <a:cubicBezTo>
                    <a:pt x="178923" y="385483"/>
                    <a:pt x="200323" y="368947"/>
                    <a:pt x="207456" y="368947"/>
                  </a:cubicBezTo>
                  <a:cubicBezTo>
                    <a:pt x="213400" y="368947"/>
                    <a:pt x="224100" y="374891"/>
                    <a:pt x="224100" y="365381"/>
                  </a:cubicBezTo>
                  <a:cubicBezTo>
                    <a:pt x="224100" y="354681"/>
                    <a:pt x="205186" y="346467"/>
                    <a:pt x="220533" y="338145"/>
                  </a:cubicBezTo>
                  <a:cubicBezTo>
                    <a:pt x="235989" y="329823"/>
                    <a:pt x="247769" y="322690"/>
                    <a:pt x="259658" y="315557"/>
                  </a:cubicBezTo>
                  <a:cubicBezTo>
                    <a:pt x="272735" y="308423"/>
                    <a:pt x="281057" y="300101"/>
                    <a:pt x="279868" y="292968"/>
                  </a:cubicBezTo>
                  <a:cubicBezTo>
                    <a:pt x="278679" y="285835"/>
                    <a:pt x="275113" y="269299"/>
                    <a:pt x="285813" y="270380"/>
                  </a:cubicBezTo>
                  <a:cubicBezTo>
                    <a:pt x="295324" y="272758"/>
                    <a:pt x="287002" y="288213"/>
                    <a:pt x="297701" y="285835"/>
                  </a:cubicBezTo>
                  <a:cubicBezTo>
                    <a:pt x="309590" y="284646"/>
                    <a:pt x="304834" y="276324"/>
                    <a:pt x="317912" y="272758"/>
                  </a:cubicBezTo>
                  <a:cubicBezTo>
                    <a:pt x="330989" y="268002"/>
                    <a:pt x="365358" y="232444"/>
                    <a:pt x="372492" y="219367"/>
                  </a:cubicBezTo>
                  <a:cubicBezTo>
                    <a:pt x="379625" y="205101"/>
                    <a:pt x="392702" y="201534"/>
                    <a:pt x="386758" y="194509"/>
                  </a:cubicBezTo>
                  <a:cubicBezTo>
                    <a:pt x="380813" y="188564"/>
                    <a:pt x="366547" y="182620"/>
                    <a:pt x="385569" y="181431"/>
                  </a:cubicBezTo>
                  <a:cubicBezTo>
                    <a:pt x="403402" y="179054"/>
                    <a:pt x="397458" y="183809"/>
                    <a:pt x="406968" y="176676"/>
                  </a:cubicBezTo>
                  <a:cubicBezTo>
                    <a:pt x="415290" y="169543"/>
                    <a:pt x="424801" y="160032"/>
                    <a:pt x="430746" y="167165"/>
                  </a:cubicBezTo>
                  <a:cubicBezTo>
                    <a:pt x="435501" y="174298"/>
                    <a:pt x="454415" y="194401"/>
                    <a:pt x="461548" y="192131"/>
                  </a:cubicBezTo>
                  <a:cubicBezTo>
                    <a:pt x="468681" y="189753"/>
                    <a:pt x="478192" y="188564"/>
                    <a:pt x="481759" y="181431"/>
                  </a:cubicBezTo>
                  <a:cubicBezTo>
                    <a:pt x="486514" y="174298"/>
                    <a:pt x="487703" y="156573"/>
                    <a:pt x="493647" y="168354"/>
                  </a:cubicBezTo>
                  <a:cubicBezTo>
                    <a:pt x="499592" y="179054"/>
                    <a:pt x="500780" y="203912"/>
                    <a:pt x="515047" y="199156"/>
                  </a:cubicBezTo>
                  <a:cubicBezTo>
                    <a:pt x="528124" y="194401"/>
                    <a:pt x="523369" y="184890"/>
                    <a:pt x="545849" y="186079"/>
                  </a:cubicBezTo>
                  <a:cubicBezTo>
                    <a:pt x="568437" y="188456"/>
                    <a:pt x="600429" y="178946"/>
                    <a:pt x="612209" y="163490"/>
                  </a:cubicBezTo>
                  <a:cubicBezTo>
                    <a:pt x="625287" y="148035"/>
                    <a:pt x="630042" y="137444"/>
                    <a:pt x="645389" y="136255"/>
                  </a:cubicBezTo>
                  <a:cubicBezTo>
                    <a:pt x="660844" y="135066"/>
                    <a:pt x="679758" y="106533"/>
                    <a:pt x="684514" y="89997"/>
                  </a:cubicBezTo>
                  <a:cubicBezTo>
                    <a:pt x="688080" y="73353"/>
                    <a:pt x="709372" y="54439"/>
                    <a:pt x="709372" y="44928"/>
                  </a:cubicBezTo>
                  <a:cubicBezTo>
                    <a:pt x="709372" y="35418"/>
                    <a:pt x="702238" y="17693"/>
                    <a:pt x="708183" y="14126"/>
                  </a:cubicBezTo>
                  <a:cubicBezTo>
                    <a:pt x="714127" y="9371"/>
                    <a:pt x="740174" y="1049"/>
                    <a:pt x="741363" y="5804"/>
                  </a:cubicBezTo>
                  <a:cubicBezTo>
                    <a:pt x="742551" y="9371"/>
                    <a:pt x="749685" y="15315"/>
                    <a:pt x="755629" y="10560"/>
                  </a:cubicBezTo>
                  <a:cubicBezTo>
                    <a:pt x="761573" y="6993"/>
                    <a:pt x="762762" y="-4896"/>
                    <a:pt x="777028" y="2238"/>
                  </a:cubicBezTo>
                  <a:cubicBezTo>
                    <a:pt x="791295" y="9371"/>
                    <a:pt x="809020" y="15315"/>
                    <a:pt x="806750" y="22448"/>
                  </a:cubicBezTo>
                  <a:cubicBezTo>
                    <a:pt x="803183" y="29581"/>
                    <a:pt x="801995" y="45037"/>
                    <a:pt x="810317" y="50873"/>
                  </a:cubicBezTo>
                  <a:cubicBezTo>
                    <a:pt x="818639" y="55628"/>
                    <a:pt x="832797" y="76920"/>
                    <a:pt x="826961" y="82864"/>
                  </a:cubicBezTo>
                  <a:cubicBezTo>
                    <a:pt x="822205" y="88808"/>
                    <a:pt x="811505" y="89997"/>
                    <a:pt x="813883" y="100697"/>
                  </a:cubicBezTo>
                  <a:cubicBezTo>
                    <a:pt x="815072" y="112585"/>
                    <a:pt x="816261" y="141010"/>
                    <a:pt x="822205" y="146954"/>
                  </a:cubicBezTo>
                  <a:cubicBezTo>
                    <a:pt x="826961" y="152899"/>
                    <a:pt x="823394" y="155276"/>
                    <a:pt x="816261" y="162410"/>
                  </a:cubicBezTo>
                  <a:cubicBezTo>
                    <a:pt x="809128" y="169543"/>
                    <a:pt x="801995" y="188456"/>
                    <a:pt x="801995" y="196778"/>
                  </a:cubicBezTo>
                  <a:cubicBezTo>
                    <a:pt x="801995" y="205101"/>
                    <a:pt x="810317" y="220448"/>
                    <a:pt x="815072" y="219259"/>
                  </a:cubicBezTo>
                  <a:cubicBezTo>
                    <a:pt x="818639" y="216881"/>
                    <a:pt x="800806" y="234714"/>
                    <a:pt x="791295" y="238280"/>
                  </a:cubicBezTo>
                  <a:cubicBezTo>
                    <a:pt x="780595" y="243036"/>
                    <a:pt x="760493" y="258491"/>
                    <a:pt x="747415" y="267894"/>
                  </a:cubicBezTo>
                  <a:cubicBezTo>
                    <a:pt x="734338" y="277405"/>
                    <a:pt x="736715" y="282160"/>
                    <a:pt x="721368" y="290482"/>
                  </a:cubicBezTo>
                  <a:cubicBezTo>
                    <a:pt x="705913" y="298804"/>
                    <a:pt x="691755" y="305938"/>
                    <a:pt x="672733" y="299993"/>
                  </a:cubicBezTo>
                  <a:cubicBezTo>
                    <a:pt x="655008" y="294049"/>
                    <a:pt x="633609" y="284538"/>
                    <a:pt x="624098" y="284538"/>
                  </a:cubicBezTo>
                  <a:cubicBezTo>
                    <a:pt x="614587" y="284538"/>
                    <a:pt x="584973" y="291671"/>
                    <a:pt x="574274" y="309396"/>
                  </a:cubicBezTo>
                  <a:cubicBezTo>
                    <a:pt x="564763" y="328418"/>
                    <a:pt x="547038" y="343765"/>
                    <a:pt x="532772" y="349709"/>
                  </a:cubicBezTo>
                  <a:cubicBezTo>
                    <a:pt x="518505" y="354465"/>
                    <a:pt x="486514" y="387645"/>
                    <a:pt x="479381" y="391211"/>
                  </a:cubicBezTo>
                  <a:cubicBezTo>
                    <a:pt x="472248" y="395967"/>
                    <a:pt x="474625" y="395967"/>
                    <a:pt x="465115" y="404289"/>
                  </a:cubicBezTo>
                  <a:cubicBezTo>
                    <a:pt x="455604" y="412611"/>
                    <a:pt x="450848" y="428066"/>
                    <a:pt x="443715" y="419744"/>
                  </a:cubicBezTo>
                  <a:cubicBezTo>
                    <a:pt x="437771" y="411422"/>
                    <a:pt x="438960" y="399533"/>
                    <a:pt x="431826" y="409044"/>
                  </a:cubicBezTo>
                  <a:cubicBezTo>
                    <a:pt x="424693" y="419744"/>
                    <a:pt x="424693" y="454113"/>
                    <a:pt x="416371" y="460057"/>
                  </a:cubicBezTo>
                  <a:cubicBezTo>
                    <a:pt x="408049" y="466002"/>
                    <a:pt x="399727" y="454113"/>
                    <a:pt x="396161" y="458868"/>
                  </a:cubicBezTo>
                  <a:cubicBezTo>
                    <a:pt x="393783" y="462435"/>
                    <a:pt x="397349" y="480268"/>
                    <a:pt x="384272" y="476701"/>
                  </a:cubicBezTo>
                  <a:cubicBezTo>
                    <a:pt x="370006" y="474323"/>
                    <a:pt x="340392" y="454113"/>
                    <a:pt x="342770" y="464813"/>
                  </a:cubicBezTo>
                  <a:cubicBezTo>
                    <a:pt x="346336" y="474323"/>
                    <a:pt x="354659" y="487401"/>
                    <a:pt x="348714" y="493345"/>
                  </a:cubicBezTo>
                  <a:cubicBezTo>
                    <a:pt x="342770" y="500479"/>
                    <a:pt x="335637" y="495723"/>
                    <a:pt x="328504" y="500479"/>
                  </a:cubicBezTo>
                  <a:cubicBezTo>
                    <a:pt x="322559" y="506423"/>
                    <a:pt x="317804" y="506423"/>
                    <a:pt x="309590" y="507612"/>
                  </a:cubicBezTo>
                  <a:cubicBezTo>
                    <a:pt x="301268" y="508800"/>
                    <a:pt x="294135" y="514745"/>
                    <a:pt x="295324" y="520689"/>
                  </a:cubicBezTo>
                  <a:cubicBezTo>
                    <a:pt x="296512" y="526633"/>
                    <a:pt x="316723" y="524256"/>
                    <a:pt x="316723" y="533767"/>
                  </a:cubicBezTo>
                  <a:cubicBezTo>
                    <a:pt x="316723" y="542089"/>
                    <a:pt x="300079" y="538522"/>
                    <a:pt x="291865" y="539711"/>
                  </a:cubicBezTo>
                  <a:cubicBezTo>
                    <a:pt x="282354" y="542089"/>
                    <a:pt x="289487" y="561110"/>
                    <a:pt x="289487" y="574080"/>
                  </a:cubicBezTo>
                  <a:cubicBezTo>
                    <a:pt x="289487" y="587049"/>
                    <a:pt x="274032" y="589535"/>
                    <a:pt x="269277" y="589535"/>
                  </a:cubicBezTo>
                  <a:cubicBezTo>
                    <a:pt x="263332" y="589535"/>
                    <a:pt x="250255" y="589535"/>
                    <a:pt x="253821" y="596668"/>
                  </a:cubicBezTo>
                  <a:cubicBezTo>
                    <a:pt x="256199" y="603801"/>
                    <a:pt x="266899" y="610934"/>
                    <a:pt x="256199" y="613312"/>
                  </a:cubicBezTo>
                  <a:cubicBezTo>
                    <a:pt x="244311" y="615690"/>
                    <a:pt x="220642" y="615690"/>
                    <a:pt x="231341" y="626390"/>
                  </a:cubicBezTo>
                  <a:cubicBezTo>
                    <a:pt x="240852" y="635901"/>
                    <a:pt x="246796" y="643034"/>
                    <a:pt x="246796" y="652437"/>
                  </a:cubicBezTo>
                  <a:cubicBezTo>
                    <a:pt x="246796" y="661947"/>
                    <a:pt x="227883" y="644115"/>
                    <a:pt x="227883" y="652437"/>
                  </a:cubicBezTo>
                  <a:cubicBezTo>
                    <a:pt x="227883" y="660759"/>
                    <a:pt x="242149" y="669081"/>
                    <a:pt x="235016" y="679672"/>
                  </a:cubicBezTo>
                  <a:cubicBezTo>
                    <a:pt x="227883" y="689183"/>
                    <a:pt x="200647" y="673728"/>
                    <a:pt x="195891" y="676106"/>
                  </a:cubicBezTo>
                  <a:cubicBezTo>
                    <a:pt x="192325" y="679672"/>
                    <a:pt x="198269" y="689183"/>
                    <a:pt x="208969" y="696316"/>
                  </a:cubicBezTo>
                  <a:cubicBezTo>
                    <a:pt x="218480" y="703450"/>
                    <a:pt x="205402" y="723552"/>
                    <a:pt x="205402" y="733063"/>
                  </a:cubicBezTo>
                  <a:cubicBezTo>
                    <a:pt x="204970" y="741169"/>
                    <a:pt x="193082" y="756624"/>
                    <a:pt x="182382" y="757813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7" name="Полилиния: фигура 177"/>
            <p:cNvSpPr/>
            <p:nvPr/>
          </p:nvSpPr>
          <p:spPr bwMode="auto">
            <a:xfrm>
              <a:off x="3365020" y="3066168"/>
              <a:ext cx="87498" cy="107445"/>
            </a:xfrm>
            <a:custGeom>
              <a:avLst/>
              <a:gdLst>
                <a:gd name="connsiteX0" fmla="*/ 30504 w 87498"/>
                <a:gd name="connsiteY0" fmla="*/ 106829 h 107445"/>
                <a:gd name="connsiteX1" fmla="*/ 3268 w 87498"/>
                <a:gd name="connsiteY1" fmla="*/ 16692 h 107445"/>
                <a:gd name="connsiteX2" fmla="*/ 50714 w 87498"/>
                <a:gd name="connsiteY2" fmla="*/ 3614 h 107445"/>
                <a:gd name="connsiteX3" fmla="*/ 87461 w 87498"/>
                <a:gd name="connsiteY3" fmla="*/ 42738 h 107445"/>
                <a:gd name="connsiteX4" fmla="*/ 30504 w 87498"/>
                <a:gd name="connsiteY4" fmla="*/ 106829 h 10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498" h="107445" extrusionOk="0">
                  <a:moveTo>
                    <a:pt x="30504" y="106829"/>
                  </a:moveTo>
                  <a:cubicBezTo>
                    <a:pt x="-8621" y="115151"/>
                    <a:pt x="-299" y="36794"/>
                    <a:pt x="3268" y="16692"/>
                  </a:cubicBezTo>
                  <a:cubicBezTo>
                    <a:pt x="5646" y="-4708"/>
                    <a:pt x="41203" y="-1141"/>
                    <a:pt x="50714" y="3614"/>
                  </a:cubicBezTo>
                  <a:cubicBezTo>
                    <a:pt x="61414" y="8370"/>
                    <a:pt x="88650" y="30850"/>
                    <a:pt x="87461" y="42738"/>
                  </a:cubicBezTo>
                  <a:cubicBezTo>
                    <a:pt x="86272" y="55816"/>
                    <a:pt x="47148" y="103262"/>
                    <a:pt x="30504" y="106829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8" name="Полилиния: фигура 178"/>
            <p:cNvSpPr/>
            <p:nvPr/>
          </p:nvSpPr>
          <p:spPr bwMode="auto">
            <a:xfrm>
              <a:off x="3107063" y="3006773"/>
              <a:ext cx="1152006" cy="578974"/>
            </a:xfrm>
            <a:custGeom>
              <a:avLst/>
              <a:gdLst>
                <a:gd name="connsiteX0" fmla="*/ 52418 w 1152006"/>
                <a:gd name="connsiteY0" fmla="*/ 507860 h 578975"/>
                <a:gd name="connsiteX1" fmla="*/ 106998 w 1152006"/>
                <a:gd name="connsiteY1" fmla="*/ 539851 h 578975"/>
                <a:gd name="connsiteX2" fmla="*/ 143744 w 1152006"/>
                <a:gd name="connsiteY2" fmla="*/ 538662 h 578975"/>
                <a:gd name="connsiteX3" fmla="*/ 200701 w 1152006"/>
                <a:gd name="connsiteY3" fmla="*/ 578976 h 578975"/>
                <a:gd name="connsiteX4" fmla="*/ 261225 w 1152006"/>
                <a:gd name="connsiteY4" fmla="*/ 530340 h 578975"/>
                <a:gd name="connsiteX5" fmla="*/ 301538 w 1152006"/>
                <a:gd name="connsiteY5" fmla="*/ 537474 h 578975"/>
                <a:gd name="connsiteX6" fmla="*/ 366818 w 1152006"/>
                <a:gd name="connsiteY6" fmla="*/ 485271 h 578975"/>
                <a:gd name="connsiteX7" fmla="*/ 405942 w 1152006"/>
                <a:gd name="connsiteY7" fmla="*/ 447336 h 578975"/>
                <a:gd name="connsiteX8" fmla="*/ 435556 w 1152006"/>
                <a:gd name="connsiteY8" fmla="*/ 444958 h 578975"/>
                <a:gd name="connsiteX9" fmla="*/ 435556 w 1152006"/>
                <a:gd name="connsiteY9" fmla="*/ 421289 h 578975"/>
                <a:gd name="connsiteX10" fmla="*/ 464088 w 1152006"/>
                <a:gd name="connsiteY10" fmla="*/ 405834 h 578975"/>
                <a:gd name="connsiteX11" fmla="*/ 505590 w 1152006"/>
                <a:gd name="connsiteY11" fmla="*/ 417723 h 578975"/>
                <a:gd name="connsiteX12" fmla="*/ 568492 w 1152006"/>
                <a:gd name="connsiteY12" fmla="*/ 424856 h 578975"/>
                <a:gd name="connsiteX13" fmla="*/ 818801 w 1152006"/>
                <a:gd name="connsiteY13" fmla="*/ 428423 h 578975"/>
                <a:gd name="connsiteX14" fmla="*/ 959951 w 1152006"/>
                <a:gd name="connsiteY14" fmla="*/ 416534 h 578975"/>
                <a:gd name="connsiteX15" fmla="*/ 1007398 w 1152006"/>
                <a:gd name="connsiteY15" fmla="*/ 370276 h 578975"/>
                <a:gd name="connsiteX16" fmla="*/ 1034633 w 1152006"/>
                <a:gd name="connsiteY16" fmla="*/ 357199 h 578975"/>
                <a:gd name="connsiteX17" fmla="*/ 1037011 w 1152006"/>
                <a:gd name="connsiteY17" fmla="*/ 325208 h 578975"/>
                <a:gd name="connsiteX18" fmla="*/ 1077324 w 1152006"/>
                <a:gd name="connsiteY18" fmla="*/ 310941 h 578975"/>
                <a:gd name="connsiteX19" fmla="*/ 1076135 w 1152006"/>
                <a:gd name="connsiteY19" fmla="*/ 296675 h 578975"/>
                <a:gd name="connsiteX20" fmla="*/ 1060680 w 1152006"/>
                <a:gd name="connsiteY20" fmla="*/ 287164 h 578975"/>
                <a:gd name="connsiteX21" fmla="*/ 1060680 w 1152006"/>
                <a:gd name="connsiteY21" fmla="*/ 268142 h 578975"/>
                <a:gd name="connsiteX22" fmla="*/ 1109316 w 1152006"/>
                <a:gd name="connsiteY22" fmla="*/ 268142 h 578975"/>
                <a:gd name="connsiteX23" fmla="*/ 1118827 w 1152006"/>
                <a:gd name="connsiteY23" fmla="*/ 225451 h 578975"/>
                <a:gd name="connsiteX24" fmla="*/ 1148440 w 1152006"/>
                <a:gd name="connsiteY24" fmla="*/ 217129 h 578975"/>
                <a:gd name="connsiteX25" fmla="*/ 1152006 w 1152006"/>
                <a:gd name="connsiteY25" fmla="*/ 182760 h 578975"/>
                <a:gd name="connsiteX26" fmla="*/ 1124771 w 1152006"/>
                <a:gd name="connsiteY26" fmla="*/ 169683 h 578975"/>
                <a:gd name="connsiteX27" fmla="*/ 1115260 w 1152006"/>
                <a:gd name="connsiteY27" fmla="*/ 130559 h 578975"/>
                <a:gd name="connsiteX28" fmla="*/ 1112882 w 1152006"/>
                <a:gd name="connsiteY28" fmla="*/ 52310 h 578975"/>
                <a:gd name="connsiteX29" fmla="*/ 1066625 w 1152006"/>
                <a:gd name="connsiteY29" fmla="*/ 41610 h 578975"/>
                <a:gd name="connsiteX30" fmla="*/ 1022745 w 1152006"/>
                <a:gd name="connsiteY30" fmla="*/ 27344 h 578975"/>
                <a:gd name="connsiteX31" fmla="*/ 982432 w 1152006"/>
                <a:gd name="connsiteY31" fmla="*/ 23777 h 578975"/>
                <a:gd name="connsiteX32" fmla="*/ 962221 w 1152006"/>
                <a:gd name="connsiteY32" fmla="*/ 20211 h 578975"/>
                <a:gd name="connsiteX33" fmla="*/ 940822 w 1152006"/>
                <a:gd name="connsiteY33" fmla="*/ 3567 h 578975"/>
                <a:gd name="connsiteX34" fmla="*/ 926555 w 1152006"/>
                <a:gd name="connsiteY34" fmla="*/ 0 h 578975"/>
                <a:gd name="connsiteX35" fmla="*/ 914667 w 1152006"/>
                <a:gd name="connsiteY35" fmla="*/ 7133 h 578975"/>
                <a:gd name="connsiteX36" fmla="*/ 913478 w 1152006"/>
                <a:gd name="connsiteY36" fmla="*/ 17833 h 578975"/>
                <a:gd name="connsiteX37" fmla="*/ 900400 w 1152006"/>
                <a:gd name="connsiteY37" fmla="*/ 48635 h 578975"/>
                <a:gd name="connsiteX38" fmla="*/ 896834 w 1152006"/>
                <a:gd name="connsiteY38" fmla="*/ 74682 h 578975"/>
                <a:gd name="connsiteX39" fmla="*/ 919422 w 1152006"/>
                <a:gd name="connsiteY39" fmla="*/ 131639 h 578975"/>
                <a:gd name="connsiteX40" fmla="*/ 930122 w 1152006"/>
                <a:gd name="connsiteY40" fmla="*/ 161253 h 578975"/>
                <a:gd name="connsiteX41" fmla="*/ 926555 w 1152006"/>
                <a:gd name="connsiteY41" fmla="*/ 171953 h 578975"/>
                <a:gd name="connsiteX42" fmla="*/ 892186 w 1152006"/>
                <a:gd name="connsiteY42" fmla="*/ 181464 h 578975"/>
                <a:gd name="connsiteX43" fmla="*/ 880298 w 1152006"/>
                <a:gd name="connsiteY43" fmla="*/ 186219 h 578975"/>
                <a:gd name="connsiteX44" fmla="*/ 875542 w 1152006"/>
                <a:gd name="connsiteY44" fmla="*/ 206430 h 578975"/>
                <a:gd name="connsiteX45" fmla="*/ 876731 w 1152006"/>
                <a:gd name="connsiteY45" fmla="*/ 240798 h 578975"/>
                <a:gd name="connsiteX46" fmla="*/ 873164 w 1152006"/>
                <a:gd name="connsiteY46" fmla="*/ 246743 h 578975"/>
                <a:gd name="connsiteX47" fmla="*/ 848307 w 1152006"/>
                <a:gd name="connsiteY47" fmla="*/ 223074 h 578975"/>
                <a:gd name="connsiteX48" fmla="*/ 839984 w 1152006"/>
                <a:gd name="connsiteY48" fmla="*/ 219507 h 578975"/>
                <a:gd name="connsiteX49" fmla="*/ 841173 w 1152006"/>
                <a:gd name="connsiteY49" fmla="*/ 214752 h 578975"/>
                <a:gd name="connsiteX50" fmla="*/ 848307 w 1152006"/>
                <a:gd name="connsiteY50" fmla="*/ 211185 h 578975"/>
                <a:gd name="connsiteX51" fmla="*/ 854251 w 1152006"/>
                <a:gd name="connsiteY51" fmla="*/ 189785 h 578975"/>
                <a:gd name="connsiteX52" fmla="*/ 851873 w 1152006"/>
                <a:gd name="connsiteY52" fmla="*/ 175519 h 578975"/>
                <a:gd name="connsiteX53" fmla="*/ 839984 w 1152006"/>
                <a:gd name="connsiteY53" fmla="*/ 158875 h 578975"/>
                <a:gd name="connsiteX54" fmla="*/ 831662 w 1152006"/>
                <a:gd name="connsiteY54" fmla="*/ 152931 h 578975"/>
                <a:gd name="connsiteX55" fmla="*/ 806804 w 1152006"/>
                <a:gd name="connsiteY55" fmla="*/ 157686 h 578975"/>
                <a:gd name="connsiteX56" fmla="*/ 778380 w 1152006"/>
                <a:gd name="connsiteY56" fmla="*/ 181355 h 578975"/>
                <a:gd name="connsiteX57" fmla="*/ 747578 w 1152006"/>
                <a:gd name="connsiteY57" fmla="*/ 198000 h 578975"/>
                <a:gd name="connsiteX58" fmla="*/ 712020 w 1152006"/>
                <a:gd name="connsiteY58" fmla="*/ 203944 h 578975"/>
                <a:gd name="connsiteX59" fmla="*/ 690620 w 1152006"/>
                <a:gd name="connsiteY59" fmla="*/ 201566 h 578975"/>
                <a:gd name="connsiteX60" fmla="*/ 672787 w 1152006"/>
                <a:gd name="connsiteY60" fmla="*/ 199188 h 578975"/>
                <a:gd name="connsiteX61" fmla="*/ 637230 w 1152006"/>
                <a:gd name="connsiteY61" fmla="*/ 213455 h 578975"/>
                <a:gd name="connsiteX62" fmla="*/ 620586 w 1152006"/>
                <a:gd name="connsiteY62" fmla="*/ 226532 h 578975"/>
                <a:gd name="connsiteX63" fmla="*/ 617019 w 1152006"/>
                <a:gd name="connsiteY63" fmla="*/ 234854 h 578975"/>
                <a:gd name="connsiteX64" fmla="*/ 619397 w 1152006"/>
                <a:gd name="connsiteY64" fmla="*/ 249121 h 578975"/>
                <a:gd name="connsiteX65" fmla="*/ 619397 w 1152006"/>
                <a:gd name="connsiteY65" fmla="*/ 250309 h 578975"/>
                <a:gd name="connsiteX66" fmla="*/ 614641 w 1152006"/>
                <a:gd name="connsiteY66" fmla="*/ 256254 h 578975"/>
                <a:gd name="connsiteX67" fmla="*/ 600375 w 1152006"/>
                <a:gd name="connsiteY67" fmla="*/ 261009 h 578975"/>
                <a:gd name="connsiteX68" fmla="*/ 588486 w 1152006"/>
                <a:gd name="connsiteY68" fmla="*/ 255065 h 578975"/>
                <a:gd name="connsiteX69" fmla="*/ 580164 w 1152006"/>
                <a:gd name="connsiteY69" fmla="*/ 270520 h 578975"/>
                <a:gd name="connsiteX70" fmla="*/ 569465 w 1152006"/>
                <a:gd name="connsiteY70" fmla="*/ 284786 h 578975"/>
                <a:gd name="connsiteX71" fmla="*/ 545795 w 1152006"/>
                <a:gd name="connsiteY71" fmla="*/ 299053 h 578975"/>
                <a:gd name="connsiteX72" fmla="*/ 537473 w 1152006"/>
                <a:gd name="connsiteY72" fmla="*/ 296675 h 578975"/>
                <a:gd name="connsiteX73" fmla="*/ 523315 w 1152006"/>
                <a:gd name="connsiteY73" fmla="*/ 297864 h 578975"/>
                <a:gd name="connsiteX74" fmla="*/ 514993 w 1152006"/>
                <a:gd name="connsiteY74" fmla="*/ 288353 h 578975"/>
                <a:gd name="connsiteX75" fmla="*/ 501916 w 1152006"/>
                <a:gd name="connsiteY75" fmla="*/ 290731 h 578975"/>
                <a:gd name="connsiteX76" fmla="*/ 497160 w 1152006"/>
                <a:gd name="connsiteY76" fmla="*/ 288353 h 578975"/>
                <a:gd name="connsiteX77" fmla="*/ 505482 w 1152006"/>
                <a:gd name="connsiteY77" fmla="*/ 268142 h 578975"/>
                <a:gd name="connsiteX78" fmla="*/ 516182 w 1152006"/>
                <a:gd name="connsiteY78" fmla="*/ 258631 h 578975"/>
                <a:gd name="connsiteX79" fmla="*/ 554117 w 1152006"/>
                <a:gd name="connsiteY79" fmla="*/ 232584 h 578975"/>
                <a:gd name="connsiteX80" fmla="*/ 561250 w 1152006"/>
                <a:gd name="connsiteY80" fmla="*/ 221885 h 578975"/>
                <a:gd name="connsiteX81" fmla="*/ 564817 w 1152006"/>
                <a:gd name="connsiteY81" fmla="*/ 198216 h 578975"/>
                <a:gd name="connsiteX82" fmla="*/ 564817 w 1152006"/>
                <a:gd name="connsiteY82" fmla="*/ 192271 h 578975"/>
                <a:gd name="connsiteX83" fmla="*/ 567195 w 1152006"/>
                <a:gd name="connsiteY83" fmla="*/ 165036 h 578975"/>
                <a:gd name="connsiteX84" fmla="*/ 563628 w 1152006"/>
                <a:gd name="connsiteY84" fmla="*/ 159091 h 578975"/>
                <a:gd name="connsiteX85" fmla="*/ 593242 w 1152006"/>
                <a:gd name="connsiteY85" fmla="*/ 133044 h 578975"/>
                <a:gd name="connsiteX86" fmla="*/ 537473 w 1152006"/>
                <a:gd name="connsiteY86" fmla="*/ 161469 h 578975"/>
                <a:gd name="connsiteX87" fmla="*/ 488838 w 1152006"/>
                <a:gd name="connsiteY87" fmla="*/ 195838 h 578975"/>
                <a:gd name="connsiteX88" fmla="*/ 467439 w 1152006"/>
                <a:gd name="connsiteY88" fmla="*/ 211293 h 578975"/>
                <a:gd name="connsiteX89" fmla="*/ 415237 w 1152006"/>
                <a:gd name="connsiteY89" fmla="*/ 230207 h 578975"/>
                <a:gd name="connsiteX90" fmla="*/ 386704 w 1152006"/>
                <a:gd name="connsiteY90" fmla="*/ 240907 h 578975"/>
                <a:gd name="connsiteX91" fmla="*/ 352335 w 1152006"/>
                <a:gd name="connsiteY91" fmla="*/ 282409 h 578975"/>
                <a:gd name="connsiteX92" fmla="*/ 341635 w 1152006"/>
                <a:gd name="connsiteY92" fmla="*/ 294297 h 578975"/>
                <a:gd name="connsiteX93" fmla="*/ 330936 w 1152006"/>
                <a:gd name="connsiteY93" fmla="*/ 293108 h 578975"/>
                <a:gd name="connsiteX94" fmla="*/ 303700 w 1152006"/>
                <a:gd name="connsiteY94" fmla="*/ 284786 h 578975"/>
                <a:gd name="connsiteX95" fmla="*/ 294189 w 1152006"/>
                <a:gd name="connsiteY95" fmla="*/ 284786 h 578975"/>
                <a:gd name="connsiteX96" fmla="*/ 297756 w 1152006"/>
                <a:gd name="connsiteY96" fmla="*/ 296675 h 578975"/>
                <a:gd name="connsiteX97" fmla="*/ 314400 w 1152006"/>
                <a:gd name="connsiteY97" fmla="*/ 316886 h 578975"/>
                <a:gd name="connsiteX98" fmla="*/ 295486 w 1152006"/>
                <a:gd name="connsiteY98" fmla="*/ 325208 h 578975"/>
                <a:gd name="connsiteX99" fmla="*/ 258739 w 1152006"/>
                <a:gd name="connsiteY99" fmla="*/ 335908 h 578975"/>
                <a:gd name="connsiteX100" fmla="*/ 257551 w 1152006"/>
                <a:gd name="connsiteY100" fmla="*/ 396431 h 578975"/>
                <a:gd name="connsiteX101" fmla="*/ 251606 w 1152006"/>
                <a:gd name="connsiteY101" fmla="*/ 416642 h 578975"/>
                <a:gd name="connsiteX102" fmla="*/ 243284 w 1152006"/>
                <a:gd name="connsiteY102" fmla="*/ 429719 h 578975"/>
                <a:gd name="connsiteX103" fmla="*/ 223074 w 1152006"/>
                <a:gd name="connsiteY103" fmla="*/ 435664 h 578975"/>
                <a:gd name="connsiteX104" fmla="*/ 157794 w 1152006"/>
                <a:gd name="connsiteY104" fmla="*/ 435664 h 578975"/>
                <a:gd name="connsiteX105" fmla="*/ 147095 w 1152006"/>
                <a:gd name="connsiteY105" fmla="*/ 433286 h 578975"/>
                <a:gd name="connsiteX106" fmla="*/ 130450 w 1152006"/>
                <a:gd name="connsiteY106" fmla="*/ 397728 h 578975"/>
                <a:gd name="connsiteX107" fmla="*/ 120940 w 1152006"/>
                <a:gd name="connsiteY107" fmla="*/ 381084 h 578975"/>
                <a:gd name="connsiteX108" fmla="*/ 103107 w 1152006"/>
                <a:gd name="connsiteY108" fmla="*/ 372762 h 578975"/>
                <a:gd name="connsiteX109" fmla="*/ 95973 w 1152006"/>
                <a:gd name="connsiteY109" fmla="*/ 365629 h 578975"/>
                <a:gd name="connsiteX110" fmla="*/ 97162 w 1152006"/>
                <a:gd name="connsiteY110" fmla="*/ 344229 h 578975"/>
                <a:gd name="connsiteX111" fmla="*/ 111429 w 1152006"/>
                <a:gd name="connsiteY111" fmla="*/ 319372 h 578975"/>
                <a:gd name="connsiteX112" fmla="*/ 149364 w 1152006"/>
                <a:gd name="connsiteY112" fmla="*/ 296783 h 578975"/>
                <a:gd name="connsiteX113" fmla="*/ 174330 w 1152006"/>
                <a:gd name="connsiteY113" fmla="*/ 288461 h 578975"/>
                <a:gd name="connsiteX114" fmla="*/ 176708 w 1152006"/>
                <a:gd name="connsiteY114" fmla="*/ 280139 h 578975"/>
                <a:gd name="connsiteX115" fmla="*/ 155308 w 1152006"/>
                <a:gd name="connsiteY115" fmla="*/ 250525 h 578975"/>
                <a:gd name="connsiteX116" fmla="*/ 137476 w 1152006"/>
                <a:gd name="connsiteY116" fmla="*/ 219723 h 578975"/>
                <a:gd name="connsiteX117" fmla="*/ 111429 w 1152006"/>
                <a:gd name="connsiteY117" fmla="*/ 207835 h 578975"/>
                <a:gd name="connsiteX118" fmla="*/ 66360 w 1152006"/>
                <a:gd name="connsiteY118" fmla="*/ 198324 h 578975"/>
                <a:gd name="connsiteX119" fmla="*/ 26047 w 1152006"/>
                <a:gd name="connsiteY119" fmla="*/ 190002 h 578975"/>
                <a:gd name="connsiteX120" fmla="*/ 0 w 1152006"/>
                <a:gd name="connsiteY120" fmla="*/ 184057 h 578975"/>
                <a:gd name="connsiteX121" fmla="*/ 3567 w 1152006"/>
                <a:gd name="connsiteY121" fmla="*/ 197135 h 578975"/>
                <a:gd name="connsiteX122" fmla="*/ 17833 w 1152006"/>
                <a:gd name="connsiteY122" fmla="*/ 218534 h 578975"/>
                <a:gd name="connsiteX123" fmla="*/ 39232 w 1152006"/>
                <a:gd name="connsiteY123" fmla="*/ 248148 h 578975"/>
                <a:gd name="connsiteX124" fmla="*/ 39232 w 1152006"/>
                <a:gd name="connsiteY124" fmla="*/ 249337 h 578975"/>
                <a:gd name="connsiteX125" fmla="*/ 48743 w 1152006"/>
                <a:gd name="connsiteY125" fmla="*/ 274195 h 578975"/>
                <a:gd name="connsiteX126" fmla="*/ 38044 w 1152006"/>
                <a:gd name="connsiteY126" fmla="*/ 320452 h 578975"/>
                <a:gd name="connsiteX127" fmla="*/ 11997 w 1152006"/>
                <a:gd name="connsiteY127" fmla="*/ 376221 h 578975"/>
                <a:gd name="connsiteX128" fmla="*/ 10808 w 1152006"/>
                <a:gd name="connsiteY128" fmla="*/ 391676 h 578975"/>
                <a:gd name="connsiteX129" fmla="*/ 35774 w 1152006"/>
                <a:gd name="connsiteY129" fmla="*/ 416534 h 578975"/>
                <a:gd name="connsiteX130" fmla="*/ 55985 w 1152006"/>
                <a:gd name="connsiteY130" fmla="*/ 428423 h 578975"/>
                <a:gd name="connsiteX131" fmla="*/ 73817 w 1152006"/>
                <a:gd name="connsiteY131" fmla="*/ 453389 h 578975"/>
                <a:gd name="connsiteX132" fmla="*/ 66684 w 1152006"/>
                <a:gd name="connsiteY132" fmla="*/ 474788 h 578975"/>
                <a:gd name="connsiteX133" fmla="*/ 52418 w 1152006"/>
                <a:gd name="connsiteY133" fmla="*/ 507860 h 57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1152006" h="578975" extrusionOk="0">
                  <a:moveTo>
                    <a:pt x="52418" y="507860"/>
                  </a:moveTo>
                  <a:lnTo>
                    <a:pt x="106998" y="539851"/>
                  </a:lnTo>
                  <a:lnTo>
                    <a:pt x="143744" y="538662"/>
                  </a:lnTo>
                  <a:lnTo>
                    <a:pt x="200701" y="578976"/>
                  </a:lnTo>
                  <a:lnTo>
                    <a:pt x="261225" y="530340"/>
                  </a:lnTo>
                  <a:lnTo>
                    <a:pt x="301538" y="537474"/>
                  </a:lnTo>
                  <a:lnTo>
                    <a:pt x="366818" y="485271"/>
                  </a:lnTo>
                  <a:lnTo>
                    <a:pt x="405942" y="447336"/>
                  </a:lnTo>
                  <a:lnTo>
                    <a:pt x="435556" y="444958"/>
                  </a:lnTo>
                  <a:lnTo>
                    <a:pt x="435556" y="421289"/>
                  </a:lnTo>
                  <a:lnTo>
                    <a:pt x="464088" y="405834"/>
                  </a:lnTo>
                  <a:lnTo>
                    <a:pt x="505590" y="417723"/>
                  </a:lnTo>
                  <a:lnTo>
                    <a:pt x="568492" y="424856"/>
                  </a:lnTo>
                  <a:lnTo>
                    <a:pt x="818801" y="428423"/>
                  </a:lnTo>
                  <a:lnTo>
                    <a:pt x="959951" y="416534"/>
                  </a:lnTo>
                  <a:lnTo>
                    <a:pt x="1007398" y="370276"/>
                  </a:lnTo>
                  <a:lnTo>
                    <a:pt x="1034633" y="357199"/>
                  </a:lnTo>
                  <a:lnTo>
                    <a:pt x="1037011" y="325208"/>
                  </a:lnTo>
                  <a:lnTo>
                    <a:pt x="1077324" y="310941"/>
                  </a:lnTo>
                  <a:lnTo>
                    <a:pt x="1076135" y="296675"/>
                  </a:lnTo>
                  <a:lnTo>
                    <a:pt x="1060680" y="287164"/>
                  </a:lnTo>
                  <a:lnTo>
                    <a:pt x="1060680" y="268142"/>
                  </a:lnTo>
                  <a:lnTo>
                    <a:pt x="1109316" y="268142"/>
                  </a:lnTo>
                  <a:lnTo>
                    <a:pt x="1118827" y="225451"/>
                  </a:lnTo>
                  <a:lnTo>
                    <a:pt x="1148440" y="217129"/>
                  </a:lnTo>
                  <a:lnTo>
                    <a:pt x="1152006" y="182760"/>
                  </a:lnTo>
                  <a:lnTo>
                    <a:pt x="1124771" y="169683"/>
                  </a:lnTo>
                  <a:lnTo>
                    <a:pt x="1115260" y="130559"/>
                  </a:lnTo>
                  <a:lnTo>
                    <a:pt x="1112882" y="52310"/>
                  </a:lnTo>
                  <a:lnTo>
                    <a:pt x="1066625" y="41610"/>
                  </a:lnTo>
                  <a:lnTo>
                    <a:pt x="1022745" y="27344"/>
                  </a:lnTo>
                  <a:lnTo>
                    <a:pt x="982432" y="23777"/>
                  </a:lnTo>
                  <a:lnTo>
                    <a:pt x="962221" y="20211"/>
                  </a:lnTo>
                  <a:lnTo>
                    <a:pt x="940822" y="3567"/>
                  </a:lnTo>
                  <a:lnTo>
                    <a:pt x="926555" y="0"/>
                  </a:lnTo>
                  <a:lnTo>
                    <a:pt x="914667" y="7133"/>
                  </a:lnTo>
                  <a:lnTo>
                    <a:pt x="913478" y="17833"/>
                  </a:lnTo>
                  <a:lnTo>
                    <a:pt x="900400" y="48635"/>
                  </a:lnTo>
                  <a:lnTo>
                    <a:pt x="896834" y="74682"/>
                  </a:lnTo>
                  <a:lnTo>
                    <a:pt x="919422" y="131639"/>
                  </a:lnTo>
                  <a:lnTo>
                    <a:pt x="930122" y="161253"/>
                  </a:lnTo>
                  <a:lnTo>
                    <a:pt x="926555" y="171953"/>
                  </a:lnTo>
                  <a:lnTo>
                    <a:pt x="892186" y="181464"/>
                  </a:lnTo>
                  <a:lnTo>
                    <a:pt x="880298" y="186219"/>
                  </a:lnTo>
                  <a:lnTo>
                    <a:pt x="875542" y="206430"/>
                  </a:lnTo>
                  <a:lnTo>
                    <a:pt x="876731" y="240798"/>
                  </a:lnTo>
                  <a:lnTo>
                    <a:pt x="873164" y="246743"/>
                  </a:lnTo>
                  <a:lnTo>
                    <a:pt x="848307" y="223074"/>
                  </a:lnTo>
                  <a:lnTo>
                    <a:pt x="839984" y="219507"/>
                  </a:lnTo>
                  <a:lnTo>
                    <a:pt x="841173" y="214752"/>
                  </a:lnTo>
                  <a:lnTo>
                    <a:pt x="848307" y="211185"/>
                  </a:lnTo>
                  <a:lnTo>
                    <a:pt x="854251" y="189785"/>
                  </a:lnTo>
                  <a:lnTo>
                    <a:pt x="851873" y="175519"/>
                  </a:lnTo>
                  <a:lnTo>
                    <a:pt x="839984" y="158875"/>
                  </a:lnTo>
                  <a:lnTo>
                    <a:pt x="831662" y="152931"/>
                  </a:lnTo>
                  <a:lnTo>
                    <a:pt x="806804" y="157686"/>
                  </a:lnTo>
                  <a:lnTo>
                    <a:pt x="778380" y="181355"/>
                  </a:lnTo>
                  <a:lnTo>
                    <a:pt x="747578" y="198000"/>
                  </a:lnTo>
                  <a:lnTo>
                    <a:pt x="712020" y="203944"/>
                  </a:lnTo>
                  <a:lnTo>
                    <a:pt x="690620" y="201566"/>
                  </a:lnTo>
                  <a:lnTo>
                    <a:pt x="672787" y="199188"/>
                  </a:lnTo>
                  <a:lnTo>
                    <a:pt x="637230" y="213455"/>
                  </a:lnTo>
                  <a:lnTo>
                    <a:pt x="620586" y="226532"/>
                  </a:lnTo>
                  <a:lnTo>
                    <a:pt x="617019" y="234854"/>
                  </a:lnTo>
                  <a:lnTo>
                    <a:pt x="619397" y="249121"/>
                  </a:lnTo>
                  <a:lnTo>
                    <a:pt x="619397" y="250309"/>
                  </a:lnTo>
                  <a:lnTo>
                    <a:pt x="614641" y="256254"/>
                  </a:lnTo>
                  <a:lnTo>
                    <a:pt x="600375" y="261009"/>
                  </a:lnTo>
                  <a:lnTo>
                    <a:pt x="588486" y="255065"/>
                  </a:lnTo>
                  <a:lnTo>
                    <a:pt x="580164" y="270520"/>
                  </a:lnTo>
                  <a:lnTo>
                    <a:pt x="569465" y="284786"/>
                  </a:lnTo>
                  <a:lnTo>
                    <a:pt x="545795" y="299053"/>
                  </a:lnTo>
                  <a:lnTo>
                    <a:pt x="537473" y="296675"/>
                  </a:lnTo>
                  <a:lnTo>
                    <a:pt x="523315" y="297864"/>
                  </a:lnTo>
                  <a:lnTo>
                    <a:pt x="514993" y="288353"/>
                  </a:lnTo>
                  <a:lnTo>
                    <a:pt x="501916" y="290731"/>
                  </a:lnTo>
                  <a:lnTo>
                    <a:pt x="497160" y="288353"/>
                  </a:lnTo>
                  <a:lnTo>
                    <a:pt x="505482" y="268142"/>
                  </a:lnTo>
                  <a:lnTo>
                    <a:pt x="516182" y="258631"/>
                  </a:lnTo>
                  <a:lnTo>
                    <a:pt x="554117" y="232584"/>
                  </a:lnTo>
                  <a:lnTo>
                    <a:pt x="561250" y="221885"/>
                  </a:lnTo>
                  <a:lnTo>
                    <a:pt x="564817" y="198216"/>
                  </a:lnTo>
                  <a:lnTo>
                    <a:pt x="564817" y="192271"/>
                  </a:lnTo>
                  <a:lnTo>
                    <a:pt x="567195" y="165036"/>
                  </a:lnTo>
                  <a:lnTo>
                    <a:pt x="563628" y="159091"/>
                  </a:lnTo>
                  <a:lnTo>
                    <a:pt x="593242" y="133044"/>
                  </a:lnTo>
                  <a:lnTo>
                    <a:pt x="537473" y="161469"/>
                  </a:lnTo>
                  <a:lnTo>
                    <a:pt x="488838" y="195838"/>
                  </a:lnTo>
                  <a:lnTo>
                    <a:pt x="467439" y="211293"/>
                  </a:lnTo>
                  <a:lnTo>
                    <a:pt x="415237" y="230207"/>
                  </a:lnTo>
                  <a:lnTo>
                    <a:pt x="386704" y="240907"/>
                  </a:lnTo>
                  <a:lnTo>
                    <a:pt x="352335" y="282409"/>
                  </a:lnTo>
                  <a:lnTo>
                    <a:pt x="341635" y="294297"/>
                  </a:lnTo>
                  <a:lnTo>
                    <a:pt x="330936" y="293108"/>
                  </a:lnTo>
                  <a:lnTo>
                    <a:pt x="303700" y="284786"/>
                  </a:lnTo>
                  <a:lnTo>
                    <a:pt x="294189" y="284786"/>
                  </a:lnTo>
                  <a:lnTo>
                    <a:pt x="297756" y="296675"/>
                  </a:lnTo>
                  <a:lnTo>
                    <a:pt x="314400" y="316886"/>
                  </a:lnTo>
                  <a:lnTo>
                    <a:pt x="295486" y="325208"/>
                  </a:lnTo>
                  <a:lnTo>
                    <a:pt x="258739" y="335908"/>
                  </a:lnTo>
                  <a:lnTo>
                    <a:pt x="257551" y="396431"/>
                  </a:lnTo>
                  <a:lnTo>
                    <a:pt x="251606" y="416642"/>
                  </a:lnTo>
                  <a:lnTo>
                    <a:pt x="243284" y="429719"/>
                  </a:lnTo>
                  <a:lnTo>
                    <a:pt x="223074" y="435664"/>
                  </a:lnTo>
                  <a:lnTo>
                    <a:pt x="157794" y="435664"/>
                  </a:lnTo>
                  <a:lnTo>
                    <a:pt x="147095" y="433286"/>
                  </a:lnTo>
                  <a:lnTo>
                    <a:pt x="130450" y="397728"/>
                  </a:lnTo>
                  <a:lnTo>
                    <a:pt x="120940" y="381084"/>
                  </a:lnTo>
                  <a:lnTo>
                    <a:pt x="103107" y="372762"/>
                  </a:lnTo>
                  <a:lnTo>
                    <a:pt x="95973" y="365629"/>
                  </a:lnTo>
                  <a:lnTo>
                    <a:pt x="97162" y="344229"/>
                  </a:lnTo>
                  <a:lnTo>
                    <a:pt x="111429" y="319372"/>
                  </a:lnTo>
                  <a:lnTo>
                    <a:pt x="149364" y="296783"/>
                  </a:lnTo>
                  <a:lnTo>
                    <a:pt x="174330" y="288461"/>
                  </a:lnTo>
                  <a:lnTo>
                    <a:pt x="176708" y="280139"/>
                  </a:lnTo>
                  <a:lnTo>
                    <a:pt x="155308" y="250525"/>
                  </a:lnTo>
                  <a:lnTo>
                    <a:pt x="137476" y="219723"/>
                  </a:lnTo>
                  <a:lnTo>
                    <a:pt x="111429" y="207835"/>
                  </a:lnTo>
                  <a:lnTo>
                    <a:pt x="66360" y="198324"/>
                  </a:lnTo>
                  <a:lnTo>
                    <a:pt x="26047" y="190002"/>
                  </a:lnTo>
                  <a:lnTo>
                    <a:pt x="0" y="184057"/>
                  </a:lnTo>
                  <a:lnTo>
                    <a:pt x="3567" y="197135"/>
                  </a:lnTo>
                  <a:lnTo>
                    <a:pt x="17833" y="218534"/>
                  </a:lnTo>
                  <a:lnTo>
                    <a:pt x="39232" y="248148"/>
                  </a:lnTo>
                  <a:lnTo>
                    <a:pt x="39232" y="249337"/>
                  </a:lnTo>
                  <a:lnTo>
                    <a:pt x="48743" y="274195"/>
                  </a:lnTo>
                  <a:lnTo>
                    <a:pt x="38044" y="320452"/>
                  </a:lnTo>
                  <a:lnTo>
                    <a:pt x="11997" y="376221"/>
                  </a:lnTo>
                  <a:lnTo>
                    <a:pt x="10808" y="391676"/>
                  </a:lnTo>
                  <a:lnTo>
                    <a:pt x="35774" y="416534"/>
                  </a:lnTo>
                  <a:lnTo>
                    <a:pt x="55985" y="428423"/>
                  </a:lnTo>
                  <a:lnTo>
                    <a:pt x="73817" y="453389"/>
                  </a:lnTo>
                  <a:lnTo>
                    <a:pt x="66684" y="474788"/>
                  </a:lnTo>
                  <a:lnTo>
                    <a:pt x="52418" y="50786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9" name="Полилиния: фигура 179"/>
            <p:cNvSpPr/>
            <p:nvPr/>
          </p:nvSpPr>
          <p:spPr bwMode="auto">
            <a:xfrm>
              <a:off x="3254482" y="4776663"/>
              <a:ext cx="214643" cy="201890"/>
            </a:xfrm>
            <a:custGeom>
              <a:avLst/>
              <a:gdLst>
                <a:gd name="connsiteX0" fmla="*/ 23669 w 214643"/>
                <a:gd name="connsiteY0" fmla="*/ 0 h 201890"/>
                <a:gd name="connsiteX1" fmla="*/ 37935 w 214643"/>
                <a:gd name="connsiteY1" fmla="*/ 8322 h 201890"/>
                <a:gd name="connsiteX2" fmla="*/ 81815 w 214643"/>
                <a:gd name="connsiteY2" fmla="*/ 9511 h 201890"/>
                <a:gd name="connsiteX3" fmla="*/ 93704 w 214643"/>
                <a:gd name="connsiteY3" fmla="*/ 20211 h 201890"/>
                <a:gd name="connsiteX4" fmla="*/ 120940 w 214643"/>
                <a:gd name="connsiteY4" fmla="*/ 20211 h 201890"/>
                <a:gd name="connsiteX5" fmla="*/ 143528 w 214643"/>
                <a:gd name="connsiteY5" fmla="*/ 0 h 201890"/>
                <a:gd name="connsiteX6" fmla="*/ 169575 w 214643"/>
                <a:gd name="connsiteY6" fmla="*/ 0 h 201890"/>
                <a:gd name="connsiteX7" fmla="*/ 212266 w 214643"/>
                <a:gd name="connsiteY7" fmla="*/ 35558 h 201890"/>
                <a:gd name="connsiteX8" fmla="*/ 214643 w 214643"/>
                <a:gd name="connsiteY8" fmla="*/ 68738 h 201890"/>
                <a:gd name="connsiteX9" fmla="*/ 180275 w 214643"/>
                <a:gd name="connsiteY9" fmla="*/ 90137 h 201890"/>
                <a:gd name="connsiteX10" fmla="*/ 138772 w 214643"/>
                <a:gd name="connsiteY10" fmla="*/ 112726 h 201890"/>
                <a:gd name="connsiteX11" fmla="*/ 113914 w 214643"/>
                <a:gd name="connsiteY11" fmla="*/ 111537 h 201890"/>
                <a:gd name="connsiteX12" fmla="*/ 93704 w 214643"/>
                <a:gd name="connsiteY12" fmla="*/ 124614 h 201890"/>
                <a:gd name="connsiteX13" fmla="*/ 88948 w 214643"/>
                <a:gd name="connsiteY13" fmla="*/ 140069 h 201890"/>
                <a:gd name="connsiteX14" fmla="*/ 114995 w 214643"/>
                <a:gd name="connsiteY14" fmla="*/ 159091 h 201890"/>
                <a:gd name="connsiteX15" fmla="*/ 110240 w 214643"/>
                <a:gd name="connsiteY15" fmla="*/ 179302 h 201890"/>
                <a:gd name="connsiteX16" fmla="*/ 69927 w 214643"/>
                <a:gd name="connsiteY16" fmla="*/ 201890 h 201890"/>
                <a:gd name="connsiteX17" fmla="*/ 28425 w 214643"/>
                <a:gd name="connsiteY17" fmla="*/ 195946 h 201890"/>
                <a:gd name="connsiteX18" fmla="*/ 48635 w 214643"/>
                <a:gd name="connsiteY18" fmla="*/ 178113 h 201890"/>
                <a:gd name="connsiteX19" fmla="*/ 43880 w 214643"/>
                <a:gd name="connsiteY19" fmla="*/ 159199 h 201890"/>
                <a:gd name="connsiteX20" fmla="*/ 9511 w 214643"/>
                <a:gd name="connsiteY20" fmla="*/ 95109 h 201890"/>
                <a:gd name="connsiteX21" fmla="*/ 4755 w 214643"/>
                <a:gd name="connsiteY21" fmla="*/ 87976 h 201890"/>
                <a:gd name="connsiteX22" fmla="*/ 0 w 214643"/>
                <a:gd name="connsiteY22" fmla="*/ 63118 h 201890"/>
                <a:gd name="connsiteX23" fmla="*/ 15455 w 214643"/>
                <a:gd name="connsiteY23" fmla="*/ 39449 h 201890"/>
                <a:gd name="connsiteX24" fmla="*/ 23669 w 214643"/>
                <a:gd name="connsiteY24" fmla="*/ 0 h 20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14643" h="201890" extrusionOk="0">
                  <a:moveTo>
                    <a:pt x="23669" y="0"/>
                  </a:moveTo>
                  <a:lnTo>
                    <a:pt x="37935" y="8322"/>
                  </a:lnTo>
                  <a:lnTo>
                    <a:pt x="81815" y="9511"/>
                  </a:lnTo>
                  <a:lnTo>
                    <a:pt x="93704" y="20211"/>
                  </a:lnTo>
                  <a:lnTo>
                    <a:pt x="120940" y="20211"/>
                  </a:lnTo>
                  <a:lnTo>
                    <a:pt x="143528" y="0"/>
                  </a:lnTo>
                  <a:lnTo>
                    <a:pt x="169575" y="0"/>
                  </a:lnTo>
                  <a:lnTo>
                    <a:pt x="212266" y="35558"/>
                  </a:lnTo>
                  <a:lnTo>
                    <a:pt x="214643" y="68738"/>
                  </a:lnTo>
                  <a:lnTo>
                    <a:pt x="180275" y="90137"/>
                  </a:lnTo>
                  <a:lnTo>
                    <a:pt x="138772" y="112726"/>
                  </a:lnTo>
                  <a:lnTo>
                    <a:pt x="113914" y="111537"/>
                  </a:lnTo>
                  <a:lnTo>
                    <a:pt x="93704" y="124614"/>
                  </a:lnTo>
                  <a:lnTo>
                    <a:pt x="88948" y="140069"/>
                  </a:lnTo>
                  <a:lnTo>
                    <a:pt x="114995" y="159091"/>
                  </a:lnTo>
                  <a:lnTo>
                    <a:pt x="110240" y="179302"/>
                  </a:lnTo>
                  <a:lnTo>
                    <a:pt x="69927" y="201890"/>
                  </a:lnTo>
                  <a:lnTo>
                    <a:pt x="28425" y="195946"/>
                  </a:lnTo>
                  <a:lnTo>
                    <a:pt x="48635" y="178113"/>
                  </a:lnTo>
                  <a:lnTo>
                    <a:pt x="43880" y="159199"/>
                  </a:lnTo>
                  <a:lnTo>
                    <a:pt x="9511" y="95109"/>
                  </a:lnTo>
                  <a:lnTo>
                    <a:pt x="4755" y="87976"/>
                  </a:lnTo>
                  <a:lnTo>
                    <a:pt x="0" y="63118"/>
                  </a:lnTo>
                  <a:lnTo>
                    <a:pt x="15455" y="39449"/>
                  </a:lnTo>
                  <a:lnTo>
                    <a:pt x="23669" y="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0" name="Полилиния: фигура 180"/>
            <p:cNvSpPr/>
            <p:nvPr/>
          </p:nvSpPr>
          <p:spPr bwMode="auto">
            <a:xfrm>
              <a:off x="3224760" y="4636810"/>
              <a:ext cx="142339" cy="149364"/>
            </a:xfrm>
            <a:custGeom>
              <a:avLst/>
              <a:gdLst>
                <a:gd name="connsiteX0" fmla="*/ 0 w 142339"/>
                <a:gd name="connsiteY0" fmla="*/ 118562 h 149364"/>
                <a:gd name="connsiteX1" fmla="*/ 18914 w 142339"/>
                <a:gd name="connsiteY1" fmla="*/ 79438 h 149364"/>
                <a:gd name="connsiteX2" fmla="*/ 29613 w 142339"/>
                <a:gd name="connsiteY2" fmla="*/ 39124 h 149364"/>
                <a:gd name="connsiteX3" fmla="*/ 75871 w 142339"/>
                <a:gd name="connsiteY3" fmla="*/ 0 h 149364"/>
                <a:gd name="connsiteX4" fmla="*/ 99648 w 142339"/>
                <a:gd name="connsiteY4" fmla="*/ 13077 h 149364"/>
                <a:gd name="connsiteX5" fmla="*/ 123317 w 142339"/>
                <a:gd name="connsiteY5" fmla="*/ 20211 h 149364"/>
                <a:gd name="connsiteX6" fmla="*/ 142339 w 142339"/>
                <a:gd name="connsiteY6" fmla="*/ 47446 h 149364"/>
                <a:gd name="connsiteX7" fmla="*/ 123317 w 142339"/>
                <a:gd name="connsiteY7" fmla="*/ 77060 h 149364"/>
                <a:gd name="connsiteX8" fmla="*/ 122128 w 142339"/>
                <a:gd name="connsiteY8" fmla="*/ 110240 h 149364"/>
                <a:gd name="connsiteX9" fmla="*/ 122128 w 142339"/>
                <a:gd name="connsiteY9" fmla="*/ 111429 h 149364"/>
                <a:gd name="connsiteX10" fmla="*/ 114995 w 142339"/>
                <a:gd name="connsiteY10" fmla="*/ 122128 h 149364"/>
                <a:gd name="connsiteX11" fmla="*/ 110240 w 142339"/>
                <a:gd name="connsiteY11" fmla="*/ 149364 h 149364"/>
                <a:gd name="connsiteX12" fmla="*/ 66360 w 142339"/>
                <a:gd name="connsiteY12" fmla="*/ 148175 h 149364"/>
                <a:gd name="connsiteX13" fmla="*/ 53283 w 142339"/>
                <a:gd name="connsiteY13" fmla="*/ 138664 h 149364"/>
                <a:gd name="connsiteX14" fmla="*/ 20103 w 142339"/>
                <a:gd name="connsiteY14" fmla="*/ 137476 h 149364"/>
                <a:gd name="connsiteX15" fmla="*/ 11780 w 142339"/>
                <a:gd name="connsiteY15" fmla="*/ 118562 h 149364"/>
                <a:gd name="connsiteX16" fmla="*/ 0 w 142339"/>
                <a:gd name="connsiteY16" fmla="*/ 118562 h 149364"/>
                <a:gd name="connsiteX17" fmla="*/ 0 w 142339"/>
                <a:gd name="connsiteY17" fmla="*/ 118562 h 149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2339" h="149364" extrusionOk="0">
                  <a:moveTo>
                    <a:pt x="0" y="118562"/>
                  </a:moveTo>
                  <a:lnTo>
                    <a:pt x="18914" y="79438"/>
                  </a:lnTo>
                  <a:lnTo>
                    <a:pt x="29613" y="39124"/>
                  </a:lnTo>
                  <a:lnTo>
                    <a:pt x="75871" y="0"/>
                  </a:lnTo>
                  <a:lnTo>
                    <a:pt x="99648" y="13077"/>
                  </a:lnTo>
                  <a:lnTo>
                    <a:pt x="123317" y="20211"/>
                  </a:lnTo>
                  <a:lnTo>
                    <a:pt x="142339" y="47446"/>
                  </a:lnTo>
                  <a:lnTo>
                    <a:pt x="123317" y="77060"/>
                  </a:lnTo>
                  <a:lnTo>
                    <a:pt x="122128" y="110240"/>
                  </a:lnTo>
                  <a:lnTo>
                    <a:pt x="122128" y="111429"/>
                  </a:lnTo>
                  <a:lnTo>
                    <a:pt x="114995" y="122128"/>
                  </a:lnTo>
                  <a:lnTo>
                    <a:pt x="110240" y="149364"/>
                  </a:lnTo>
                  <a:lnTo>
                    <a:pt x="66360" y="148175"/>
                  </a:lnTo>
                  <a:lnTo>
                    <a:pt x="53283" y="138664"/>
                  </a:lnTo>
                  <a:lnTo>
                    <a:pt x="20103" y="137476"/>
                  </a:lnTo>
                  <a:lnTo>
                    <a:pt x="11780" y="118562"/>
                  </a:lnTo>
                  <a:lnTo>
                    <a:pt x="0" y="118562"/>
                  </a:lnTo>
                  <a:lnTo>
                    <a:pt x="0" y="11856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1" name="Полилиния: фигура 181"/>
            <p:cNvSpPr/>
            <p:nvPr/>
          </p:nvSpPr>
          <p:spPr bwMode="auto">
            <a:xfrm>
              <a:off x="3228327" y="3221632"/>
              <a:ext cx="1081647" cy="1123365"/>
            </a:xfrm>
            <a:custGeom>
              <a:avLst/>
              <a:gdLst>
                <a:gd name="connsiteX0" fmla="*/ 126884 w 1081647"/>
                <a:gd name="connsiteY0" fmla="*/ 747253 h 1123365"/>
                <a:gd name="connsiteX1" fmla="*/ 134017 w 1081647"/>
                <a:gd name="connsiteY1" fmla="*/ 727043 h 1123365"/>
                <a:gd name="connsiteX2" fmla="*/ 151850 w 1081647"/>
                <a:gd name="connsiteY2" fmla="*/ 717532 h 1123365"/>
                <a:gd name="connsiteX3" fmla="*/ 174438 w 1081647"/>
                <a:gd name="connsiteY3" fmla="*/ 741201 h 1123365"/>
                <a:gd name="connsiteX4" fmla="*/ 188705 w 1081647"/>
                <a:gd name="connsiteY4" fmla="*/ 743579 h 1123365"/>
                <a:gd name="connsiteX5" fmla="*/ 195838 w 1081647"/>
                <a:gd name="connsiteY5" fmla="*/ 811236 h 1123365"/>
                <a:gd name="connsiteX6" fmla="*/ 181572 w 1081647"/>
                <a:gd name="connsiteY6" fmla="*/ 826691 h 1123365"/>
                <a:gd name="connsiteX7" fmla="*/ 175627 w 1081647"/>
                <a:gd name="connsiteY7" fmla="*/ 851657 h 1123365"/>
                <a:gd name="connsiteX8" fmla="*/ 193460 w 1081647"/>
                <a:gd name="connsiteY8" fmla="*/ 864735 h 1123365"/>
                <a:gd name="connsiteX9" fmla="*/ 188705 w 1081647"/>
                <a:gd name="connsiteY9" fmla="*/ 894348 h 1123365"/>
                <a:gd name="connsiteX10" fmla="*/ 155525 w 1081647"/>
                <a:gd name="connsiteY10" fmla="*/ 926339 h 1123365"/>
                <a:gd name="connsiteX11" fmla="*/ 143636 w 1081647"/>
                <a:gd name="connsiteY11" fmla="*/ 967841 h 1123365"/>
                <a:gd name="connsiteX12" fmla="*/ 166224 w 1081647"/>
                <a:gd name="connsiteY12" fmla="*/ 972596 h 1123365"/>
                <a:gd name="connsiteX13" fmla="*/ 179302 w 1081647"/>
                <a:gd name="connsiteY13" fmla="*/ 999832 h 1123365"/>
                <a:gd name="connsiteX14" fmla="*/ 175735 w 1081647"/>
                <a:gd name="connsiteY14" fmla="*/ 1018854 h 1123365"/>
                <a:gd name="connsiteX15" fmla="*/ 174546 w 1081647"/>
                <a:gd name="connsiteY15" fmla="*/ 1022421 h 1123365"/>
                <a:gd name="connsiteX16" fmla="*/ 157902 w 1081647"/>
                <a:gd name="connsiteY16" fmla="*/ 1045009 h 1123365"/>
                <a:gd name="connsiteX17" fmla="*/ 160280 w 1081647"/>
                <a:gd name="connsiteY17" fmla="*/ 1072245 h 1123365"/>
                <a:gd name="connsiteX18" fmla="*/ 188705 w 1081647"/>
                <a:gd name="connsiteY18" fmla="*/ 1085322 h 1123365"/>
                <a:gd name="connsiteX19" fmla="*/ 206538 w 1081647"/>
                <a:gd name="connsiteY19" fmla="*/ 1113855 h 1123365"/>
                <a:gd name="connsiteX20" fmla="*/ 221993 w 1081647"/>
                <a:gd name="connsiteY20" fmla="*/ 1123366 h 1123365"/>
                <a:gd name="connsiteX21" fmla="*/ 231504 w 1081647"/>
                <a:gd name="connsiteY21" fmla="*/ 1116233 h 1123365"/>
                <a:gd name="connsiteX22" fmla="*/ 235070 w 1081647"/>
                <a:gd name="connsiteY22" fmla="*/ 1084242 h 1123365"/>
                <a:gd name="connsiteX23" fmla="*/ 256470 w 1081647"/>
                <a:gd name="connsiteY23" fmla="*/ 1077108 h 1123365"/>
                <a:gd name="connsiteX24" fmla="*/ 294405 w 1081647"/>
                <a:gd name="connsiteY24" fmla="*/ 1059276 h 1123365"/>
                <a:gd name="connsiteX25" fmla="*/ 338285 w 1081647"/>
                <a:gd name="connsiteY25" fmla="*/ 1041550 h 1123365"/>
                <a:gd name="connsiteX26" fmla="*/ 403564 w 1081647"/>
                <a:gd name="connsiteY26" fmla="*/ 1021340 h 1123365"/>
                <a:gd name="connsiteX27" fmla="*/ 380976 w 1081647"/>
                <a:gd name="connsiteY27" fmla="*/ 1008263 h 1123365"/>
                <a:gd name="connsiteX28" fmla="*/ 359577 w 1081647"/>
                <a:gd name="connsiteY28" fmla="*/ 997563 h 1123365"/>
                <a:gd name="connsiteX29" fmla="*/ 342932 w 1081647"/>
                <a:gd name="connsiteY29" fmla="*/ 967949 h 1123365"/>
                <a:gd name="connsiteX30" fmla="*/ 372546 w 1081647"/>
                <a:gd name="connsiteY30" fmla="*/ 940714 h 1123365"/>
                <a:gd name="connsiteX31" fmla="*/ 400970 w 1081647"/>
                <a:gd name="connsiteY31" fmla="*/ 934769 h 1123365"/>
                <a:gd name="connsiteX32" fmla="*/ 428206 w 1081647"/>
                <a:gd name="connsiteY32" fmla="*/ 956169 h 1123365"/>
                <a:gd name="connsiteX33" fmla="*/ 451875 w 1081647"/>
                <a:gd name="connsiteY33" fmla="*/ 940714 h 1123365"/>
                <a:gd name="connsiteX34" fmla="*/ 527746 w 1081647"/>
                <a:gd name="connsiteY34" fmla="*/ 938336 h 1123365"/>
                <a:gd name="connsiteX35" fmla="*/ 558549 w 1081647"/>
                <a:gd name="connsiteY35" fmla="*/ 909803 h 1123365"/>
                <a:gd name="connsiteX36" fmla="*/ 598862 w 1081647"/>
                <a:gd name="connsiteY36" fmla="*/ 890889 h 1123365"/>
                <a:gd name="connsiteX37" fmla="*/ 623720 w 1081647"/>
                <a:gd name="connsiteY37" fmla="*/ 905156 h 1123365"/>
                <a:gd name="connsiteX38" fmla="*/ 665222 w 1081647"/>
                <a:gd name="connsiteY38" fmla="*/ 903967 h 1123365"/>
                <a:gd name="connsiteX39" fmla="*/ 741093 w 1081647"/>
                <a:gd name="connsiteY39" fmla="*/ 854143 h 1123365"/>
                <a:gd name="connsiteX40" fmla="*/ 738715 w 1081647"/>
                <a:gd name="connsiteY40" fmla="*/ 743795 h 1123365"/>
                <a:gd name="connsiteX41" fmla="*/ 751793 w 1081647"/>
                <a:gd name="connsiteY41" fmla="*/ 718829 h 1123365"/>
                <a:gd name="connsiteX42" fmla="*/ 741093 w 1081647"/>
                <a:gd name="connsiteY42" fmla="*/ 686837 h 1123365"/>
                <a:gd name="connsiteX43" fmla="*/ 741093 w 1081647"/>
                <a:gd name="connsiteY43" fmla="*/ 603833 h 1123365"/>
                <a:gd name="connsiteX44" fmla="*/ 745848 w 1081647"/>
                <a:gd name="connsiteY44" fmla="*/ 567087 h 1123365"/>
                <a:gd name="connsiteX45" fmla="*/ 763681 w 1081647"/>
                <a:gd name="connsiteY45" fmla="*/ 499430 h 1123365"/>
                <a:gd name="connsiteX46" fmla="*/ 779136 w 1081647"/>
                <a:gd name="connsiteY46" fmla="*/ 474572 h 1123365"/>
                <a:gd name="connsiteX47" fmla="*/ 812316 w 1081647"/>
                <a:gd name="connsiteY47" fmla="*/ 468627 h 1123365"/>
                <a:gd name="connsiteX48" fmla="*/ 828960 w 1081647"/>
                <a:gd name="connsiteY48" fmla="*/ 451984 h 1123365"/>
                <a:gd name="connsiteX49" fmla="*/ 842038 w 1081647"/>
                <a:gd name="connsiteY49" fmla="*/ 422370 h 1123365"/>
                <a:gd name="connsiteX50" fmla="*/ 866896 w 1081647"/>
                <a:gd name="connsiteY50" fmla="*/ 404537 h 1123365"/>
                <a:gd name="connsiteX51" fmla="*/ 876407 w 1081647"/>
                <a:gd name="connsiteY51" fmla="*/ 383138 h 1123365"/>
                <a:gd name="connsiteX52" fmla="*/ 897806 w 1081647"/>
                <a:gd name="connsiteY52" fmla="*/ 372438 h 1123365"/>
                <a:gd name="connsiteX53" fmla="*/ 932175 w 1081647"/>
                <a:gd name="connsiteY53" fmla="*/ 336880 h 1123365"/>
                <a:gd name="connsiteX54" fmla="*/ 935742 w 1081647"/>
                <a:gd name="connsiteY54" fmla="*/ 314292 h 1123365"/>
                <a:gd name="connsiteX55" fmla="*/ 935742 w 1081647"/>
                <a:gd name="connsiteY55" fmla="*/ 314292 h 1123365"/>
                <a:gd name="connsiteX56" fmla="*/ 952386 w 1081647"/>
                <a:gd name="connsiteY56" fmla="*/ 297648 h 1123365"/>
                <a:gd name="connsiteX57" fmla="*/ 997454 w 1081647"/>
                <a:gd name="connsiteY57" fmla="*/ 246635 h 1123365"/>
                <a:gd name="connsiteX58" fmla="*/ 1028257 w 1081647"/>
                <a:gd name="connsiteY58" fmla="*/ 237124 h 1123365"/>
                <a:gd name="connsiteX59" fmla="*/ 1066192 w 1081647"/>
                <a:gd name="connsiteY59" fmla="*/ 176600 h 1123365"/>
                <a:gd name="connsiteX60" fmla="*/ 1065003 w 1081647"/>
                <a:gd name="connsiteY60" fmla="*/ 146987 h 1123365"/>
                <a:gd name="connsiteX61" fmla="*/ 1081648 w 1081647"/>
                <a:gd name="connsiteY61" fmla="*/ 119751 h 1123365"/>
                <a:gd name="connsiteX62" fmla="*/ 1081648 w 1081647"/>
                <a:gd name="connsiteY62" fmla="*/ 85382 h 1123365"/>
                <a:gd name="connsiteX63" fmla="*/ 1047279 w 1081647"/>
                <a:gd name="connsiteY63" fmla="*/ 52202 h 1123365"/>
                <a:gd name="connsiteX64" fmla="*/ 1044901 w 1081647"/>
                <a:gd name="connsiteY64" fmla="*/ 31991 h 1123365"/>
                <a:gd name="connsiteX65" fmla="*/ 1027068 w 1081647"/>
                <a:gd name="connsiteY65" fmla="*/ 0 h 1123365"/>
                <a:gd name="connsiteX66" fmla="*/ 999832 w 1081647"/>
                <a:gd name="connsiteY66" fmla="*/ 9511 h 1123365"/>
                <a:gd name="connsiteX67" fmla="*/ 987944 w 1081647"/>
                <a:gd name="connsiteY67" fmla="*/ 52202 h 1123365"/>
                <a:gd name="connsiteX68" fmla="*/ 939308 w 1081647"/>
                <a:gd name="connsiteY68" fmla="*/ 53391 h 1123365"/>
                <a:gd name="connsiteX69" fmla="*/ 939308 w 1081647"/>
                <a:gd name="connsiteY69" fmla="*/ 71224 h 1123365"/>
                <a:gd name="connsiteX70" fmla="*/ 955952 w 1081647"/>
                <a:gd name="connsiteY70" fmla="*/ 83112 h 1123365"/>
                <a:gd name="connsiteX71" fmla="*/ 955952 w 1081647"/>
                <a:gd name="connsiteY71" fmla="*/ 96190 h 1123365"/>
                <a:gd name="connsiteX72" fmla="*/ 916828 w 1081647"/>
                <a:gd name="connsiteY72" fmla="*/ 110456 h 1123365"/>
                <a:gd name="connsiteX73" fmla="*/ 913262 w 1081647"/>
                <a:gd name="connsiteY73" fmla="*/ 141258 h 1123365"/>
                <a:gd name="connsiteX74" fmla="*/ 884837 w 1081647"/>
                <a:gd name="connsiteY74" fmla="*/ 155525 h 1123365"/>
                <a:gd name="connsiteX75" fmla="*/ 838579 w 1081647"/>
                <a:gd name="connsiteY75" fmla="*/ 201782 h 1123365"/>
                <a:gd name="connsiteX76" fmla="*/ 700996 w 1081647"/>
                <a:gd name="connsiteY76" fmla="*/ 213671 h 1123365"/>
                <a:gd name="connsiteX77" fmla="*/ 657116 w 1081647"/>
                <a:gd name="connsiteY77" fmla="*/ 213671 h 1123365"/>
                <a:gd name="connsiteX78" fmla="*/ 448309 w 1081647"/>
                <a:gd name="connsiteY78" fmla="*/ 211293 h 1123365"/>
                <a:gd name="connsiteX79" fmla="*/ 391351 w 1081647"/>
                <a:gd name="connsiteY79" fmla="*/ 204160 h 1123365"/>
                <a:gd name="connsiteX80" fmla="*/ 343905 w 1081647"/>
                <a:gd name="connsiteY80" fmla="*/ 189894 h 1123365"/>
                <a:gd name="connsiteX81" fmla="*/ 315481 w 1081647"/>
                <a:gd name="connsiteY81" fmla="*/ 206537 h 1123365"/>
                <a:gd name="connsiteX82" fmla="*/ 314292 w 1081647"/>
                <a:gd name="connsiteY82" fmla="*/ 230207 h 1123365"/>
                <a:gd name="connsiteX83" fmla="*/ 287056 w 1081647"/>
                <a:gd name="connsiteY83" fmla="*/ 231396 h 1123365"/>
                <a:gd name="connsiteX84" fmla="*/ 180275 w 1081647"/>
                <a:gd name="connsiteY84" fmla="*/ 323911 h 1123365"/>
                <a:gd name="connsiteX85" fmla="*/ 175519 w 1081647"/>
                <a:gd name="connsiteY85" fmla="*/ 373735 h 1123365"/>
                <a:gd name="connsiteX86" fmla="*/ 167197 w 1081647"/>
                <a:gd name="connsiteY86" fmla="*/ 383246 h 1123365"/>
                <a:gd name="connsiteX87" fmla="*/ 164819 w 1081647"/>
                <a:gd name="connsiteY87" fmla="*/ 434259 h 1123365"/>
                <a:gd name="connsiteX88" fmla="*/ 195622 w 1081647"/>
                <a:gd name="connsiteY88" fmla="*/ 431881 h 1123365"/>
                <a:gd name="connsiteX89" fmla="*/ 232368 w 1081647"/>
                <a:gd name="connsiteY89" fmla="*/ 490027 h 1123365"/>
                <a:gd name="connsiteX90" fmla="*/ 254957 w 1081647"/>
                <a:gd name="connsiteY90" fmla="*/ 490027 h 1123365"/>
                <a:gd name="connsiteX91" fmla="*/ 250201 w 1081647"/>
                <a:gd name="connsiteY91" fmla="*/ 506671 h 1123365"/>
                <a:gd name="connsiteX92" fmla="*/ 227613 w 1081647"/>
                <a:gd name="connsiteY92" fmla="*/ 525693 h 1123365"/>
                <a:gd name="connsiteX93" fmla="*/ 183733 w 1081647"/>
                <a:gd name="connsiteY93" fmla="*/ 532826 h 1123365"/>
                <a:gd name="connsiteX94" fmla="*/ 163522 w 1081647"/>
                <a:gd name="connsiteY94" fmla="*/ 550659 h 1123365"/>
                <a:gd name="connsiteX95" fmla="*/ 138664 w 1081647"/>
                <a:gd name="connsiteY95" fmla="*/ 550659 h 1123365"/>
                <a:gd name="connsiteX96" fmla="*/ 109051 w 1081647"/>
                <a:gd name="connsiteY96" fmla="*/ 538770 h 1123365"/>
                <a:gd name="connsiteX97" fmla="*/ 77060 w 1081647"/>
                <a:gd name="connsiteY97" fmla="*/ 544715 h 1123365"/>
                <a:gd name="connsiteX98" fmla="*/ 42691 w 1081647"/>
                <a:gd name="connsiteY98" fmla="*/ 567195 h 1123365"/>
                <a:gd name="connsiteX99" fmla="*/ 2378 w 1081647"/>
                <a:gd name="connsiteY99" fmla="*/ 569573 h 1123365"/>
                <a:gd name="connsiteX100" fmla="*/ 0 w 1081647"/>
                <a:gd name="connsiteY100" fmla="*/ 593242 h 1123365"/>
                <a:gd name="connsiteX101" fmla="*/ 36747 w 1081647"/>
                <a:gd name="connsiteY101" fmla="*/ 612263 h 1123365"/>
                <a:gd name="connsiteX102" fmla="*/ 92515 w 1081647"/>
                <a:gd name="connsiteY102" fmla="*/ 686946 h 1123365"/>
                <a:gd name="connsiteX103" fmla="*/ 91326 w 1081647"/>
                <a:gd name="connsiteY103" fmla="*/ 711804 h 1123365"/>
                <a:gd name="connsiteX104" fmla="*/ 81815 w 1081647"/>
                <a:gd name="connsiteY104" fmla="*/ 723692 h 1123365"/>
                <a:gd name="connsiteX105" fmla="*/ 84193 w 1081647"/>
                <a:gd name="connsiteY105" fmla="*/ 791349 h 1123365"/>
                <a:gd name="connsiteX106" fmla="*/ 104404 w 1081647"/>
                <a:gd name="connsiteY106" fmla="*/ 793727 h 1123365"/>
                <a:gd name="connsiteX107" fmla="*/ 132828 w 1081647"/>
                <a:gd name="connsiteY107" fmla="*/ 787783 h 1123365"/>
                <a:gd name="connsiteX108" fmla="*/ 135206 w 1081647"/>
                <a:gd name="connsiteY108" fmla="*/ 766383 h 1123365"/>
                <a:gd name="connsiteX109" fmla="*/ 126884 w 1081647"/>
                <a:gd name="connsiteY109" fmla="*/ 747253 h 1123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</a:cxnLst>
              <a:rect l="l" t="t" r="r" b="b"/>
              <a:pathLst>
                <a:path w="1081647" h="1123365" extrusionOk="0">
                  <a:moveTo>
                    <a:pt x="126884" y="747253"/>
                  </a:moveTo>
                  <a:lnTo>
                    <a:pt x="134017" y="727043"/>
                  </a:lnTo>
                  <a:cubicBezTo>
                    <a:pt x="134017" y="725854"/>
                    <a:pt x="148283" y="718721"/>
                    <a:pt x="151850" y="717532"/>
                  </a:cubicBezTo>
                  <a:lnTo>
                    <a:pt x="174438" y="741201"/>
                  </a:lnTo>
                  <a:lnTo>
                    <a:pt x="188705" y="743579"/>
                  </a:lnTo>
                  <a:lnTo>
                    <a:pt x="195838" y="811236"/>
                  </a:lnTo>
                  <a:lnTo>
                    <a:pt x="181572" y="826691"/>
                  </a:lnTo>
                  <a:lnTo>
                    <a:pt x="175627" y="851657"/>
                  </a:lnTo>
                  <a:lnTo>
                    <a:pt x="193460" y="864735"/>
                  </a:lnTo>
                  <a:lnTo>
                    <a:pt x="188705" y="894348"/>
                  </a:lnTo>
                  <a:lnTo>
                    <a:pt x="155525" y="926339"/>
                  </a:lnTo>
                  <a:lnTo>
                    <a:pt x="143636" y="967841"/>
                  </a:lnTo>
                  <a:lnTo>
                    <a:pt x="166224" y="972596"/>
                  </a:lnTo>
                  <a:lnTo>
                    <a:pt x="179302" y="999832"/>
                  </a:lnTo>
                  <a:lnTo>
                    <a:pt x="175735" y="1018854"/>
                  </a:lnTo>
                  <a:lnTo>
                    <a:pt x="174546" y="1022421"/>
                  </a:lnTo>
                  <a:lnTo>
                    <a:pt x="157902" y="1045009"/>
                  </a:lnTo>
                  <a:lnTo>
                    <a:pt x="160280" y="1072245"/>
                  </a:lnTo>
                  <a:lnTo>
                    <a:pt x="188705" y="1085322"/>
                  </a:lnTo>
                  <a:lnTo>
                    <a:pt x="206538" y="1113855"/>
                  </a:lnTo>
                  <a:lnTo>
                    <a:pt x="221993" y="1123366"/>
                  </a:lnTo>
                  <a:lnTo>
                    <a:pt x="231504" y="1116233"/>
                  </a:lnTo>
                  <a:lnTo>
                    <a:pt x="235070" y="1084242"/>
                  </a:lnTo>
                  <a:lnTo>
                    <a:pt x="256470" y="1077108"/>
                  </a:lnTo>
                  <a:lnTo>
                    <a:pt x="294405" y="1059276"/>
                  </a:lnTo>
                  <a:lnTo>
                    <a:pt x="338285" y="1041550"/>
                  </a:lnTo>
                  <a:lnTo>
                    <a:pt x="403564" y="1021340"/>
                  </a:lnTo>
                  <a:lnTo>
                    <a:pt x="380976" y="1008263"/>
                  </a:lnTo>
                  <a:lnTo>
                    <a:pt x="359577" y="997563"/>
                  </a:lnTo>
                  <a:lnTo>
                    <a:pt x="342932" y="967949"/>
                  </a:lnTo>
                  <a:lnTo>
                    <a:pt x="372546" y="940714"/>
                  </a:lnTo>
                  <a:lnTo>
                    <a:pt x="400970" y="934769"/>
                  </a:lnTo>
                  <a:lnTo>
                    <a:pt x="428206" y="956169"/>
                  </a:lnTo>
                  <a:lnTo>
                    <a:pt x="451875" y="940714"/>
                  </a:lnTo>
                  <a:lnTo>
                    <a:pt x="527746" y="938336"/>
                  </a:lnTo>
                  <a:lnTo>
                    <a:pt x="558549" y="909803"/>
                  </a:lnTo>
                  <a:lnTo>
                    <a:pt x="598862" y="890889"/>
                  </a:lnTo>
                  <a:lnTo>
                    <a:pt x="623720" y="905156"/>
                  </a:lnTo>
                  <a:lnTo>
                    <a:pt x="665222" y="903967"/>
                  </a:lnTo>
                  <a:lnTo>
                    <a:pt x="741093" y="854143"/>
                  </a:lnTo>
                  <a:lnTo>
                    <a:pt x="738715" y="743795"/>
                  </a:lnTo>
                  <a:lnTo>
                    <a:pt x="751793" y="718829"/>
                  </a:lnTo>
                  <a:lnTo>
                    <a:pt x="741093" y="686837"/>
                  </a:lnTo>
                  <a:lnTo>
                    <a:pt x="741093" y="603833"/>
                  </a:lnTo>
                  <a:lnTo>
                    <a:pt x="745848" y="567087"/>
                  </a:lnTo>
                  <a:lnTo>
                    <a:pt x="763681" y="499430"/>
                  </a:lnTo>
                  <a:lnTo>
                    <a:pt x="779136" y="474572"/>
                  </a:lnTo>
                  <a:lnTo>
                    <a:pt x="812316" y="468627"/>
                  </a:lnTo>
                  <a:lnTo>
                    <a:pt x="828960" y="451984"/>
                  </a:lnTo>
                  <a:lnTo>
                    <a:pt x="842038" y="422370"/>
                  </a:lnTo>
                  <a:lnTo>
                    <a:pt x="866896" y="404537"/>
                  </a:lnTo>
                  <a:lnTo>
                    <a:pt x="876407" y="383138"/>
                  </a:lnTo>
                  <a:lnTo>
                    <a:pt x="897806" y="372438"/>
                  </a:lnTo>
                  <a:lnTo>
                    <a:pt x="932175" y="336880"/>
                  </a:lnTo>
                  <a:lnTo>
                    <a:pt x="935742" y="314292"/>
                  </a:lnTo>
                  <a:lnTo>
                    <a:pt x="935742" y="314292"/>
                  </a:lnTo>
                  <a:lnTo>
                    <a:pt x="952386" y="297648"/>
                  </a:lnTo>
                  <a:lnTo>
                    <a:pt x="997454" y="246635"/>
                  </a:lnTo>
                  <a:lnTo>
                    <a:pt x="1028257" y="237124"/>
                  </a:lnTo>
                  <a:lnTo>
                    <a:pt x="1066192" y="176600"/>
                  </a:lnTo>
                  <a:lnTo>
                    <a:pt x="1065003" y="146987"/>
                  </a:lnTo>
                  <a:lnTo>
                    <a:pt x="1081648" y="119751"/>
                  </a:lnTo>
                  <a:lnTo>
                    <a:pt x="1081648" y="85382"/>
                  </a:lnTo>
                  <a:lnTo>
                    <a:pt x="1047279" y="52202"/>
                  </a:lnTo>
                  <a:lnTo>
                    <a:pt x="1044901" y="31991"/>
                  </a:lnTo>
                  <a:lnTo>
                    <a:pt x="1027068" y="0"/>
                  </a:lnTo>
                  <a:lnTo>
                    <a:pt x="999832" y="9511"/>
                  </a:lnTo>
                  <a:lnTo>
                    <a:pt x="987944" y="52202"/>
                  </a:lnTo>
                  <a:lnTo>
                    <a:pt x="939308" y="53391"/>
                  </a:lnTo>
                  <a:lnTo>
                    <a:pt x="939308" y="71224"/>
                  </a:lnTo>
                  <a:lnTo>
                    <a:pt x="955952" y="83112"/>
                  </a:lnTo>
                  <a:lnTo>
                    <a:pt x="955952" y="96190"/>
                  </a:lnTo>
                  <a:lnTo>
                    <a:pt x="916828" y="110456"/>
                  </a:lnTo>
                  <a:lnTo>
                    <a:pt x="913262" y="141258"/>
                  </a:lnTo>
                  <a:lnTo>
                    <a:pt x="884837" y="155525"/>
                  </a:lnTo>
                  <a:lnTo>
                    <a:pt x="838579" y="201782"/>
                  </a:lnTo>
                  <a:lnTo>
                    <a:pt x="700996" y="213671"/>
                  </a:lnTo>
                  <a:lnTo>
                    <a:pt x="657116" y="213671"/>
                  </a:lnTo>
                  <a:lnTo>
                    <a:pt x="448309" y="211293"/>
                  </a:lnTo>
                  <a:lnTo>
                    <a:pt x="391351" y="204160"/>
                  </a:lnTo>
                  <a:lnTo>
                    <a:pt x="343905" y="189894"/>
                  </a:lnTo>
                  <a:lnTo>
                    <a:pt x="315481" y="206537"/>
                  </a:lnTo>
                  <a:lnTo>
                    <a:pt x="314292" y="230207"/>
                  </a:lnTo>
                  <a:lnTo>
                    <a:pt x="287056" y="231396"/>
                  </a:lnTo>
                  <a:lnTo>
                    <a:pt x="180275" y="323911"/>
                  </a:lnTo>
                  <a:lnTo>
                    <a:pt x="175519" y="373735"/>
                  </a:lnTo>
                  <a:lnTo>
                    <a:pt x="167197" y="383246"/>
                  </a:lnTo>
                  <a:lnTo>
                    <a:pt x="164819" y="434259"/>
                  </a:lnTo>
                  <a:lnTo>
                    <a:pt x="195622" y="431881"/>
                  </a:lnTo>
                  <a:lnTo>
                    <a:pt x="232368" y="490027"/>
                  </a:lnTo>
                  <a:lnTo>
                    <a:pt x="254957" y="490027"/>
                  </a:lnTo>
                  <a:lnTo>
                    <a:pt x="250201" y="506671"/>
                  </a:lnTo>
                  <a:lnTo>
                    <a:pt x="227613" y="525693"/>
                  </a:lnTo>
                  <a:lnTo>
                    <a:pt x="183733" y="532826"/>
                  </a:lnTo>
                  <a:lnTo>
                    <a:pt x="163522" y="550659"/>
                  </a:lnTo>
                  <a:lnTo>
                    <a:pt x="138664" y="550659"/>
                  </a:lnTo>
                  <a:lnTo>
                    <a:pt x="109051" y="538770"/>
                  </a:lnTo>
                  <a:lnTo>
                    <a:pt x="77060" y="544715"/>
                  </a:lnTo>
                  <a:lnTo>
                    <a:pt x="42691" y="567195"/>
                  </a:lnTo>
                  <a:lnTo>
                    <a:pt x="2378" y="569573"/>
                  </a:lnTo>
                  <a:lnTo>
                    <a:pt x="0" y="593242"/>
                  </a:lnTo>
                  <a:lnTo>
                    <a:pt x="36747" y="612263"/>
                  </a:lnTo>
                  <a:lnTo>
                    <a:pt x="92515" y="686946"/>
                  </a:lnTo>
                  <a:lnTo>
                    <a:pt x="91326" y="711804"/>
                  </a:lnTo>
                  <a:lnTo>
                    <a:pt x="81815" y="723692"/>
                  </a:lnTo>
                  <a:lnTo>
                    <a:pt x="84193" y="791349"/>
                  </a:lnTo>
                  <a:lnTo>
                    <a:pt x="104404" y="793727"/>
                  </a:lnTo>
                  <a:lnTo>
                    <a:pt x="132828" y="787783"/>
                  </a:lnTo>
                  <a:lnTo>
                    <a:pt x="135206" y="766383"/>
                  </a:lnTo>
                  <a:lnTo>
                    <a:pt x="126884" y="747253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2" name="Полилиния: фигура 182"/>
            <p:cNvSpPr/>
            <p:nvPr/>
          </p:nvSpPr>
          <p:spPr bwMode="auto">
            <a:xfrm>
              <a:off x="3269721" y="4147971"/>
              <a:ext cx="406914" cy="525584"/>
            </a:xfrm>
            <a:custGeom>
              <a:avLst/>
              <a:gdLst>
                <a:gd name="connsiteX0" fmla="*/ 359468 w 406914"/>
                <a:gd name="connsiteY0" fmla="*/ 93704 h 525584"/>
                <a:gd name="connsiteX1" fmla="*/ 376112 w 406914"/>
                <a:gd name="connsiteY1" fmla="*/ 90137 h 525584"/>
                <a:gd name="connsiteX2" fmla="*/ 380868 w 406914"/>
                <a:gd name="connsiteY2" fmla="*/ 104404 h 525584"/>
                <a:gd name="connsiteX3" fmla="*/ 406915 w 406914"/>
                <a:gd name="connsiteY3" fmla="*/ 109159 h 525584"/>
                <a:gd name="connsiteX4" fmla="*/ 402159 w 406914"/>
                <a:gd name="connsiteY4" fmla="*/ 139962 h 525584"/>
                <a:gd name="connsiteX5" fmla="*/ 398593 w 406914"/>
                <a:gd name="connsiteY5" fmla="*/ 154228 h 525584"/>
                <a:gd name="connsiteX6" fmla="*/ 386704 w 406914"/>
                <a:gd name="connsiteY6" fmla="*/ 171953 h 525584"/>
                <a:gd name="connsiteX7" fmla="*/ 386704 w 406914"/>
                <a:gd name="connsiteY7" fmla="*/ 200485 h 525584"/>
                <a:gd name="connsiteX8" fmla="*/ 403348 w 406914"/>
                <a:gd name="connsiteY8" fmla="*/ 217129 h 525584"/>
                <a:gd name="connsiteX9" fmla="*/ 403348 w 406914"/>
                <a:gd name="connsiteY9" fmla="*/ 271709 h 525584"/>
                <a:gd name="connsiteX10" fmla="*/ 338069 w 406914"/>
                <a:gd name="connsiteY10" fmla="*/ 275275 h 525584"/>
                <a:gd name="connsiteX11" fmla="*/ 320236 w 406914"/>
                <a:gd name="connsiteY11" fmla="*/ 285975 h 525584"/>
                <a:gd name="connsiteX12" fmla="*/ 303592 w 406914"/>
                <a:gd name="connsiteY12" fmla="*/ 291920 h 525584"/>
                <a:gd name="connsiteX13" fmla="*/ 302403 w 406914"/>
                <a:gd name="connsiteY13" fmla="*/ 323911 h 525584"/>
                <a:gd name="connsiteX14" fmla="*/ 302403 w 406914"/>
                <a:gd name="connsiteY14" fmla="*/ 358279 h 525584"/>
                <a:gd name="connsiteX15" fmla="*/ 283489 w 406914"/>
                <a:gd name="connsiteY15" fmla="*/ 360657 h 525584"/>
                <a:gd name="connsiteX16" fmla="*/ 273978 w 406914"/>
                <a:gd name="connsiteY16" fmla="*/ 379571 h 525584"/>
                <a:gd name="connsiteX17" fmla="*/ 275167 w 406914"/>
                <a:gd name="connsiteY17" fmla="*/ 442473 h 525584"/>
                <a:gd name="connsiteX18" fmla="*/ 262090 w 406914"/>
                <a:gd name="connsiteY18" fmla="*/ 448417 h 525584"/>
                <a:gd name="connsiteX19" fmla="*/ 264468 w 406914"/>
                <a:gd name="connsiteY19" fmla="*/ 483975 h 525584"/>
                <a:gd name="connsiteX20" fmla="*/ 265657 w 406914"/>
                <a:gd name="connsiteY20" fmla="*/ 500619 h 525584"/>
                <a:gd name="connsiteX21" fmla="*/ 273978 w 406914"/>
                <a:gd name="connsiteY21" fmla="*/ 513696 h 525584"/>
                <a:gd name="connsiteX22" fmla="*/ 270412 w 406914"/>
                <a:gd name="connsiteY22" fmla="*/ 525585 h 525584"/>
                <a:gd name="connsiteX23" fmla="*/ 233665 w 406914"/>
                <a:gd name="connsiteY23" fmla="*/ 497052 h 525584"/>
                <a:gd name="connsiteX24" fmla="*/ 220588 w 406914"/>
                <a:gd name="connsiteY24" fmla="*/ 474464 h 525584"/>
                <a:gd name="connsiteX25" fmla="*/ 182652 w 406914"/>
                <a:gd name="connsiteY25" fmla="*/ 463764 h 525584"/>
                <a:gd name="connsiteX26" fmla="*/ 181463 w 406914"/>
                <a:gd name="connsiteY26" fmla="*/ 455442 h 525584"/>
                <a:gd name="connsiteX27" fmla="*/ 145906 w 406914"/>
                <a:gd name="connsiteY27" fmla="*/ 413940 h 525584"/>
                <a:gd name="connsiteX28" fmla="*/ 134017 w 406914"/>
                <a:gd name="connsiteY28" fmla="*/ 407996 h 525584"/>
                <a:gd name="connsiteX29" fmla="*/ 105592 w 406914"/>
                <a:gd name="connsiteY29" fmla="*/ 406807 h 525584"/>
                <a:gd name="connsiteX30" fmla="*/ 97271 w 406914"/>
                <a:gd name="connsiteY30" fmla="*/ 422262 h 525584"/>
                <a:gd name="connsiteX31" fmla="*/ 78249 w 406914"/>
                <a:gd name="connsiteY31" fmla="*/ 430584 h 525584"/>
                <a:gd name="connsiteX32" fmla="*/ 33180 w 406914"/>
                <a:gd name="connsiteY32" fmla="*/ 428206 h 525584"/>
                <a:gd name="connsiteX33" fmla="*/ 1189 w 406914"/>
                <a:gd name="connsiteY33" fmla="*/ 409292 h 525584"/>
                <a:gd name="connsiteX34" fmla="*/ 1189 w 406914"/>
                <a:gd name="connsiteY34" fmla="*/ 390271 h 525584"/>
                <a:gd name="connsiteX35" fmla="*/ 48635 w 406914"/>
                <a:gd name="connsiteY35" fmla="*/ 365413 h 525584"/>
                <a:gd name="connsiteX36" fmla="*/ 59335 w 406914"/>
                <a:gd name="connsiteY36" fmla="*/ 353524 h 525584"/>
                <a:gd name="connsiteX37" fmla="*/ 62902 w 406914"/>
                <a:gd name="connsiteY37" fmla="*/ 321533 h 525584"/>
                <a:gd name="connsiteX38" fmla="*/ 0 w 406914"/>
                <a:gd name="connsiteY38" fmla="*/ 319155 h 525584"/>
                <a:gd name="connsiteX39" fmla="*/ 1189 w 406914"/>
                <a:gd name="connsiteY39" fmla="*/ 287164 h 525584"/>
                <a:gd name="connsiteX40" fmla="*/ 45069 w 406914"/>
                <a:gd name="connsiteY40" fmla="*/ 232585 h 525584"/>
                <a:gd name="connsiteX41" fmla="*/ 56957 w 406914"/>
                <a:gd name="connsiteY41" fmla="*/ 210104 h 525584"/>
                <a:gd name="connsiteX42" fmla="*/ 45069 w 406914"/>
                <a:gd name="connsiteY42" fmla="*/ 189894 h 525584"/>
                <a:gd name="connsiteX43" fmla="*/ 27236 w 406914"/>
                <a:gd name="connsiteY43" fmla="*/ 168494 h 525584"/>
                <a:gd name="connsiteX44" fmla="*/ 35558 w 406914"/>
                <a:gd name="connsiteY44" fmla="*/ 105593 h 525584"/>
                <a:gd name="connsiteX45" fmla="*/ 2378 w 406914"/>
                <a:gd name="connsiteY45" fmla="*/ 98460 h 525584"/>
                <a:gd name="connsiteX46" fmla="*/ 1189 w 406914"/>
                <a:gd name="connsiteY46" fmla="*/ 80735 h 525584"/>
                <a:gd name="connsiteX47" fmla="*/ 39124 w 406914"/>
                <a:gd name="connsiteY47" fmla="*/ 35666 h 525584"/>
                <a:gd name="connsiteX48" fmla="*/ 41502 w 406914"/>
                <a:gd name="connsiteY48" fmla="*/ 16644 h 525584"/>
                <a:gd name="connsiteX49" fmla="*/ 39124 w 406914"/>
                <a:gd name="connsiteY49" fmla="*/ 2378 h 525584"/>
                <a:gd name="connsiteX50" fmla="*/ 58146 w 406914"/>
                <a:gd name="connsiteY50" fmla="*/ 0 h 525584"/>
                <a:gd name="connsiteX51" fmla="*/ 65279 w 406914"/>
                <a:gd name="connsiteY51" fmla="*/ 16644 h 525584"/>
                <a:gd name="connsiteX52" fmla="*/ 85490 w 406914"/>
                <a:gd name="connsiteY52" fmla="*/ 32099 h 525584"/>
                <a:gd name="connsiteX53" fmla="*/ 103215 w 406914"/>
                <a:gd name="connsiteY53" fmla="*/ 41610 h 525584"/>
                <a:gd name="connsiteX54" fmla="*/ 125803 w 406914"/>
                <a:gd name="connsiteY54" fmla="*/ 46366 h 525584"/>
                <a:gd name="connsiteX55" fmla="*/ 137692 w 406914"/>
                <a:gd name="connsiteY55" fmla="*/ 74790 h 525584"/>
                <a:gd name="connsiteX56" fmla="*/ 132936 w 406914"/>
                <a:gd name="connsiteY56" fmla="*/ 95001 h 525584"/>
                <a:gd name="connsiteX57" fmla="*/ 113915 w 406914"/>
                <a:gd name="connsiteY57" fmla="*/ 118778 h 525584"/>
                <a:gd name="connsiteX58" fmla="*/ 117481 w 406914"/>
                <a:gd name="connsiteY58" fmla="*/ 146014 h 525584"/>
                <a:gd name="connsiteX59" fmla="*/ 147095 w 406914"/>
                <a:gd name="connsiteY59" fmla="*/ 159091 h 525584"/>
                <a:gd name="connsiteX60" fmla="*/ 163739 w 406914"/>
                <a:gd name="connsiteY60" fmla="*/ 186327 h 525584"/>
                <a:gd name="connsiteX61" fmla="*/ 180383 w 406914"/>
                <a:gd name="connsiteY61" fmla="*/ 197027 h 525584"/>
                <a:gd name="connsiteX62" fmla="*/ 189894 w 406914"/>
                <a:gd name="connsiteY62" fmla="*/ 189894 h 525584"/>
                <a:gd name="connsiteX63" fmla="*/ 193460 w 406914"/>
                <a:gd name="connsiteY63" fmla="*/ 154336 h 525584"/>
                <a:gd name="connsiteX64" fmla="*/ 212374 w 406914"/>
                <a:gd name="connsiteY64" fmla="*/ 148392 h 525584"/>
                <a:gd name="connsiteX65" fmla="*/ 253876 w 406914"/>
                <a:gd name="connsiteY65" fmla="*/ 131747 h 525584"/>
                <a:gd name="connsiteX66" fmla="*/ 296567 w 406914"/>
                <a:gd name="connsiteY66" fmla="*/ 113915 h 525584"/>
                <a:gd name="connsiteX67" fmla="*/ 359468 w 406914"/>
                <a:gd name="connsiteY67" fmla="*/ 93704 h 525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406914" h="525584" extrusionOk="0">
                  <a:moveTo>
                    <a:pt x="359468" y="93704"/>
                  </a:moveTo>
                  <a:lnTo>
                    <a:pt x="376112" y="90137"/>
                  </a:lnTo>
                  <a:lnTo>
                    <a:pt x="380868" y="104404"/>
                  </a:lnTo>
                  <a:lnTo>
                    <a:pt x="406915" y="109159"/>
                  </a:lnTo>
                  <a:lnTo>
                    <a:pt x="402159" y="139962"/>
                  </a:lnTo>
                  <a:lnTo>
                    <a:pt x="398593" y="154228"/>
                  </a:lnTo>
                  <a:lnTo>
                    <a:pt x="386704" y="171953"/>
                  </a:lnTo>
                  <a:lnTo>
                    <a:pt x="386704" y="200485"/>
                  </a:lnTo>
                  <a:lnTo>
                    <a:pt x="403348" y="217129"/>
                  </a:lnTo>
                  <a:lnTo>
                    <a:pt x="403348" y="271709"/>
                  </a:lnTo>
                  <a:lnTo>
                    <a:pt x="338069" y="275275"/>
                  </a:lnTo>
                  <a:lnTo>
                    <a:pt x="320236" y="285975"/>
                  </a:lnTo>
                  <a:lnTo>
                    <a:pt x="303592" y="291920"/>
                  </a:lnTo>
                  <a:lnTo>
                    <a:pt x="302403" y="323911"/>
                  </a:lnTo>
                  <a:lnTo>
                    <a:pt x="302403" y="358279"/>
                  </a:lnTo>
                  <a:lnTo>
                    <a:pt x="283489" y="360657"/>
                  </a:lnTo>
                  <a:lnTo>
                    <a:pt x="273978" y="379571"/>
                  </a:lnTo>
                  <a:lnTo>
                    <a:pt x="275167" y="442473"/>
                  </a:lnTo>
                  <a:lnTo>
                    <a:pt x="262090" y="448417"/>
                  </a:lnTo>
                  <a:lnTo>
                    <a:pt x="264468" y="483975"/>
                  </a:lnTo>
                  <a:lnTo>
                    <a:pt x="265657" y="500619"/>
                  </a:lnTo>
                  <a:lnTo>
                    <a:pt x="273978" y="513696"/>
                  </a:lnTo>
                  <a:lnTo>
                    <a:pt x="270412" y="525585"/>
                  </a:lnTo>
                  <a:lnTo>
                    <a:pt x="233665" y="497052"/>
                  </a:lnTo>
                  <a:lnTo>
                    <a:pt x="220588" y="474464"/>
                  </a:lnTo>
                  <a:lnTo>
                    <a:pt x="182652" y="463764"/>
                  </a:lnTo>
                  <a:lnTo>
                    <a:pt x="181463" y="455442"/>
                  </a:lnTo>
                  <a:lnTo>
                    <a:pt x="145906" y="413940"/>
                  </a:lnTo>
                  <a:lnTo>
                    <a:pt x="134017" y="407996"/>
                  </a:lnTo>
                  <a:lnTo>
                    <a:pt x="105592" y="406807"/>
                  </a:lnTo>
                  <a:lnTo>
                    <a:pt x="97271" y="422262"/>
                  </a:lnTo>
                  <a:lnTo>
                    <a:pt x="78249" y="430584"/>
                  </a:lnTo>
                  <a:lnTo>
                    <a:pt x="33180" y="428206"/>
                  </a:lnTo>
                  <a:lnTo>
                    <a:pt x="1189" y="409292"/>
                  </a:lnTo>
                  <a:lnTo>
                    <a:pt x="1189" y="390271"/>
                  </a:lnTo>
                  <a:lnTo>
                    <a:pt x="48635" y="365413"/>
                  </a:lnTo>
                  <a:lnTo>
                    <a:pt x="59335" y="353524"/>
                  </a:lnTo>
                  <a:lnTo>
                    <a:pt x="62902" y="321533"/>
                  </a:lnTo>
                  <a:lnTo>
                    <a:pt x="0" y="319155"/>
                  </a:lnTo>
                  <a:lnTo>
                    <a:pt x="1189" y="287164"/>
                  </a:lnTo>
                  <a:lnTo>
                    <a:pt x="45069" y="232585"/>
                  </a:lnTo>
                  <a:lnTo>
                    <a:pt x="56957" y="210104"/>
                  </a:lnTo>
                  <a:lnTo>
                    <a:pt x="45069" y="189894"/>
                  </a:lnTo>
                  <a:lnTo>
                    <a:pt x="27236" y="168494"/>
                  </a:lnTo>
                  <a:lnTo>
                    <a:pt x="35558" y="105593"/>
                  </a:lnTo>
                  <a:lnTo>
                    <a:pt x="2378" y="98460"/>
                  </a:lnTo>
                  <a:lnTo>
                    <a:pt x="1189" y="80735"/>
                  </a:lnTo>
                  <a:lnTo>
                    <a:pt x="39124" y="35666"/>
                  </a:lnTo>
                  <a:lnTo>
                    <a:pt x="41502" y="16644"/>
                  </a:lnTo>
                  <a:lnTo>
                    <a:pt x="39124" y="2378"/>
                  </a:lnTo>
                  <a:lnTo>
                    <a:pt x="58146" y="0"/>
                  </a:lnTo>
                  <a:lnTo>
                    <a:pt x="65279" y="16644"/>
                  </a:lnTo>
                  <a:lnTo>
                    <a:pt x="85490" y="32099"/>
                  </a:lnTo>
                  <a:lnTo>
                    <a:pt x="103215" y="41610"/>
                  </a:lnTo>
                  <a:lnTo>
                    <a:pt x="125803" y="46366"/>
                  </a:lnTo>
                  <a:lnTo>
                    <a:pt x="137692" y="74790"/>
                  </a:lnTo>
                  <a:lnTo>
                    <a:pt x="132936" y="95001"/>
                  </a:lnTo>
                  <a:lnTo>
                    <a:pt x="113915" y="118778"/>
                  </a:lnTo>
                  <a:lnTo>
                    <a:pt x="117481" y="146014"/>
                  </a:lnTo>
                  <a:lnTo>
                    <a:pt x="147095" y="159091"/>
                  </a:lnTo>
                  <a:lnTo>
                    <a:pt x="163739" y="186327"/>
                  </a:lnTo>
                  <a:lnTo>
                    <a:pt x="180383" y="197027"/>
                  </a:lnTo>
                  <a:lnTo>
                    <a:pt x="189894" y="189894"/>
                  </a:lnTo>
                  <a:lnTo>
                    <a:pt x="193460" y="154336"/>
                  </a:lnTo>
                  <a:lnTo>
                    <a:pt x="212374" y="148392"/>
                  </a:lnTo>
                  <a:lnTo>
                    <a:pt x="253876" y="131747"/>
                  </a:lnTo>
                  <a:lnTo>
                    <a:pt x="296567" y="113915"/>
                  </a:lnTo>
                  <a:lnTo>
                    <a:pt x="359468" y="93704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3" name="Полилиния: фигура 183"/>
            <p:cNvSpPr/>
            <p:nvPr/>
          </p:nvSpPr>
          <p:spPr bwMode="auto">
            <a:xfrm>
              <a:off x="3519814" y="4823245"/>
              <a:ext cx="523423" cy="288136"/>
            </a:xfrm>
            <a:custGeom>
              <a:avLst/>
              <a:gdLst>
                <a:gd name="connsiteX0" fmla="*/ 421397 w 523423"/>
                <a:gd name="connsiteY0" fmla="*/ 140826 h 288136"/>
                <a:gd name="connsiteX1" fmla="*/ 466466 w 523423"/>
                <a:gd name="connsiteY1" fmla="*/ 143204 h 288136"/>
                <a:gd name="connsiteX2" fmla="*/ 500835 w 523423"/>
                <a:gd name="connsiteY2" fmla="*/ 151526 h 288136"/>
                <a:gd name="connsiteX3" fmla="*/ 500835 w 523423"/>
                <a:gd name="connsiteY3" fmla="*/ 165792 h 288136"/>
                <a:gd name="connsiteX4" fmla="*/ 523423 w 523423"/>
                <a:gd name="connsiteY4" fmla="*/ 177681 h 288136"/>
                <a:gd name="connsiteX5" fmla="*/ 510346 w 523423"/>
                <a:gd name="connsiteY5" fmla="*/ 186003 h 288136"/>
                <a:gd name="connsiteX6" fmla="*/ 481921 w 523423"/>
                <a:gd name="connsiteY6" fmla="*/ 204916 h 288136"/>
                <a:gd name="connsiteX7" fmla="*/ 478354 w 523423"/>
                <a:gd name="connsiteY7" fmla="*/ 215616 h 288136"/>
                <a:gd name="connsiteX8" fmla="*/ 480732 w 523423"/>
                <a:gd name="connsiteY8" fmla="*/ 227505 h 288136"/>
                <a:gd name="connsiteX9" fmla="*/ 491432 w 523423"/>
                <a:gd name="connsiteY9" fmla="*/ 235827 h 288136"/>
                <a:gd name="connsiteX10" fmla="*/ 498565 w 523423"/>
                <a:gd name="connsiteY10" fmla="*/ 252471 h 288136"/>
                <a:gd name="connsiteX11" fmla="*/ 497376 w 523423"/>
                <a:gd name="connsiteY11" fmla="*/ 265548 h 288136"/>
                <a:gd name="connsiteX12" fmla="*/ 489054 w 523423"/>
                <a:gd name="connsiteY12" fmla="*/ 272682 h 288136"/>
                <a:gd name="connsiteX13" fmla="*/ 465385 w 523423"/>
                <a:gd name="connsiteY13" fmla="*/ 270304 h 288136"/>
                <a:gd name="connsiteX14" fmla="*/ 438149 w 523423"/>
                <a:gd name="connsiteY14" fmla="*/ 261982 h 288136"/>
                <a:gd name="connsiteX15" fmla="*/ 416750 w 523423"/>
                <a:gd name="connsiteY15" fmla="*/ 259604 h 288136"/>
                <a:gd name="connsiteX16" fmla="*/ 408428 w 523423"/>
                <a:gd name="connsiteY16" fmla="*/ 265548 h 288136"/>
                <a:gd name="connsiteX17" fmla="*/ 407239 w 523423"/>
                <a:gd name="connsiteY17" fmla="*/ 265548 h 288136"/>
                <a:gd name="connsiteX18" fmla="*/ 387028 w 523423"/>
                <a:gd name="connsiteY18" fmla="*/ 278626 h 288136"/>
                <a:gd name="connsiteX19" fmla="*/ 373951 w 523423"/>
                <a:gd name="connsiteY19" fmla="*/ 278626 h 288136"/>
                <a:gd name="connsiteX20" fmla="*/ 343149 w 523423"/>
                <a:gd name="connsiteY20" fmla="*/ 266737 h 288136"/>
                <a:gd name="connsiteX21" fmla="*/ 292136 w 523423"/>
                <a:gd name="connsiteY21" fmla="*/ 241879 h 288136"/>
                <a:gd name="connsiteX22" fmla="*/ 264900 w 523423"/>
                <a:gd name="connsiteY22" fmla="*/ 224046 h 288136"/>
                <a:gd name="connsiteX23" fmla="*/ 249445 w 523423"/>
                <a:gd name="connsiteY23" fmla="*/ 226424 h 288136"/>
                <a:gd name="connsiteX24" fmla="*/ 238745 w 523423"/>
                <a:gd name="connsiteY24" fmla="*/ 231179 h 288136"/>
                <a:gd name="connsiteX25" fmla="*/ 236367 w 523423"/>
                <a:gd name="connsiteY25" fmla="*/ 241879 h 288136"/>
                <a:gd name="connsiteX26" fmla="*/ 233989 w 523423"/>
                <a:gd name="connsiteY26" fmla="*/ 265548 h 288136"/>
                <a:gd name="connsiteX27" fmla="*/ 226856 w 523423"/>
                <a:gd name="connsiteY27" fmla="*/ 277437 h 288136"/>
                <a:gd name="connsiteX28" fmla="*/ 218534 w 523423"/>
                <a:gd name="connsiteY28" fmla="*/ 285759 h 288136"/>
                <a:gd name="connsiteX29" fmla="*/ 209023 w 523423"/>
                <a:gd name="connsiteY29" fmla="*/ 288137 h 288136"/>
                <a:gd name="connsiteX30" fmla="*/ 199512 w 523423"/>
                <a:gd name="connsiteY30" fmla="*/ 286948 h 288136"/>
                <a:gd name="connsiteX31" fmla="*/ 191191 w 523423"/>
                <a:gd name="connsiteY31" fmla="*/ 284570 h 288136"/>
                <a:gd name="connsiteX32" fmla="*/ 180491 w 523423"/>
                <a:gd name="connsiteY32" fmla="*/ 278626 h 288136"/>
                <a:gd name="connsiteX33" fmla="*/ 140178 w 523423"/>
                <a:gd name="connsiteY33" fmla="*/ 229991 h 288136"/>
                <a:gd name="connsiteX34" fmla="*/ 118778 w 523423"/>
                <a:gd name="connsiteY34" fmla="*/ 195622 h 288136"/>
                <a:gd name="connsiteX35" fmla="*/ 115211 w 523423"/>
                <a:gd name="connsiteY35" fmla="*/ 190866 h 288136"/>
                <a:gd name="connsiteX36" fmla="*/ 106889 w 523423"/>
                <a:gd name="connsiteY36" fmla="*/ 192055 h 288136"/>
                <a:gd name="connsiteX37" fmla="*/ 85490 w 523423"/>
                <a:gd name="connsiteY37" fmla="*/ 206321 h 288136"/>
                <a:gd name="connsiteX38" fmla="*/ 78357 w 523423"/>
                <a:gd name="connsiteY38" fmla="*/ 209888 h 288136"/>
                <a:gd name="connsiteX39" fmla="*/ 67657 w 523423"/>
                <a:gd name="connsiteY39" fmla="*/ 209888 h 288136"/>
                <a:gd name="connsiteX40" fmla="*/ 24966 w 523423"/>
                <a:gd name="connsiteY40" fmla="*/ 205133 h 288136"/>
                <a:gd name="connsiteX41" fmla="*/ 0 w 523423"/>
                <a:gd name="connsiteY41" fmla="*/ 205133 h 288136"/>
                <a:gd name="connsiteX42" fmla="*/ 9511 w 523423"/>
                <a:gd name="connsiteY42" fmla="*/ 163630 h 288136"/>
                <a:gd name="connsiteX43" fmla="*/ 15455 w 523423"/>
                <a:gd name="connsiteY43" fmla="*/ 119751 h 288136"/>
                <a:gd name="connsiteX44" fmla="*/ 46257 w 523423"/>
                <a:gd name="connsiteY44" fmla="*/ 87760 h 288136"/>
                <a:gd name="connsiteX45" fmla="*/ 47446 w 523423"/>
                <a:gd name="connsiteY45" fmla="*/ 84193 h 288136"/>
                <a:gd name="connsiteX46" fmla="*/ 43880 w 523423"/>
                <a:gd name="connsiteY46" fmla="*/ 48635 h 288136"/>
                <a:gd name="connsiteX47" fmla="*/ 60524 w 523423"/>
                <a:gd name="connsiteY47" fmla="*/ 28425 h 288136"/>
                <a:gd name="connsiteX48" fmla="*/ 52202 w 523423"/>
                <a:gd name="connsiteY48" fmla="*/ 3566 h 288136"/>
                <a:gd name="connsiteX49" fmla="*/ 67657 w 523423"/>
                <a:gd name="connsiteY49" fmla="*/ 0 h 288136"/>
                <a:gd name="connsiteX50" fmla="*/ 115103 w 523423"/>
                <a:gd name="connsiteY50" fmla="*/ 39124 h 288136"/>
                <a:gd name="connsiteX51" fmla="*/ 130559 w 523423"/>
                <a:gd name="connsiteY51" fmla="*/ 37936 h 288136"/>
                <a:gd name="connsiteX52" fmla="*/ 162550 w 523423"/>
                <a:gd name="connsiteY52" fmla="*/ 63982 h 288136"/>
                <a:gd name="connsiteX53" fmla="*/ 169683 w 523423"/>
                <a:gd name="connsiteY53" fmla="*/ 92515 h 288136"/>
                <a:gd name="connsiteX54" fmla="*/ 200485 w 523423"/>
                <a:gd name="connsiteY54" fmla="*/ 102026 h 288136"/>
                <a:gd name="connsiteX55" fmla="*/ 230099 w 523423"/>
                <a:gd name="connsiteY55" fmla="*/ 136395 h 288136"/>
                <a:gd name="connsiteX56" fmla="*/ 246743 w 523423"/>
                <a:gd name="connsiteY56" fmla="*/ 166116 h 288136"/>
                <a:gd name="connsiteX57" fmla="*/ 282300 w 523423"/>
                <a:gd name="connsiteY57" fmla="*/ 140069 h 288136"/>
                <a:gd name="connsiteX58" fmla="*/ 293000 w 523423"/>
                <a:gd name="connsiteY58" fmla="*/ 141258 h 288136"/>
                <a:gd name="connsiteX59" fmla="*/ 290623 w 523423"/>
                <a:gd name="connsiteY59" fmla="*/ 189894 h 288136"/>
                <a:gd name="connsiteX60" fmla="*/ 316669 w 523423"/>
                <a:gd name="connsiteY60" fmla="*/ 210104 h 288136"/>
                <a:gd name="connsiteX61" fmla="*/ 349849 w 523423"/>
                <a:gd name="connsiteY61" fmla="*/ 220804 h 288136"/>
                <a:gd name="connsiteX62" fmla="*/ 373627 w 523423"/>
                <a:gd name="connsiteY62" fmla="*/ 212482 h 288136"/>
                <a:gd name="connsiteX63" fmla="*/ 402051 w 523423"/>
                <a:gd name="connsiteY63" fmla="*/ 200593 h 288136"/>
                <a:gd name="connsiteX64" fmla="*/ 416317 w 523423"/>
                <a:gd name="connsiteY64" fmla="*/ 178005 h 288136"/>
                <a:gd name="connsiteX65" fmla="*/ 421397 w 523423"/>
                <a:gd name="connsiteY65" fmla="*/ 140826 h 28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3423" h="288136" extrusionOk="0">
                  <a:moveTo>
                    <a:pt x="421397" y="140826"/>
                  </a:moveTo>
                  <a:lnTo>
                    <a:pt x="466466" y="143204"/>
                  </a:lnTo>
                  <a:lnTo>
                    <a:pt x="500835" y="151526"/>
                  </a:lnTo>
                  <a:lnTo>
                    <a:pt x="500835" y="165792"/>
                  </a:lnTo>
                  <a:lnTo>
                    <a:pt x="523423" y="177681"/>
                  </a:lnTo>
                  <a:lnTo>
                    <a:pt x="510346" y="186003"/>
                  </a:lnTo>
                  <a:lnTo>
                    <a:pt x="481921" y="204916"/>
                  </a:lnTo>
                  <a:lnTo>
                    <a:pt x="478354" y="215616"/>
                  </a:lnTo>
                  <a:lnTo>
                    <a:pt x="480732" y="227505"/>
                  </a:lnTo>
                  <a:lnTo>
                    <a:pt x="491432" y="235827"/>
                  </a:lnTo>
                  <a:lnTo>
                    <a:pt x="498565" y="252471"/>
                  </a:lnTo>
                  <a:lnTo>
                    <a:pt x="497376" y="265548"/>
                  </a:lnTo>
                  <a:lnTo>
                    <a:pt x="489054" y="272682"/>
                  </a:lnTo>
                  <a:lnTo>
                    <a:pt x="465385" y="270304"/>
                  </a:lnTo>
                  <a:lnTo>
                    <a:pt x="438149" y="261982"/>
                  </a:lnTo>
                  <a:lnTo>
                    <a:pt x="416750" y="259604"/>
                  </a:lnTo>
                  <a:lnTo>
                    <a:pt x="408428" y="265548"/>
                  </a:lnTo>
                  <a:lnTo>
                    <a:pt x="407239" y="265548"/>
                  </a:lnTo>
                  <a:lnTo>
                    <a:pt x="387028" y="278626"/>
                  </a:lnTo>
                  <a:lnTo>
                    <a:pt x="373951" y="278626"/>
                  </a:lnTo>
                  <a:lnTo>
                    <a:pt x="343149" y="266737"/>
                  </a:lnTo>
                  <a:lnTo>
                    <a:pt x="292136" y="241879"/>
                  </a:lnTo>
                  <a:lnTo>
                    <a:pt x="264900" y="224046"/>
                  </a:lnTo>
                  <a:lnTo>
                    <a:pt x="249445" y="226424"/>
                  </a:lnTo>
                  <a:lnTo>
                    <a:pt x="238745" y="231179"/>
                  </a:lnTo>
                  <a:lnTo>
                    <a:pt x="236367" y="241879"/>
                  </a:lnTo>
                  <a:lnTo>
                    <a:pt x="233989" y="265548"/>
                  </a:lnTo>
                  <a:lnTo>
                    <a:pt x="226856" y="277437"/>
                  </a:lnTo>
                  <a:lnTo>
                    <a:pt x="218534" y="285759"/>
                  </a:lnTo>
                  <a:lnTo>
                    <a:pt x="209023" y="288137"/>
                  </a:lnTo>
                  <a:lnTo>
                    <a:pt x="199512" y="286948"/>
                  </a:lnTo>
                  <a:lnTo>
                    <a:pt x="191191" y="284570"/>
                  </a:lnTo>
                  <a:lnTo>
                    <a:pt x="180491" y="278626"/>
                  </a:lnTo>
                  <a:lnTo>
                    <a:pt x="140178" y="229991"/>
                  </a:lnTo>
                  <a:lnTo>
                    <a:pt x="118778" y="195622"/>
                  </a:lnTo>
                  <a:lnTo>
                    <a:pt x="115211" y="190866"/>
                  </a:lnTo>
                  <a:lnTo>
                    <a:pt x="106889" y="192055"/>
                  </a:lnTo>
                  <a:lnTo>
                    <a:pt x="85490" y="206321"/>
                  </a:lnTo>
                  <a:lnTo>
                    <a:pt x="78357" y="209888"/>
                  </a:lnTo>
                  <a:lnTo>
                    <a:pt x="67657" y="209888"/>
                  </a:lnTo>
                  <a:lnTo>
                    <a:pt x="24966" y="205133"/>
                  </a:lnTo>
                  <a:lnTo>
                    <a:pt x="0" y="205133"/>
                  </a:lnTo>
                  <a:lnTo>
                    <a:pt x="9511" y="163630"/>
                  </a:lnTo>
                  <a:lnTo>
                    <a:pt x="15455" y="119751"/>
                  </a:lnTo>
                  <a:lnTo>
                    <a:pt x="46257" y="87760"/>
                  </a:lnTo>
                  <a:lnTo>
                    <a:pt x="47446" y="84193"/>
                  </a:lnTo>
                  <a:lnTo>
                    <a:pt x="43880" y="48635"/>
                  </a:lnTo>
                  <a:lnTo>
                    <a:pt x="60524" y="28425"/>
                  </a:lnTo>
                  <a:lnTo>
                    <a:pt x="52202" y="3566"/>
                  </a:lnTo>
                  <a:lnTo>
                    <a:pt x="67657" y="0"/>
                  </a:lnTo>
                  <a:lnTo>
                    <a:pt x="115103" y="39124"/>
                  </a:lnTo>
                  <a:lnTo>
                    <a:pt x="130559" y="37936"/>
                  </a:lnTo>
                  <a:lnTo>
                    <a:pt x="162550" y="63982"/>
                  </a:lnTo>
                  <a:lnTo>
                    <a:pt x="169683" y="92515"/>
                  </a:lnTo>
                  <a:lnTo>
                    <a:pt x="200485" y="102026"/>
                  </a:lnTo>
                  <a:lnTo>
                    <a:pt x="230099" y="136395"/>
                  </a:lnTo>
                  <a:lnTo>
                    <a:pt x="246743" y="166116"/>
                  </a:lnTo>
                  <a:lnTo>
                    <a:pt x="282300" y="140069"/>
                  </a:lnTo>
                  <a:lnTo>
                    <a:pt x="293000" y="141258"/>
                  </a:lnTo>
                  <a:lnTo>
                    <a:pt x="290623" y="189894"/>
                  </a:lnTo>
                  <a:lnTo>
                    <a:pt x="316669" y="210104"/>
                  </a:lnTo>
                  <a:lnTo>
                    <a:pt x="349849" y="220804"/>
                  </a:lnTo>
                  <a:lnTo>
                    <a:pt x="373627" y="212482"/>
                  </a:lnTo>
                  <a:lnTo>
                    <a:pt x="402051" y="200593"/>
                  </a:lnTo>
                  <a:lnTo>
                    <a:pt x="416317" y="178005"/>
                  </a:lnTo>
                  <a:lnTo>
                    <a:pt x="421397" y="140826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4" name="Полилиния: фигура 184"/>
            <p:cNvSpPr/>
            <p:nvPr/>
          </p:nvSpPr>
          <p:spPr bwMode="auto">
            <a:xfrm>
              <a:off x="3841455" y="4636810"/>
              <a:ext cx="350173" cy="363034"/>
            </a:xfrm>
            <a:custGeom>
              <a:avLst/>
              <a:gdLst>
                <a:gd name="connsiteX0" fmla="*/ 84301 w 350173"/>
                <a:gd name="connsiteY0" fmla="*/ 123317 h 363034"/>
                <a:gd name="connsiteX1" fmla="*/ 67657 w 350173"/>
                <a:gd name="connsiteY1" fmla="*/ 116184 h 363034"/>
                <a:gd name="connsiteX2" fmla="*/ 54580 w 350173"/>
                <a:gd name="connsiteY2" fmla="*/ 91326 h 363034"/>
                <a:gd name="connsiteX3" fmla="*/ 26155 w 350173"/>
                <a:gd name="connsiteY3" fmla="*/ 90137 h 363034"/>
                <a:gd name="connsiteX4" fmla="*/ 10700 w 350173"/>
                <a:gd name="connsiteY4" fmla="*/ 94893 h 363034"/>
                <a:gd name="connsiteX5" fmla="*/ 0 w 350173"/>
                <a:gd name="connsiteY5" fmla="*/ 122128 h 363034"/>
                <a:gd name="connsiteX6" fmla="*/ 34369 w 350173"/>
                <a:gd name="connsiteY6" fmla="*/ 160064 h 363034"/>
                <a:gd name="connsiteX7" fmla="*/ 68738 w 350173"/>
                <a:gd name="connsiteY7" fmla="*/ 170764 h 363034"/>
                <a:gd name="connsiteX8" fmla="*/ 85382 w 350173"/>
                <a:gd name="connsiteY8" fmla="*/ 180275 h 363034"/>
                <a:gd name="connsiteX9" fmla="*/ 105593 w 350173"/>
                <a:gd name="connsiteY9" fmla="*/ 170764 h 363034"/>
                <a:gd name="connsiteX10" fmla="*/ 118670 w 350173"/>
                <a:gd name="connsiteY10" fmla="*/ 155308 h 363034"/>
                <a:gd name="connsiteX11" fmla="*/ 134125 w 350173"/>
                <a:gd name="connsiteY11" fmla="*/ 139853 h 363034"/>
                <a:gd name="connsiteX12" fmla="*/ 144825 w 350173"/>
                <a:gd name="connsiteY12" fmla="*/ 133909 h 363034"/>
                <a:gd name="connsiteX13" fmla="*/ 149580 w 350173"/>
                <a:gd name="connsiteY13" fmla="*/ 150553 h 363034"/>
                <a:gd name="connsiteX14" fmla="*/ 125911 w 350173"/>
                <a:gd name="connsiteY14" fmla="*/ 175411 h 363034"/>
                <a:gd name="connsiteX15" fmla="*/ 125911 w 350173"/>
                <a:gd name="connsiteY15" fmla="*/ 198000 h 363034"/>
                <a:gd name="connsiteX16" fmla="*/ 111645 w 350173"/>
                <a:gd name="connsiteY16" fmla="*/ 211077 h 363034"/>
                <a:gd name="connsiteX17" fmla="*/ 114023 w 350173"/>
                <a:gd name="connsiteY17" fmla="*/ 249012 h 363034"/>
                <a:gd name="connsiteX18" fmla="*/ 92623 w 350173"/>
                <a:gd name="connsiteY18" fmla="*/ 307158 h 363034"/>
                <a:gd name="connsiteX19" fmla="*/ 99756 w 350173"/>
                <a:gd name="connsiteY19" fmla="*/ 327369 h 363034"/>
                <a:gd name="connsiteX20" fmla="*/ 143636 w 350173"/>
                <a:gd name="connsiteY20" fmla="*/ 329747 h 363034"/>
                <a:gd name="connsiteX21" fmla="*/ 180383 w 350173"/>
                <a:gd name="connsiteY21" fmla="*/ 338069 h 363034"/>
                <a:gd name="connsiteX22" fmla="*/ 179194 w 350173"/>
                <a:gd name="connsiteY22" fmla="*/ 352335 h 363034"/>
                <a:gd name="connsiteX23" fmla="*/ 202971 w 350173"/>
                <a:gd name="connsiteY23" fmla="*/ 363035 h 363034"/>
                <a:gd name="connsiteX24" fmla="*/ 219615 w 350173"/>
                <a:gd name="connsiteY24" fmla="*/ 348769 h 363034"/>
                <a:gd name="connsiteX25" fmla="*/ 237448 w 350173"/>
                <a:gd name="connsiteY25" fmla="*/ 330936 h 363034"/>
                <a:gd name="connsiteX26" fmla="*/ 251714 w 350173"/>
                <a:gd name="connsiteY26" fmla="*/ 313211 h 363034"/>
                <a:gd name="connsiteX27" fmla="*/ 257659 w 350173"/>
                <a:gd name="connsiteY27" fmla="*/ 283489 h 363034"/>
                <a:gd name="connsiteX28" fmla="*/ 268358 w 350173"/>
                <a:gd name="connsiteY28" fmla="*/ 255065 h 363034"/>
                <a:gd name="connsiteX29" fmla="*/ 281436 w 350173"/>
                <a:gd name="connsiteY29" fmla="*/ 229018 h 363034"/>
                <a:gd name="connsiteX30" fmla="*/ 307483 w 350173"/>
                <a:gd name="connsiteY30" fmla="*/ 212374 h 363034"/>
                <a:gd name="connsiteX31" fmla="*/ 333530 w 350173"/>
                <a:gd name="connsiteY31" fmla="*/ 204052 h 363034"/>
                <a:gd name="connsiteX32" fmla="*/ 350174 w 350173"/>
                <a:gd name="connsiteY32" fmla="*/ 196919 h 363034"/>
                <a:gd name="connsiteX33" fmla="*/ 329963 w 350173"/>
                <a:gd name="connsiteY33" fmla="*/ 183841 h 363034"/>
                <a:gd name="connsiteX34" fmla="*/ 331152 w 350173"/>
                <a:gd name="connsiteY34" fmla="*/ 148283 h 363034"/>
                <a:gd name="connsiteX35" fmla="*/ 248148 w 350173"/>
                <a:gd name="connsiteY35" fmla="*/ 150661 h 363034"/>
                <a:gd name="connsiteX36" fmla="*/ 248148 w 350173"/>
                <a:gd name="connsiteY36" fmla="*/ 141150 h 363034"/>
                <a:gd name="connsiteX37" fmla="*/ 276680 w 350173"/>
                <a:gd name="connsiteY37" fmla="*/ 116292 h 363034"/>
                <a:gd name="connsiteX38" fmla="*/ 286191 w 350173"/>
                <a:gd name="connsiteY38" fmla="*/ 92623 h 363034"/>
                <a:gd name="connsiteX39" fmla="*/ 286191 w 350173"/>
                <a:gd name="connsiteY39" fmla="*/ 66576 h 363034"/>
                <a:gd name="connsiteX40" fmla="*/ 286191 w 350173"/>
                <a:gd name="connsiteY40" fmla="*/ 65387 h 363034"/>
                <a:gd name="connsiteX41" fmla="*/ 276680 w 350173"/>
                <a:gd name="connsiteY41" fmla="*/ 48743 h 363034"/>
                <a:gd name="connsiteX42" fmla="*/ 265981 w 350173"/>
                <a:gd name="connsiteY42" fmla="*/ 30910 h 363034"/>
                <a:gd name="connsiteX43" fmla="*/ 263603 w 350173"/>
                <a:gd name="connsiteY43" fmla="*/ 19022 h 363034"/>
                <a:gd name="connsiteX44" fmla="*/ 244581 w 350173"/>
                <a:gd name="connsiteY44" fmla="*/ 17833 h 363034"/>
                <a:gd name="connsiteX45" fmla="*/ 238637 w 350173"/>
                <a:gd name="connsiteY45" fmla="*/ 11889 h 363034"/>
                <a:gd name="connsiteX46" fmla="*/ 193568 w 350173"/>
                <a:gd name="connsiteY46" fmla="*/ 10700 h 363034"/>
                <a:gd name="connsiteX47" fmla="*/ 136611 w 350173"/>
                <a:gd name="connsiteY47" fmla="*/ 3566 h 363034"/>
                <a:gd name="connsiteX48" fmla="*/ 116400 w 350173"/>
                <a:gd name="connsiteY48" fmla="*/ 0 h 363034"/>
                <a:gd name="connsiteX49" fmla="*/ 106889 w 350173"/>
                <a:gd name="connsiteY49" fmla="*/ 1189 h 363034"/>
                <a:gd name="connsiteX50" fmla="*/ 108078 w 350173"/>
                <a:gd name="connsiteY50" fmla="*/ 17833 h 363034"/>
                <a:gd name="connsiteX51" fmla="*/ 108078 w 350173"/>
                <a:gd name="connsiteY51" fmla="*/ 43880 h 363034"/>
                <a:gd name="connsiteX52" fmla="*/ 122345 w 350173"/>
                <a:gd name="connsiteY52" fmla="*/ 53391 h 363034"/>
                <a:gd name="connsiteX53" fmla="*/ 134233 w 350173"/>
                <a:gd name="connsiteY53" fmla="*/ 77060 h 363034"/>
                <a:gd name="connsiteX54" fmla="*/ 115211 w 350173"/>
                <a:gd name="connsiteY54" fmla="*/ 85382 h 363034"/>
                <a:gd name="connsiteX55" fmla="*/ 102134 w 350173"/>
                <a:gd name="connsiteY55" fmla="*/ 94893 h 363034"/>
                <a:gd name="connsiteX56" fmla="*/ 84301 w 350173"/>
                <a:gd name="connsiteY56" fmla="*/ 123317 h 363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350173" h="363034" extrusionOk="0">
                  <a:moveTo>
                    <a:pt x="84301" y="123317"/>
                  </a:moveTo>
                  <a:lnTo>
                    <a:pt x="67657" y="116184"/>
                  </a:lnTo>
                  <a:lnTo>
                    <a:pt x="54580" y="91326"/>
                  </a:lnTo>
                  <a:lnTo>
                    <a:pt x="26155" y="90137"/>
                  </a:lnTo>
                  <a:lnTo>
                    <a:pt x="10700" y="94893"/>
                  </a:lnTo>
                  <a:lnTo>
                    <a:pt x="0" y="122128"/>
                  </a:lnTo>
                  <a:lnTo>
                    <a:pt x="34369" y="160064"/>
                  </a:lnTo>
                  <a:lnTo>
                    <a:pt x="68738" y="170764"/>
                  </a:lnTo>
                  <a:lnTo>
                    <a:pt x="85382" y="180275"/>
                  </a:lnTo>
                  <a:lnTo>
                    <a:pt x="105593" y="170764"/>
                  </a:lnTo>
                  <a:lnTo>
                    <a:pt x="118670" y="155308"/>
                  </a:lnTo>
                  <a:lnTo>
                    <a:pt x="134125" y="139853"/>
                  </a:lnTo>
                  <a:lnTo>
                    <a:pt x="144825" y="133909"/>
                  </a:lnTo>
                  <a:lnTo>
                    <a:pt x="149580" y="150553"/>
                  </a:lnTo>
                  <a:lnTo>
                    <a:pt x="125911" y="175411"/>
                  </a:lnTo>
                  <a:lnTo>
                    <a:pt x="125911" y="198000"/>
                  </a:lnTo>
                  <a:lnTo>
                    <a:pt x="111645" y="211077"/>
                  </a:lnTo>
                  <a:lnTo>
                    <a:pt x="114023" y="249012"/>
                  </a:lnTo>
                  <a:lnTo>
                    <a:pt x="92623" y="307158"/>
                  </a:lnTo>
                  <a:lnTo>
                    <a:pt x="99756" y="327369"/>
                  </a:lnTo>
                  <a:lnTo>
                    <a:pt x="143636" y="329747"/>
                  </a:lnTo>
                  <a:lnTo>
                    <a:pt x="180383" y="338069"/>
                  </a:lnTo>
                  <a:lnTo>
                    <a:pt x="179194" y="352335"/>
                  </a:lnTo>
                  <a:lnTo>
                    <a:pt x="202971" y="363035"/>
                  </a:lnTo>
                  <a:lnTo>
                    <a:pt x="219615" y="348769"/>
                  </a:lnTo>
                  <a:lnTo>
                    <a:pt x="237448" y="330936"/>
                  </a:lnTo>
                  <a:lnTo>
                    <a:pt x="251714" y="313211"/>
                  </a:lnTo>
                  <a:lnTo>
                    <a:pt x="257659" y="283489"/>
                  </a:lnTo>
                  <a:lnTo>
                    <a:pt x="268358" y="255065"/>
                  </a:lnTo>
                  <a:lnTo>
                    <a:pt x="281436" y="229018"/>
                  </a:lnTo>
                  <a:lnTo>
                    <a:pt x="307483" y="212374"/>
                  </a:lnTo>
                  <a:lnTo>
                    <a:pt x="333530" y="204052"/>
                  </a:lnTo>
                  <a:lnTo>
                    <a:pt x="350174" y="196919"/>
                  </a:lnTo>
                  <a:lnTo>
                    <a:pt x="329963" y="183841"/>
                  </a:lnTo>
                  <a:lnTo>
                    <a:pt x="331152" y="148283"/>
                  </a:lnTo>
                  <a:lnTo>
                    <a:pt x="248148" y="150661"/>
                  </a:lnTo>
                  <a:lnTo>
                    <a:pt x="248148" y="141150"/>
                  </a:lnTo>
                  <a:lnTo>
                    <a:pt x="276680" y="116292"/>
                  </a:lnTo>
                  <a:lnTo>
                    <a:pt x="286191" y="92623"/>
                  </a:lnTo>
                  <a:lnTo>
                    <a:pt x="286191" y="66576"/>
                  </a:lnTo>
                  <a:lnTo>
                    <a:pt x="286191" y="65387"/>
                  </a:lnTo>
                  <a:lnTo>
                    <a:pt x="276680" y="48743"/>
                  </a:lnTo>
                  <a:lnTo>
                    <a:pt x="265981" y="30910"/>
                  </a:lnTo>
                  <a:lnTo>
                    <a:pt x="263603" y="19022"/>
                  </a:lnTo>
                  <a:lnTo>
                    <a:pt x="244581" y="17833"/>
                  </a:lnTo>
                  <a:lnTo>
                    <a:pt x="238637" y="11889"/>
                  </a:lnTo>
                  <a:lnTo>
                    <a:pt x="193568" y="10700"/>
                  </a:lnTo>
                  <a:lnTo>
                    <a:pt x="136611" y="3566"/>
                  </a:lnTo>
                  <a:lnTo>
                    <a:pt x="116400" y="0"/>
                  </a:lnTo>
                  <a:lnTo>
                    <a:pt x="106889" y="1189"/>
                  </a:lnTo>
                  <a:lnTo>
                    <a:pt x="108078" y="17833"/>
                  </a:lnTo>
                  <a:lnTo>
                    <a:pt x="108078" y="43880"/>
                  </a:lnTo>
                  <a:lnTo>
                    <a:pt x="122345" y="53391"/>
                  </a:lnTo>
                  <a:lnTo>
                    <a:pt x="134233" y="77060"/>
                  </a:lnTo>
                  <a:lnTo>
                    <a:pt x="115211" y="85382"/>
                  </a:lnTo>
                  <a:lnTo>
                    <a:pt x="102134" y="94893"/>
                  </a:lnTo>
                  <a:lnTo>
                    <a:pt x="84301" y="123317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5" name="Полилиния: фигура 185"/>
            <p:cNvSpPr/>
            <p:nvPr/>
          </p:nvSpPr>
          <p:spPr bwMode="auto">
            <a:xfrm>
              <a:off x="3531919" y="4418491"/>
              <a:ext cx="176816" cy="259928"/>
            </a:xfrm>
            <a:custGeom>
              <a:avLst/>
              <a:gdLst>
                <a:gd name="connsiteX0" fmla="*/ 141150 w 176816"/>
                <a:gd name="connsiteY0" fmla="*/ 0 h 259928"/>
                <a:gd name="connsiteX1" fmla="*/ 142339 w 176816"/>
                <a:gd name="connsiteY1" fmla="*/ 31991 h 259928"/>
                <a:gd name="connsiteX2" fmla="*/ 148283 w 176816"/>
                <a:gd name="connsiteY2" fmla="*/ 39124 h 259928"/>
                <a:gd name="connsiteX3" fmla="*/ 148283 w 176816"/>
                <a:gd name="connsiteY3" fmla="*/ 42691 h 259928"/>
                <a:gd name="connsiteX4" fmla="*/ 151850 w 176816"/>
                <a:gd name="connsiteY4" fmla="*/ 77060 h 259928"/>
                <a:gd name="connsiteX5" fmla="*/ 158983 w 176816"/>
                <a:gd name="connsiteY5" fmla="*/ 85382 h 259928"/>
                <a:gd name="connsiteX6" fmla="*/ 161361 w 176816"/>
                <a:gd name="connsiteY6" fmla="*/ 107970 h 259928"/>
                <a:gd name="connsiteX7" fmla="*/ 168494 w 176816"/>
                <a:gd name="connsiteY7" fmla="*/ 123426 h 259928"/>
                <a:gd name="connsiteX8" fmla="*/ 168494 w 176816"/>
                <a:gd name="connsiteY8" fmla="*/ 151850 h 259928"/>
                <a:gd name="connsiteX9" fmla="*/ 161361 w 176816"/>
                <a:gd name="connsiteY9" fmla="*/ 163739 h 259928"/>
                <a:gd name="connsiteX10" fmla="*/ 150661 w 176816"/>
                <a:gd name="connsiteY10" fmla="*/ 178005 h 259928"/>
                <a:gd name="connsiteX11" fmla="*/ 149472 w 176816"/>
                <a:gd name="connsiteY11" fmla="*/ 191083 h 259928"/>
                <a:gd name="connsiteX12" fmla="*/ 161361 w 176816"/>
                <a:gd name="connsiteY12" fmla="*/ 200593 h 259928"/>
                <a:gd name="connsiteX13" fmla="*/ 176816 w 176816"/>
                <a:gd name="connsiteY13" fmla="*/ 206538 h 259928"/>
                <a:gd name="connsiteX14" fmla="*/ 123425 w 176816"/>
                <a:gd name="connsiteY14" fmla="*/ 259929 h 259928"/>
                <a:gd name="connsiteX15" fmla="*/ 117481 w 176816"/>
                <a:gd name="connsiteY15" fmla="*/ 253984 h 259928"/>
                <a:gd name="connsiteX16" fmla="*/ 77168 w 176816"/>
                <a:gd name="connsiteY16" fmla="*/ 229126 h 259928"/>
                <a:gd name="connsiteX17" fmla="*/ 56957 w 176816"/>
                <a:gd name="connsiteY17" fmla="*/ 252795 h 259928"/>
                <a:gd name="connsiteX18" fmla="*/ 8322 w 176816"/>
                <a:gd name="connsiteY18" fmla="*/ 257551 h 259928"/>
                <a:gd name="connsiteX19" fmla="*/ 5944 w 176816"/>
                <a:gd name="connsiteY19" fmla="*/ 253984 h 259928"/>
                <a:gd name="connsiteX20" fmla="*/ 13078 w 176816"/>
                <a:gd name="connsiteY20" fmla="*/ 244473 h 259928"/>
                <a:gd name="connsiteX21" fmla="*/ 3567 w 176816"/>
                <a:gd name="connsiteY21" fmla="*/ 229018 h 259928"/>
                <a:gd name="connsiteX22" fmla="*/ 0 w 176816"/>
                <a:gd name="connsiteY22" fmla="*/ 178005 h 259928"/>
                <a:gd name="connsiteX23" fmla="*/ 13078 w 176816"/>
                <a:gd name="connsiteY23" fmla="*/ 170872 h 259928"/>
                <a:gd name="connsiteX24" fmla="*/ 13078 w 176816"/>
                <a:gd name="connsiteY24" fmla="*/ 107970 h 259928"/>
                <a:gd name="connsiteX25" fmla="*/ 21399 w 176816"/>
                <a:gd name="connsiteY25" fmla="*/ 88949 h 259928"/>
                <a:gd name="connsiteX26" fmla="*/ 40313 w 176816"/>
                <a:gd name="connsiteY26" fmla="*/ 87760 h 259928"/>
                <a:gd name="connsiteX27" fmla="*/ 41502 w 176816"/>
                <a:gd name="connsiteY27" fmla="*/ 21400 h 259928"/>
                <a:gd name="connsiteX28" fmla="*/ 60524 w 176816"/>
                <a:gd name="connsiteY28" fmla="*/ 15455 h 259928"/>
                <a:gd name="connsiteX29" fmla="*/ 77168 w 176816"/>
                <a:gd name="connsiteY29" fmla="*/ 3567 h 259928"/>
                <a:gd name="connsiteX30" fmla="*/ 141150 w 176816"/>
                <a:gd name="connsiteY30" fmla="*/ 0 h 25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6816" h="259928" extrusionOk="0">
                  <a:moveTo>
                    <a:pt x="141150" y="0"/>
                  </a:moveTo>
                  <a:lnTo>
                    <a:pt x="142339" y="31991"/>
                  </a:lnTo>
                  <a:lnTo>
                    <a:pt x="148283" y="39124"/>
                  </a:lnTo>
                  <a:lnTo>
                    <a:pt x="148283" y="42691"/>
                  </a:lnTo>
                  <a:lnTo>
                    <a:pt x="151850" y="77060"/>
                  </a:lnTo>
                  <a:lnTo>
                    <a:pt x="158983" y="85382"/>
                  </a:lnTo>
                  <a:lnTo>
                    <a:pt x="161361" y="107970"/>
                  </a:lnTo>
                  <a:lnTo>
                    <a:pt x="168494" y="123426"/>
                  </a:lnTo>
                  <a:lnTo>
                    <a:pt x="168494" y="151850"/>
                  </a:lnTo>
                  <a:lnTo>
                    <a:pt x="161361" y="163739"/>
                  </a:lnTo>
                  <a:lnTo>
                    <a:pt x="150661" y="178005"/>
                  </a:lnTo>
                  <a:lnTo>
                    <a:pt x="149472" y="191083"/>
                  </a:lnTo>
                  <a:lnTo>
                    <a:pt x="161361" y="200593"/>
                  </a:lnTo>
                  <a:lnTo>
                    <a:pt x="176816" y="206538"/>
                  </a:lnTo>
                  <a:lnTo>
                    <a:pt x="123425" y="259929"/>
                  </a:lnTo>
                  <a:lnTo>
                    <a:pt x="117481" y="253984"/>
                  </a:lnTo>
                  <a:lnTo>
                    <a:pt x="77168" y="229126"/>
                  </a:lnTo>
                  <a:lnTo>
                    <a:pt x="56957" y="252795"/>
                  </a:lnTo>
                  <a:lnTo>
                    <a:pt x="8322" y="257551"/>
                  </a:lnTo>
                  <a:lnTo>
                    <a:pt x="5944" y="253984"/>
                  </a:lnTo>
                  <a:lnTo>
                    <a:pt x="13078" y="244473"/>
                  </a:lnTo>
                  <a:lnTo>
                    <a:pt x="3567" y="229018"/>
                  </a:lnTo>
                  <a:lnTo>
                    <a:pt x="0" y="178005"/>
                  </a:lnTo>
                  <a:lnTo>
                    <a:pt x="13078" y="170872"/>
                  </a:lnTo>
                  <a:lnTo>
                    <a:pt x="13078" y="107970"/>
                  </a:lnTo>
                  <a:lnTo>
                    <a:pt x="21399" y="88949"/>
                  </a:lnTo>
                  <a:lnTo>
                    <a:pt x="40313" y="87760"/>
                  </a:lnTo>
                  <a:lnTo>
                    <a:pt x="41502" y="21400"/>
                  </a:lnTo>
                  <a:lnTo>
                    <a:pt x="60524" y="15455"/>
                  </a:lnTo>
                  <a:lnTo>
                    <a:pt x="77168" y="3567"/>
                  </a:lnTo>
                  <a:lnTo>
                    <a:pt x="141150" y="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6" name="Полилиния: фигура 186"/>
            <p:cNvSpPr/>
            <p:nvPr/>
          </p:nvSpPr>
          <p:spPr bwMode="auto">
            <a:xfrm>
              <a:off x="3569745" y="4075667"/>
              <a:ext cx="402267" cy="574652"/>
            </a:xfrm>
            <a:custGeom>
              <a:avLst/>
              <a:gdLst>
                <a:gd name="connsiteX0" fmla="*/ 402267 w 402267"/>
                <a:gd name="connsiteY0" fmla="*/ 0 h 574652"/>
                <a:gd name="connsiteX1" fmla="*/ 401079 w 402267"/>
                <a:gd name="connsiteY1" fmla="*/ 114995 h 574652"/>
                <a:gd name="connsiteX2" fmla="*/ 402267 w 402267"/>
                <a:gd name="connsiteY2" fmla="*/ 139962 h 574652"/>
                <a:gd name="connsiteX3" fmla="*/ 386812 w 402267"/>
                <a:gd name="connsiteY3" fmla="*/ 164819 h 574652"/>
                <a:gd name="connsiteX4" fmla="*/ 388001 w 402267"/>
                <a:gd name="connsiteY4" fmla="*/ 170764 h 574652"/>
                <a:gd name="connsiteX5" fmla="*/ 368979 w 402267"/>
                <a:gd name="connsiteY5" fmla="*/ 195730 h 574652"/>
                <a:gd name="connsiteX6" fmla="*/ 342932 w 402267"/>
                <a:gd name="connsiteY6" fmla="*/ 218210 h 574652"/>
                <a:gd name="connsiteX7" fmla="*/ 342932 w 402267"/>
                <a:gd name="connsiteY7" fmla="*/ 234854 h 574652"/>
                <a:gd name="connsiteX8" fmla="*/ 351254 w 402267"/>
                <a:gd name="connsiteY8" fmla="*/ 243176 h 574652"/>
                <a:gd name="connsiteX9" fmla="*/ 371465 w 402267"/>
                <a:gd name="connsiteY9" fmla="*/ 262090 h 574652"/>
                <a:gd name="connsiteX10" fmla="*/ 371465 w 402267"/>
                <a:gd name="connsiteY10" fmla="*/ 310725 h 574652"/>
                <a:gd name="connsiteX11" fmla="*/ 394054 w 402267"/>
                <a:gd name="connsiteY11" fmla="*/ 323803 h 574652"/>
                <a:gd name="connsiteX12" fmla="*/ 398809 w 402267"/>
                <a:gd name="connsiteY12" fmla="*/ 336880 h 574652"/>
                <a:gd name="connsiteX13" fmla="*/ 399998 w 402267"/>
                <a:gd name="connsiteY13" fmla="*/ 354713 h 574652"/>
                <a:gd name="connsiteX14" fmla="*/ 379787 w 402267"/>
                <a:gd name="connsiteY14" fmla="*/ 370168 h 574652"/>
                <a:gd name="connsiteX15" fmla="*/ 356010 w 402267"/>
                <a:gd name="connsiteY15" fmla="*/ 385624 h 574652"/>
                <a:gd name="connsiteX16" fmla="*/ 352443 w 402267"/>
                <a:gd name="connsiteY16" fmla="*/ 397512 h 574652"/>
                <a:gd name="connsiteX17" fmla="*/ 360765 w 402267"/>
                <a:gd name="connsiteY17" fmla="*/ 409401 h 574652"/>
                <a:gd name="connsiteX18" fmla="*/ 369087 w 402267"/>
                <a:gd name="connsiteY18" fmla="*/ 429611 h 574652"/>
                <a:gd name="connsiteX19" fmla="*/ 364332 w 402267"/>
                <a:gd name="connsiteY19" fmla="*/ 431989 h 574652"/>
                <a:gd name="connsiteX20" fmla="*/ 337096 w 402267"/>
                <a:gd name="connsiteY20" fmla="*/ 431989 h 574652"/>
                <a:gd name="connsiteX21" fmla="*/ 321641 w 402267"/>
                <a:gd name="connsiteY21" fmla="*/ 447444 h 574652"/>
                <a:gd name="connsiteX22" fmla="*/ 326396 w 402267"/>
                <a:gd name="connsiteY22" fmla="*/ 470033 h 574652"/>
                <a:gd name="connsiteX23" fmla="*/ 321641 w 402267"/>
                <a:gd name="connsiteY23" fmla="*/ 483110 h 574652"/>
                <a:gd name="connsiteX24" fmla="*/ 304997 w 402267"/>
                <a:gd name="connsiteY24" fmla="*/ 496187 h 574652"/>
                <a:gd name="connsiteX25" fmla="*/ 289542 w 402267"/>
                <a:gd name="connsiteY25" fmla="*/ 509265 h 574652"/>
                <a:gd name="connsiteX26" fmla="*/ 278842 w 402267"/>
                <a:gd name="connsiteY26" fmla="*/ 516398 h 574652"/>
                <a:gd name="connsiteX27" fmla="*/ 278842 w 402267"/>
                <a:gd name="connsiteY27" fmla="*/ 531854 h 574652"/>
                <a:gd name="connsiteX28" fmla="*/ 294297 w 402267"/>
                <a:gd name="connsiteY28" fmla="*/ 544931 h 574652"/>
                <a:gd name="connsiteX29" fmla="*/ 297864 w 402267"/>
                <a:gd name="connsiteY29" fmla="*/ 555631 h 574652"/>
                <a:gd name="connsiteX30" fmla="*/ 251606 w 402267"/>
                <a:gd name="connsiteY30" fmla="*/ 573463 h 574652"/>
                <a:gd name="connsiteX31" fmla="*/ 217237 w 402267"/>
                <a:gd name="connsiteY31" fmla="*/ 574652 h 574652"/>
                <a:gd name="connsiteX32" fmla="*/ 186435 w 402267"/>
                <a:gd name="connsiteY32" fmla="*/ 566331 h 574652"/>
                <a:gd name="connsiteX33" fmla="*/ 172169 w 402267"/>
                <a:gd name="connsiteY33" fmla="*/ 565142 h 574652"/>
                <a:gd name="connsiteX34" fmla="*/ 162658 w 402267"/>
                <a:gd name="connsiteY34" fmla="*/ 552064 h 574652"/>
                <a:gd name="connsiteX35" fmla="*/ 137800 w 402267"/>
                <a:gd name="connsiteY35" fmla="*/ 550875 h 574652"/>
                <a:gd name="connsiteX36" fmla="*/ 123534 w 402267"/>
                <a:gd name="connsiteY36" fmla="*/ 543742 h 574652"/>
                <a:gd name="connsiteX37" fmla="*/ 112834 w 402267"/>
                <a:gd name="connsiteY37" fmla="*/ 536609 h 574652"/>
                <a:gd name="connsiteX38" fmla="*/ 112834 w 402267"/>
                <a:gd name="connsiteY38" fmla="*/ 518776 h 574652"/>
                <a:gd name="connsiteX39" fmla="*/ 131747 w 402267"/>
                <a:gd name="connsiteY39" fmla="*/ 494999 h 574652"/>
                <a:gd name="connsiteX40" fmla="*/ 130559 w 402267"/>
                <a:gd name="connsiteY40" fmla="*/ 465385 h 574652"/>
                <a:gd name="connsiteX41" fmla="*/ 124614 w 402267"/>
                <a:gd name="connsiteY41" fmla="*/ 452308 h 574652"/>
                <a:gd name="connsiteX42" fmla="*/ 119859 w 402267"/>
                <a:gd name="connsiteY42" fmla="*/ 428639 h 574652"/>
                <a:gd name="connsiteX43" fmla="*/ 112726 w 402267"/>
                <a:gd name="connsiteY43" fmla="*/ 419128 h 574652"/>
                <a:gd name="connsiteX44" fmla="*/ 109159 w 402267"/>
                <a:gd name="connsiteY44" fmla="*/ 381192 h 574652"/>
                <a:gd name="connsiteX45" fmla="*/ 105593 w 402267"/>
                <a:gd name="connsiteY45" fmla="*/ 374059 h 574652"/>
                <a:gd name="connsiteX46" fmla="*/ 103215 w 402267"/>
                <a:gd name="connsiteY46" fmla="*/ 289866 h 574652"/>
                <a:gd name="connsiteX47" fmla="*/ 86571 w 402267"/>
                <a:gd name="connsiteY47" fmla="*/ 273222 h 574652"/>
                <a:gd name="connsiteX48" fmla="*/ 85382 w 402267"/>
                <a:gd name="connsiteY48" fmla="*/ 245986 h 574652"/>
                <a:gd name="connsiteX49" fmla="*/ 97270 w 402267"/>
                <a:gd name="connsiteY49" fmla="*/ 228153 h 574652"/>
                <a:gd name="connsiteX50" fmla="*/ 107970 w 402267"/>
                <a:gd name="connsiteY50" fmla="*/ 180707 h 574652"/>
                <a:gd name="connsiteX51" fmla="*/ 81923 w 402267"/>
                <a:gd name="connsiteY51" fmla="*/ 177140 h 574652"/>
                <a:gd name="connsiteX52" fmla="*/ 75979 w 402267"/>
                <a:gd name="connsiteY52" fmla="*/ 165252 h 574652"/>
                <a:gd name="connsiteX53" fmla="*/ 58146 w 402267"/>
                <a:gd name="connsiteY53" fmla="*/ 166441 h 574652"/>
                <a:gd name="connsiteX54" fmla="*/ 36747 w 402267"/>
                <a:gd name="connsiteY54" fmla="*/ 152174 h 574652"/>
                <a:gd name="connsiteX55" fmla="*/ 18914 w 402267"/>
                <a:gd name="connsiteY55" fmla="*/ 146230 h 574652"/>
                <a:gd name="connsiteX56" fmla="*/ 0 w 402267"/>
                <a:gd name="connsiteY56" fmla="*/ 113050 h 574652"/>
                <a:gd name="connsiteX57" fmla="*/ 31991 w 402267"/>
                <a:gd name="connsiteY57" fmla="*/ 85814 h 574652"/>
                <a:gd name="connsiteX58" fmla="*/ 59227 w 402267"/>
                <a:gd name="connsiteY58" fmla="*/ 78681 h 574652"/>
                <a:gd name="connsiteX59" fmla="*/ 87651 w 402267"/>
                <a:gd name="connsiteY59" fmla="*/ 102350 h 574652"/>
                <a:gd name="connsiteX60" fmla="*/ 111429 w 402267"/>
                <a:gd name="connsiteY60" fmla="*/ 85706 h 574652"/>
                <a:gd name="connsiteX61" fmla="*/ 186111 w 402267"/>
                <a:gd name="connsiteY61" fmla="*/ 82140 h 574652"/>
                <a:gd name="connsiteX62" fmla="*/ 218102 w 402267"/>
                <a:gd name="connsiteY62" fmla="*/ 54904 h 574652"/>
                <a:gd name="connsiteX63" fmla="*/ 257226 w 402267"/>
                <a:gd name="connsiteY63" fmla="*/ 34693 h 574652"/>
                <a:gd name="connsiteX64" fmla="*/ 283273 w 402267"/>
                <a:gd name="connsiteY64" fmla="*/ 51337 h 574652"/>
                <a:gd name="connsiteX65" fmla="*/ 324775 w 402267"/>
                <a:gd name="connsiteY65" fmla="*/ 50148 h 574652"/>
                <a:gd name="connsiteX66" fmla="*/ 402267 w 402267"/>
                <a:gd name="connsiteY66" fmla="*/ 0 h 57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402267" h="574652" extrusionOk="0">
                  <a:moveTo>
                    <a:pt x="402267" y="0"/>
                  </a:moveTo>
                  <a:lnTo>
                    <a:pt x="401079" y="114995"/>
                  </a:lnTo>
                  <a:lnTo>
                    <a:pt x="402267" y="139962"/>
                  </a:lnTo>
                  <a:lnTo>
                    <a:pt x="386812" y="164819"/>
                  </a:lnTo>
                  <a:lnTo>
                    <a:pt x="388001" y="170764"/>
                  </a:lnTo>
                  <a:lnTo>
                    <a:pt x="368979" y="195730"/>
                  </a:lnTo>
                  <a:lnTo>
                    <a:pt x="342932" y="218210"/>
                  </a:lnTo>
                  <a:lnTo>
                    <a:pt x="342932" y="234854"/>
                  </a:lnTo>
                  <a:lnTo>
                    <a:pt x="351254" y="243176"/>
                  </a:lnTo>
                  <a:lnTo>
                    <a:pt x="371465" y="262090"/>
                  </a:lnTo>
                  <a:lnTo>
                    <a:pt x="371465" y="310725"/>
                  </a:lnTo>
                  <a:lnTo>
                    <a:pt x="394054" y="323803"/>
                  </a:lnTo>
                  <a:lnTo>
                    <a:pt x="398809" y="336880"/>
                  </a:lnTo>
                  <a:lnTo>
                    <a:pt x="399998" y="354713"/>
                  </a:lnTo>
                  <a:lnTo>
                    <a:pt x="379787" y="370168"/>
                  </a:lnTo>
                  <a:lnTo>
                    <a:pt x="356010" y="385624"/>
                  </a:lnTo>
                  <a:lnTo>
                    <a:pt x="352443" y="397512"/>
                  </a:lnTo>
                  <a:lnTo>
                    <a:pt x="360765" y="409401"/>
                  </a:lnTo>
                  <a:lnTo>
                    <a:pt x="369087" y="429611"/>
                  </a:lnTo>
                  <a:lnTo>
                    <a:pt x="364332" y="431989"/>
                  </a:lnTo>
                  <a:lnTo>
                    <a:pt x="337096" y="431989"/>
                  </a:lnTo>
                  <a:lnTo>
                    <a:pt x="321641" y="447444"/>
                  </a:lnTo>
                  <a:lnTo>
                    <a:pt x="326396" y="470033"/>
                  </a:lnTo>
                  <a:lnTo>
                    <a:pt x="321641" y="483110"/>
                  </a:lnTo>
                  <a:lnTo>
                    <a:pt x="304997" y="496187"/>
                  </a:lnTo>
                  <a:lnTo>
                    <a:pt x="289542" y="509265"/>
                  </a:lnTo>
                  <a:lnTo>
                    <a:pt x="278842" y="516398"/>
                  </a:lnTo>
                  <a:lnTo>
                    <a:pt x="278842" y="531854"/>
                  </a:lnTo>
                  <a:lnTo>
                    <a:pt x="294297" y="544931"/>
                  </a:lnTo>
                  <a:lnTo>
                    <a:pt x="297864" y="555631"/>
                  </a:lnTo>
                  <a:lnTo>
                    <a:pt x="251606" y="573463"/>
                  </a:lnTo>
                  <a:lnTo>
                    <a:pt x="217237" y="574652"/>
                  </a:lnTo>
                  <a:lnTo>
                    <a:pt x="186435" y="566331"/>
                  </a:lnTo>
                  <a:lnTo>
                    <a:pt x="172169" y="565142"/>
                  </a:lnTo>
                  <a:lnTo>
                    <a:pt x="162658" y="552064"/>
                  </a:lnTo>
                  <a:lnTo>
                    <a:pt x="137800" y="550875"/>
                  </a:lnTo>
                  <a:lnTo>
                    <a:pt x="123534" y="543742"/>
                  </a:lnTo>
                  <a:lnTo>
                    <a:pt x="112834" y="536609"/>
                  </a:lnTo>
                  <a:lnTo>
                    <a:pt x="112834" y="518776"/>
                  </a:lnTo>
                  <a:lnTo>
                    <a:pt x="131747" y="494999"/>
                  </a:lnTo>
                  <a:lnTo>
                    <a:pt x="130559" y="465385"/>
                  </a:lnTo>
                  <a:lnTo>
                    <a:pt x="124614" y="452308"/>
                  </a:lnTo>
                  <a:lnTo>
                    <a:pt x="119859" y="428639"/>
                  </a:lnTo>
                  <a:lnTo>
                    <a:pt x="112726" y="419128"/>
                  </a:lnTo>
                  <a:lnTo>
                    <a:pt x="109159" y="381192"/>
                  </a:lnTo>
                  <a:lnTo>
                    <a:pt x="105593" y="374059"/>
                  </a:lnTo>
                  <a:lnTo>
                    <a:pt x="103215" y="289866"/>
                  </a:lnTo>
                  <a:lnTo>
                    <a:pt x="86571" y="273222"/>
                  </a:lnTo>
                  <a:lnTo>
                    <a:pt x="85382" y="245986"/>
                  </a:lnTo>
                  <a:lnTo>
                    <a:pt x="97270" y="228153"/>
                  </a:lnTo>
                  <a:lnTo>
                    <a:pt x="107970" y="180707"/>
                  </a:lnTo>
                  <a:lnTo>
                    <a:pt x="81923" y="177140"/>
                  </a:lnTo>
                  <a:lnTo>
                    <a:pt x="75979" y="165252"/>
                  </a:lnTo>
                  <a:lnTo>
                    <a:pt x="58146" y="166441"/>
                  </a:lnTo>
                  <a:lnTo>
                    <a:pt x="36747" y="152174"/>
                  </a:lnTo>
                  <a:lnTo>
                    <a:pt x="18914" y="146230"/>
                  </a:lnTo>
                  <a:lnTo>
                    <a:pt x="0" y="113050"/>
                  </a:lnTo>
                  <a:lnTo>
                    <a:pt x="31991" y="85814"/>
                  </a:lnTo>
                  <a:lnTo>
                    <a:pt x="59227" y="78681"/>
                  </a:lnTo>
                  <a:lnTo>
                    <a:pt x="87651" y="102350"/>
                  </a:lnTo>
                  <a:lnTo>
                    <a:pt x="111429" y="85706"/>
                  </a:lnTo>
                  <a:lnTo>
                    <a:pt x="186111" y="82140"/>
                  </a:lnTo>
                  <a:lnTo>
                    <a:pt x="218102" y="54904"/>
                  </a:lnTo>
                  <a:lnTo>
                    <a:pt x="257226" y="34693"/>
                  </a:lnTo>
                  <a:lnTo>
                    <a:pt x="283273" y="51337"/>
                  </a:lnTo>
                  <a:lnTo>
                    <a:pt x="324775" y="50148"/>
                  </a:lnTo>
                  <a:lnTo>
                    <a:pt x="402267" y="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7" name="Полилиния: фигура 187"/>
            <p:cNvSpPr/>
            <p:nvPr/>
          </p:nvSpPr>
          <p:spPr bwMode="auto">
            <a:xfrm>
              <a:off x="4088198" y="4575097"/>
              <a:ext cx="382055" cy="259712"/>
            </a:xfrm>
            <a:custGeom>
              <a:avLst/>
              <a:gdLst>
                <a:gd name="connsiteX0" fmla="*/ 262198 w 382056"/>
                <a:gd name="connsiteY0" fmla="*/ 100729 h 259712"/>
                <a:gd name="connsiteX1" fmla="*/ 219507 w 382056"/>
                <a:gd name="connsiteY1" fmla="*/ 69927 h 259712"/>
                <a:gd name="connsiteX2" fmla="*/ 195730 w 382056"/>
                <a:gd name="connsiteY2" fmla="*/ 45068 h 259712"/>
                <a:gd name="connsiteX3" fmla="*/ 180275 w 382056"/>
                <a:gd name="connsiteY3" fmla="*/ 27236 h 259712"/>
                <a:gd name="connsiteX4" fmla="*/ 169575 w 382056"/>
                <a:gd name="connsiteY4" fmla="*/ 0 h 259712"/>
                <a:gd name="connsiteX5" fmla="*/ 160064 w 382056"/>
                <a:gd name="connsiteY5" fmla="*/ 11888 h 259712"/>
                <a:gd name="connsiteX6" fmla="*/ 129262 w 382056"/>
                <a:gd name="connsiteY6" fmla="*/ 37935 h 259712"/>
                <a:gd name="connsiteX7" fmla="*/ 77060 w 382056"/>
                <a:gd name="connsiteY7" fmla="*/ 40313 h 259712"/>
                <a:gd name="connsiteX8" fmla="*/ 52202 w 382056"/>
                <a:gd name="connsiteY8" fmla="*/ 46257 h 259712"/>
                <a:gd name="connsiteX9" fmla="*/ 43880 w 382056"/>
                <a:gd name="connsiteY9" fmla="*/ 45068 h 259712"/>
                <a:gd name="connsiteX10" fmla="*/ 29614 w 382056"/>
                <a:gd name="connsiteY10" fmla="*/ 59335 h 259712"/>
                <a:gd name="connsiteX11" fmla="*/ 29614 w 382056"/>
                <a:gd name="connsiteY11" fmla="*/ 90137 h 259712"/>
                <a:gd name="connsiteX12" fmla="*/ 22480 w 382056"/>
                <a:gd name="connsiteY12" fmla="*/ 97270 h 259712"/>
                <a:gd name="connsiteX13" fmla="*/ 37935 w 382056"/>
                <a:gd name="connsiteY13" fmla="*/ 125695 h 259712"/>
                <a:gd name="connsiteX14" fmla="*/ 37935 w 382056"/>
                <a:gd name="connsiteY14" fmla="*/ 156497 h 259712"/>
                <a:gd name="connsiteX15" fmla="*/ 30802 w 382056"/>
                <a:gd name="connsiteY15" fmla="*/ 177897 h 259712"/>
                <a:gd name="connsiteX16" fmla="*/ 0 w 382056"/>
                <a:gd name="connsiteY16" fmla="*/ 202755 h 259712"/>
                <a:gd name="connsiteX17" fmla="*/ 1189 w 382056"/>
                <a:gd name="connsiteY17" fmla="*/ 212266 h 259712"/>
                <a:gd name="connsiteX18" fmla="*/ 84193 w 382056"/>
                <a:gd name="connsiteY18" fmla="*/ 208699 h 259712"/>
                <a:gd name="connsiteX19" fmla="*/ 83004 w 382056"/>
                <a:gd name="connsiteY19" fmla="*/ 246634 h 259712"/>
                <a:gd name="connsiteX20" fmla="*/ 104404 w 382056"/>
                <a:gd name="connsiteY20" fmla="*/ 259712 h 259712"/>
                <a:gd name="connsiteX21" fmla="*/ 134017 w 382056"/>
                <a:gd name="connsiteY21" fmla="*/ 253768 h 259712"/>
                <a:gd name="connsiteX22" fmla="*/ 150661 w 382056"/>
                <a:gd name="connsiteY22" fmla="*/ 250201 h 259712"/>
                <a:gd name="connsiteX23" fmla="*/ 161361 w 382056"/>
                <a:gd name="connsiteY23" fmla="*/ 249012 h 259712"/>
                <a:gd name="connsiteX24" fmla="*/ 164927 w 382056"/>
                <a:gd name="connsiteY24" fmla="*/ 246634 h 259712"/>
                <a:gd name="connsiteX25" fmla="*/ 167305 w 382056"/>
                <a:gd name="connsiteY25" fmla="*/ 238313 h 259712"/>
                <a:gd name="connsiteX26" fmla="*/ 170872 w 382056"/>
                <a:gd name="connsiteY26" fmla="*/ 235935 h 259712"/>
                <a:gd name="connsiteX27" fmla="*/ 180383 w 382056"/>
                <a:gd name="connsiteY27" fmla="*/ 229991 h 259712"/>
                <a:gd name="connsiteX28" fmla="*/ 205241 w 382056"/>
                <a:gd name="connsiteY28" fmla="*/ 229991 h 259712"/>
                <a:gd name="connsiteX29" fmla="*/ 221885 w 382056"/>
                <a:gd name="connsiteY29" fmla="*/ 229991 h 259712"/>
                <a:gd name="connsiteX30" fmla="*/ 246851 w 382056"/>
                <a:gd name="connsiteY30" fmla="*/ 229991 h 259712"/>
                <a:gd name="connsiteX31" fmla="*/ 278842 w 382056"/>
                <a:gd name="connsiteY31" fmla="*/ 221668 h 259712"/>
                <a:gd name="connsiteX32" fmla="*/ 336988 w 382056"/>
                <a:gd name="connsiteY32" fmla="*/ 199080 h 259712"/>
                <a:gd name="connsiteX33" fmla="*/ 365413 w 382056"/>
                <a:gd name="connsiteY33" fmla="*/ 188380 h 259712"/>
                <a:gd name="connsiteX34" fmla="*/ 382057 w 382056"/>
                <a:gd name="connsiteY34" fmla="*/ 181247 h 259712"/>
                <a:gd name="connsiteX35" fmla="*/ 371357 w 382056"/>
                <a:gd name="connsiteY35" fmla="*/ 164603 h 259712"/>
                <a:gd name="connsiteX36" fmla="*/ 353524 w 382056"/>
                <a:gd name="connsiteY36" fmla="*/ 145689 h 259712"/>
                <a:gd name="connsiteX37" fmla="*/ 335691 w 382056"/>
                <a:gd name="connsiteY37" fmla="*/ 111321 h 259712"/>
                <a:gd name="connsiteX38" fmla="*/ 317858 w 382056"/>
                <a:gd name="connsiteY38" fmla="*/ 97054 h 259712"/>
                <a:gd name="connsiteX39" fmla="*/ 281112 w 382056"/>
                <a:gd name="connsiteY39" fmla="*/ 99432 h 259712"/>
                <a:gd name="connsiteX40" fmla="*/ 262198 w 382056"/>
                <a:gd name="connsiteY40" fmla="*/ 100729 h 259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82056" h="259712" extrusionOk="0">
                  <a:moveTo>
                    <a:pt x="262198" y="100729"/>
                  </a:moveTo>
                  <a:lnTo>
                    <a:pt x="219507" y="69927"/>
                  </a:lnTo>
                  <a:lnTo>
                    <a:pt x="195730" y="45068"/>
                  </a:lnTo>
                  <a:lnTo>
                    <a:pt x="180275" y="27236"/>
                  </a:lnTo>
                  <a:lnTo>
                    <a:pt x="169575" y="0"/>
                  </a:lnTo>
                  <a:lnTo>
                    <a:pt x="160064" y="11888"/>
                  </a:lnTo>
                  <a:lnTo>
                    <a:pt x="129262" y="37935"/>
                  </a:lnTo>
                  <a:lnTo>
                    <a:pt x="77060" y="40313"/>
                  </a:lnTo>
                  <a:lnTo>
                    <a:pt x="52202" y="46257"/>
                  </a:lnTo>
                  <a:lnTo>
                    <a:pt x="43880" y="45068"/>
                  </a:lnTo>
                  <a:lnTo>
                    <a:pt x="29614" y="59335"/>
                  </a:lnTo>
                  <a:lnTo>
                    <a:pt x="29614" y="90137"/>
                  </a:lnTo>
                  <a:lnTo>
                    <a:pt x="22480" y="97270"/>
                  </a:lnTo>
                  <a:lnTo>
                    <a:pt x="37935" y="125695"/>
                  </a:lnTo>
                  <a:lnTo>
                    <a:pt x="37935" y="156497"/>
                  </a:lnTo>
                  <a:lnTo>
                    <a:pt x="30802" y="177897"/>
                  </a:lnTo>
                  <a:lnTo>
                    <a:pt x="0" y="202755"/>
                  </a:lnTo>
                  <a:lnTo>
                    <a:pt x="1189" y="212266"/>
                  </a:lnTo>
                  <a:lnTo>
                    <a:pt x="84193" y="208699"/>
                  </a:lnTo>
                  <a:lnTo>
                    <a:pt x="83004" y="246634"/>
                  </a:lnTo>
                  <a:lnTo>
                    <a:pt x="104404" y="259712"/>
                  </a:lnTo>
                  <a:lnTo>
                    <a:pt x="134017" y="253768"/>
                  </a:lnTo>
                  <a:lnTo>
                    <a:pt x="150661" y="250201"/>
                  </a:lnTo>
                  <a:lnTo>
                    <a:pt x="161361" y="249012"/>
                  </a:lnTo>
                  <a:lnTo>
                    <a:pt x="164927" y="246634"/>
                  </a:lnTo>
                  <a:lnTo>
                    <a:pt x="167305" y="238313"/>
                  </a:lnTo>
                  <a:lnTo>
                    <a:pt x="170872" y="235935"/>
                  </a:lnTo>
                  <a:lnTo>
                    <a:pt x="180383" y="229991"/>
                  </a:lnTo>
                  <a:lnTo>
                    <a:pt x="205241" y="229991"/>
                  </a:lnTo>
                  <a:lnTo>
                    <a:pt x="221885" y="229991"/>
                  </a:lnTo>
                  <a:lnTo>
                    <a:pt x="246851" y="229991"/>
                  </a:lnTo>
                  <a:lnTo>
                    <a:pt x="278842" y="221668"/>
                  </a:lnTo>
                  <a:lnTo>
                    <a:pt x="336988" y="199080"/>
                  </a:lnTo>
                  <a:lnTo>
                    <a:pt x="365413" y="188380"/>
                  </a:lnTo>
                  <a:lnTo>
                    <a:pt x="382057" y="181247"/>
                  </a:lnTo>
                  <a:lnTo>
                    <a:pt x="371357" y="164603"/>
                  </a:lnTo>
                  <a:lnTo>
                    <a:pt x="353524" y="145689"/>
                  </a:lnTo>
                  <a:lnTo>
                    <a:pt x="335691" y="111321"/>
                  </a:lnTo>
                  <a:lnTo>
                    <a:pt x="317858" y="97054"/>
                  </a:lnTo>
                  <a:lnTo>
                    <a:pt x="281112" y="99432"/>
                  </a:lnTo>
                  <a:lnTo>
                    <a:pt x="262198" y="10072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8" name="Полилиния: фигура 188"/>
            <p:cNvSpPr/>
            <p:nvPr/>
          </p:nvSpPr>
          <p:spPr bwMode="auto">
            <a:xfrm>
              <a:off x="4545152" y="4418384"/>
              <a:ext cx="304780" cy="548280"/>
            </a:xfrm>
            <a:custGeom>
              <a:avLst/>
              <a:gdLst>
                <a:gd name="connsiteX0" fmla="*/ 248904 w 304780"/>
                <a:gd name="connsiteY0" fmla="*/ 1189 h 548280"/>
                <a:gd name="connsiteX1" fmla="*/ 248904 w 304780"/>
                <a:gd name="connsiteY1" fmla="*/ 52202 h 548280"/>
                <a:gd name="connsiteX2" fmla="*/ 259604 w 304780"/>
                <a:gd name="connsiteY2" fmla="*/ 72412 h 548280"/>
                <a:gd name="connsiteX3" fmla="*/ 279815 w 304780"/>
                <a:gd name="connsiteY3" fmla="*/ 80735 h 548280"/>
                <a:gd name="connsiteX4" fmla="*/ 286948 w 304780"/>
                <a:gd name="connsiteY4" fmla="*/ 97378 h 548280"/>
                <a:gd name="connsiteX5" fmla="*/ 296459 w 304780"/>
                <a:gd name="connsiteY5" fmla="*/ 111645 h 548280"/>
                <a:gd name="connsiteX6" fmla="*/ 291703 w 304780"/>
                <a:gd name="connsiteY6" fmla="*/ 135314 h 548280"/>
                <a:gd name="connsiteX7" fmla="*/ 294081 w 304780"/>
                <a:gd name="connsiteY7" fmla="*/ 144825 h 548280"/>
                <a:gd name="connsiteX8" fmla="*/ 304781 w 304780"/>
                <a:gd name="connsiteY8" fmla="*/ 154336 h 548280"/>
                <a:gd name="connsiteX9" fmla="*/ 301214 w 304780"/>
                <a:gd name="connsiteY9" fmla="*/ 175735 h 548280"/>
                <a:gd name="connsiteX10" fmla="*/ 289326 w 304780"/>
                <a:gd name="connsiteY10" fmla="*/ 185246 h 548280"/>
                <a:gd name="connsiteX11" fmla="*/ 270304 w 304780"/>
                <a:gd name="connsiteY11" fmla="*/ 201890 h 548280"/>
                <a:gd name="connsiteX12" fmla="*/ 294081 w 304780"/>
                <a:gd name="connsiteY12" fmla="*/ 222101 h 548280"/>
                <a:gd name="connsiteX13" fmla="*/ 303592 w 304780"/>
                <a:gd name="connsiteY13" fmla="*/ 233989 h 548280"/>
                <a:gd name="connsiteX14" fmla="*/ 295270 w 304780"/>
                <a:gd name="connsiteY14" fmla="*/ 245878 h 548280"/>
                <a:gd name="connsiteX15" fmla="*/ 263279 w 304780"/>
                <a:gd name="connsiteY15" fmla="*/ 263711 h 548280"/>
                <a:gd name="connsiteX16" fmla="*/ 246635 w 304780"/>
                <a:gd name="connsiteY16" fmla="*/ 282625 h 548280"/>
                <a:gd name="connsiteX17" fmla="*/ 246635 w 304780"/>
                <a:gd name="connsiteY17" fmla="*/ 298080 h 548280"/>
                <a:gd name="connsiteX18" fmla="*/ 260901 w 304780"/>
                <a:gd name="connsiteY18" fmla="*/ 322938 h 548280"/>
                <a:gd name="connsiteX19" fmla="*/ 286948 w 304780"/>
                <a:gd name="connsiteY19" fmla="*/ 337204 h 548280"/>
                <a:gd name="connsiteX20" fmla="*/ 289326 w 304780"/>
                <a:gd name="connsiteY20" fmla="*/ 349093 h 548280"/>
                <a:gd name="connsiteX21" fmla="*/ 270304 w 304780"/>
                <a:gd name="connsiteY21" fmla="*/ 377517 h 548280"/>
                <a:gd name="connsiteX22" fmla="*/ 272681 w 304780"/>
                <a:gd name="connsiteY22" fmla="*/ 413075 h 548280"/>
                <a:gd name="connsiteX23" fmla="*/ 282192 w 304780"/>
                <a:gd name="connsiteY23" fmla="*/ 429719 h 548280"/>
                <a:gd name="connsiteX24" fmla="*/ 302403 w 304780"/>
                <a:gd name="connsiteY24" fmla="*/ 459333 h 548280"/>
                <a:gd name="connsiteX25" fmla="*/ 301214 w 304780"/>
                <a:gd name="connsiteY25" fmla="*/ 490135 h 548280"/>
                <a:gd name="connsiteX26" fmla="*/ 275167 w 304780"/>
                <a:gd name="connsiteY26" fmla="*/ 512723 h 548280"/>
                <a:gd name="connsiteX27" fmla="*/ 225343 w 304780"/>
                <a:gd name="connsiteY27" fmla="*/ 548281 h 548280"/>
                <a:gd name="connsiteX28" fmla="*/ 193352 w 304780"/>
                <a:gd name="connsiteY28" fmla="*/ 530448 h 548280"/>
                <a:gd name="connsiteX29" fmla="*/ 170872 w 304780"/>
                <a:gd name="connsiteY29" fmla="*/ 506671 h 548280"/>
                <a:gd name="connsiteX30" fmla="*/ 163739 w 304780"/>
                <a:gd name="connsiteY30" fmla="*/ 483002 h 548280"/>
                <a:gd name="connsiteX31" fmla="*/ 167305 w 304780"/>
                <a:gd name="connsiteY31" fmla="*/ 466358 h 548280"/>
                <a:gd name="connsiteX32" fmla="*/ 169683 w 304780"/>
                <a:gd name="connsiteY32" fmla="*/ 458036 h 548280"/>
                <a:gd name="connsiteX33" fmla="*/ 169683 w 304780"/>
                <a:gd name="connsiteY33" fmla="*/ 443769 h 548280"/>
                <a:gd name="connsiteX34" fmla="*/ 162550 w 304780"/>
                <a:gd name="connsiteY34" fmla="*/ 435447 h 548280"/>
                <a:gd name="connsiteX35" fmla="*/ 155416 w 304780"/>
                <a:gd name="connsiteY35" fmla="*/ 431881 h 548280"/>
                <a:gd name="connsiteX36" fmla="*/ 131747 w 304780"/>
                <a:gd name="connsiteY36" fmla="*/ 427125 h 548280"/>
                <a:gd name="connsiteX37" fmla="*/ 77168 w 304780"/>
                <a:gd name="connsiteY37" fmla="*/ 427125 h 548280"/>
                <a:gd name="connsiteX38" fmla="*/ 47554 w 304780"/>
                <a:gd name="connsiteY38" fmla="*/ 422370 h 548280"/>
                <a:gd name="connsiteX39" fmla="*/ 35666 w 304780"/>
                <a:gd name="connsiteY39" fmla="*/ 417614 h 548280"/>
                <a:gd name="connsiteX40" fmla="*/ 32099 w 304780"/>
                <a:gd name="connsiteY40" fmla="*/ 414048 h 548280"/>
                <a:gd name="connsiteX41" fmla="*/ 29722 w 304780"/>
                <a:gd name="connsiteY41" fmla="*/ 406915 h 548280"/>
                <a:gd name="connsiteX42" fmla="*/ 38044 w 304780"/>
                <a:gd name="connsiteY42" fmla="*/ 363035 h 548280"/>
                <a:gd name="connsiteX43" fmla="*/ 38044 w 304780"/>
                <a:gd name="connsiteY43" fmla="*/ 353524 h 548280"/>
                <a:gd name="connsiteX44" fmla="*/ 35666 w 304780"/>
                <a:gd name="connsiteY44" fmla="*/ 346391 h 548280"/>
                <a:gd name="connsiteX45" fmla="*/ 29722 w 304780"/>
                <a:gd name="connsiteY45" fmla="*/ 344013 h 548280"/>
                <a:gd name="connsiteX46" fmla="*/ 17833 w 304780"/>
                <a:gd name="connsiteY46" fmla="*/ 347580 h 548280"/>
                <a:gd name="connsiteX47" fmla="*/ 9511 w 304780"/>
                <a:gd name="connsiteY47" fmla="*/ 327369 h 548280"/>
                <a:gd name="connsiteX48" fmla="*/ 9511 w 304780"/>
                <a:gd name="connsiteY48" fmla="*/ 279923 h 548280"/>
                <a:gd name="connsiteX49" fmla="*/ 23777 w 304780"/>
                <a:gd name="connsiteY49" fmla="*/ 255065 h 548280"/>
                <a:gd name="connsiteX50" fmla="*/ 21399 w 304780"/>
                <a:gd name="connsiteY50" fmla="*/ 192163 h 548280"/>
                <a:gd name="connsiteX51" fmla="*/ 53391 w 304780"/>
                <a:gd name="connsiteY51" fmla="*/ 182652 h 548280"/>
                <a:gd name="connsiteX52" fmla="*/ 74790 w 304780"/>
                <a:gd name="connsiteY52" fmla="*/ 167197 h 548280"/>
                <a:gd name="connsiteX53" fmla="*/ 73601 w 304780"/>
                <a:gd name="connsiteY53" fmla="*/ 152931 h 548280"/>
                <a:gd name="connsiteX54" fmla="*/ 61713 w 304780"/>
                <a:gd name="connsiteY54" fmla="*/ 139853 h 548280"/>
                <a:gd name="connsiteX55" fmla="*/ 52202 w 304780"/>
                <a:gd name="connsiteY55" fmla="*/ 142231 h 548280"/>
                <a:gd name="connsiteX56" fmla="*/ 26155 w 304780"/>
                <a:gd name="connsiteY56" fmla="*/ 116184 h 548280"/>
                <a:gd name="connsiteX57" fmla="*/ 8322 w 304780"/>
                <a:gd name="connsiteY57" fmla="*/ 95973 h 548280"/>
                <a:gd name="connsiteX58" fmla="*/ 0 w 304780"/>
                <a:gd name="connsiteY58" fmla="*/ 77060 h 548280"/>
                <a:gd name="connsiteX59" fmla="*/ 7133 w 304780"/>
                <a:gd name="connsiteY59" fmla="*/ 34369 h 548280"/>
                <a:gd name="connsiteX60" fmla="*/ 30910 w 304780"/>
                <a:gd name="connsiteY60" fmla="*/ 9403 h 548280"/>
                <a:gd name="connsiteX61" fmla="*/ 53499 w 304780"/>
                <a:gd name="connsiteY61" fmla="*/ 33180 h 548280"/>
                <a:gd name="connsiteX62" fmla="*/ 84301 w 304780"/>
                <a:gd name="connsiteY62" fmla="*/ 35558 h 548280"/>
                <a:gd name="connsiteX63" fmla="*/ 116292 w 304780"/>
                <a:gd name="connsiteY63" fmla="*/ 51013 h 548280"/>
                <a:gd name="connsiteX64" fmla="*/ 153039 w 304780"/>
                <a:gd name="connsiteY64" fmla="*/ 49824 h 548280"/>
                <a:gd name="connsiteX65" fmla="*/ 182652 w 304780"/>
                <a:gd name="connsiteY65" fmla="*/ 34369 h 548280"/>
                <a:gd name="connsiteX66" fmla="*/ 204052 w 304780"/>
                <a:gd name="connsiteY66" fmla="*/ 17725 h 548280"/>
                <a:gd name="connsiteX67" fmla="*/ 227721 w 304780"/>
                <a:gd name="connsiteY67" fmla="*/ 22480 h 548280"/>
                <a:gd name="connsiteX68" fmla="*/ 240799 w 304780"/>
                <a:gd name="connsiteY68" fmla="*/ 4755 h 548280"/>
                <a:gd name="connsiteX69" fmla="*/ 251498 w 304780"/>
                <a:gd name="connsiteY69" fmla="*/ 0 h 548280"/>
                <a:gd name="connsiteX70" fmla="*/ 248904 w 304780"/>
                <a:gd name="connsiteY70" fmla="*/ 1189 h 548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04780" h="548280" extrusionOk="0">
                  <a:moveTo>
                    <a:pt x="248904" y="1189"/>
                  </a:moveTo>
                  <a:lnTo>
                    <a:pt x="248904" y="52202"/>
                  </a:lnTo>
                  <a:lnTo>
                    <a:pt x="259604" y="72412"/>
                  </a:lnTo>
                  <a:lnTo>
                    <a:pt x="279815" y="80735"/>
                  </a:lnTo>
                  <a:lnTo>
                    <a:pt x="286948" y="97378"/>
                  </a:lnTo>
                  <a:lnTo>
                    <a:pt x="296459" y="111645"/>
                  </a:lnTo>
                  <a:lnTo>
                    <a:pt x="291703" y="135314"/>
                  </a:lnTo>
                  <a:lnTo>
                    <a:pt x="294081" y="144825"/>
                  </a:lnTo>
                  <a:lnTo>
                    <a:pt x="304781" y="154336"/>
                  </a:lnTo>
                  <a:lnTo>
                    <a:pt x="301214" y="175735"/>
                  </a:lnTo>
                  <a:lnTo>
                    <a:pt x="289326" y="185246"/>
                  </a:lnTo>
                  <a:lnTo>
                    <a:pt x="270304" y="201890"/>
                  </a:lnTo>
                  <a:lnTo>
                    <a:pt x="294081" y="222101"/>
                  </a:lnTo>
                  <a:lnTo>
                    <a:pt x="303592" y="233989"/>
                  </a:lnTo>
                  <a:lnTo>
                    <a:pt x="295270" y="245878"/>
                  </a:lnTo>
                  <a:lnTo>
                    <a:pt x="263279" y="263711"/>
                  </a:lnTo>
                  <a:lnTo>
                    <a:pt x="246635" y="282625"/>
                  </a:lnTo>
                  <a:lnTo>
                    <a:pt x="246635" y="298080"/>
                  </a:lnTo>
                  <a:lnTo>
                    <a:pt x="260901" y="322938"/>
                  </a:lnTo>
                  <a:lnTo>
                    <a:pt x="286948" y="337204"/>
                  </a:lnTo>
                  <a:lnTo>
                    <a:pt x="289326" y="349093"/>
                  </a:lnTo>
                  <a:lnTo>
                    <a:pt x="270304" y="377517"/>
                  </a:lnTo>
                  <a:lnTo>
                    <a:pt x="272681" y="413075"/>
                  </a:lnTo>
                  <a:lnTo>
                    <a:pt x="282192" y="429719"/>
                  </a:lnTo>
                  <a:lnTo>
                    <a:pt x="302403" y="459333"/>
                  </a:lnTo>
                  <a:lnTo>
                    <a:pt x="301214" y="490135"/>
                  </a:lnTo>
                  <a:lnTo>
                    <a:pt x="275167" y="512723"/>
                  </a:lnTo>
                  <a:lnTo>
                    <a:pt x="225343" y="548281"/>
                  </a:lnTo>
                  <a:lnTo>
                    <a:pt x="193352" y="530448"/>
                  </a:lnTo>
                  <a:lnTo>
                    <a:pt x="170872" y="506671"/>
                  </a:lnTo>
                  <a:lnTo>
                    <a:pt x="163739" y="483002"/>
                  </a:lnTo>
                  <a:lnTo>
                    <a:pt x="167305" y="466358"/>
                  </a:lnTo>
                  <a:lnTo>
                    <a:pt x="169683" y="458036"/>
                  </a:lnTo>
                  <a:lnTo>
                    <a:pt x="169683" y="443769"/>
                  </a:lnTo>
                  <a:lnTo>
                    <a:pt x="162550" y="435447"/>
                  </a:lnTo>
                  <a:lnTo>
                    <a:pt x="155416" y="431881"/>
                  </a:lnTo>
                  <a:lnTo>
                    <a:pt x="131747" y="427125"/>
                  </a:lnTo>
                  <a:lnTo>
                    <a:pt x="77168" y="427125"/>
                  </a:lnTo>
                  <a:lnTo>
                    <a:pt x="47554" y="422370"/>
                  </a:lnTo>
                  <a:lnTo>
                    <a:pt x="35666" y="417614"/>
                  </a:lnTo>
                  <a:lnTo>
                    <a:pt x="32099" y="414048"/>
                  </a:lnTo>
                  <a:lnTo>
                    <a:pt x="29722" y="406915"/>
                  </a:lnTo>
                  <a:lnTo>
                    <a:pt x="38044" y="363035"/>
                  </a:lnTo>
                  <a:lnTo>
                    <a:pt x="38044" y="353524"/>
                  </a:lnTo>
                  <a:lnTo>
                    <a:pt x="35666" y="346391"/>
                  </a:lnTo>
                  <a:lnTo>
                    <a:pt x="29722" y="344013"/>
                  </a:lnTo>
                  <a:lnTo>
                    <a:pt x="17833" y="347580"/>
                  </a:lnTo>
                  <a:lnTo>
                    <a:pt x="9511" y="327369"/>
                  </a:lnTo>
                  <a:lnTo>
                    <a:pt x="9511" y="279923"/>
                  </a:lnTo>
                  <a:lnTo>
                    <a:pt x="23777" y="255065"/>
                  </a:lnTo>
                  <a:lnTo>
                    <a:pt x="21399" y="192163"/>
                  </a:lnTo>
                  <a:lnTo>
                    <a:pt x="53391" y="182652"/>
                  </a:lnTo>
                  <a:lnTo>
                    <a:pt x="74790" y="167197"/>
                  </a:lnTo>
                  <a:lnTo>
                    <a:pt x="73601" y="152931"/>
                  </a:lnTo>
                  <a:lnTo>
                    <a:pt x="61713" y="139853"/>
                  </a:lnTo>
                  <a:lnTo>
                    <a:pt x="52202" y="142231"/>
                  </a:lnTo>
                  <a:lnTo>
                    <a:pt x="26155" y="116184"/>
                  </a:lnTo>
                  <a:lnTo>
                    <a:pt x="8322" y="95973"/>
                  </a:lnTo>
                  <a:lnTo>
                    <a:pt x="0" y="77060"/>
                  </a:lnTo>
                  <a:lnTo>
                    <a:pt x="7133" y="34369"/>
                  </a:lnTo>
                  <a:lnTo>
                    <a:pt x="30910" y="9403"/>
                  </a:lnTo>
                  <a:lnTo>
                    <a:pt x="53499" y="33180"/>
                  </a:lnTo>
                  <a:lnTo>
                    <a:pt x="84301" y="35558"/>
                  </a:lnTo>
                  <a:lnTo>
                    <a:pt x="116292" y="51013"/>
                  </a:lnTo>
                  <a:lnTo>
                    <a:pt x="153039" y="49824"/>
                  </a:lnTo>
                  <a:lnTo>
                    <a:pt x="182652" y="34369"/>
                  </a:lnTo>
                  <a:lnTo>
                    <a:pt x="204052" y="17725"/>
                  </a:lnTo>
                  <a:lnTo>
                    <a:pt x="227721" y="22480"/>
                  </a:lnTo>
                  <a:lnTo>
                    <a:pt x="240799" y="4755"/>
                  </a:lnTo>
                  <a:lnTo>
                    <a:pt x="251498" y="0"/>
                  </a:lnTo>
                  <a:lnTo>
                    <a:pt x="248904" y="118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19" name="Полилиния: фигура 189"/>
            <p:cNvSpPr/>
            <p:nvPr/>
          </p:nvSpPr>
          <p:spPr bwMode="auto">
            <a:xfrm>
              <a:off x="4790490" y="4553698"/>
              <a:ext cx="529151" cy="365520"/>
            </a:xfrm>
            <a:custGeom>
              <a:avLst/>
              <a:gdLst>
                <a:gd name="connsiteX0" fmla="*/ 46257 w 529151"/>
                <a:gd name="connsiteY0" fmla="*/ 0 h 365520"/>
                <a:gd name="connsiteX1" fmla="*/ 129262 w 529151"/>
                <a:gd name="connsiteY1" fmla="*/ 0 h 365520"/>
                <a:gd name="connsiteX2" fmla="*/ 200485 w 529151"/>
                <a:gd name="connsiteY2" fmla="*/ 20211 h 365520"/>
                <a:gd name="connsiteX3" fmla="*/ 231287 w 529151"/>
                <a:gd name="connsiteY3" fmla="*/ 24966 h 365520"/>
                <a:gd name="connsiteX4" fmla="*/ 287056 w 529151"/>
                <a:gd name="connsiteY4" fmla="*/ 62902 h 365520"/>
                <a:gd name="connsiteX5" fmla="*/ 317858 w 529151"/>
                <a:gd name="connsiteY5" fmla="*/ 70035 h 365520"/>
                <a:gd name="connsiteX6" fmla="*/ 338069 w 529151"/>
                <a:gd name="connsiteY6" fmla="*/ 87868 h 365520"/>
                <a:gd name="connsiteX7" fmla="*/ 385515 w 529151"/>
                <a:gd name="connsiteY7" fmla="*/ 84301 h 365520"/>
                <a:gd name="connsiteX8" fmla="*/ 403348 w 529151"/>
                <a:gd name="connsiteY8" fmla="*/ 71224 h 365520"/>
                <a:gd name="connsiteX9" fmla="*/ 417615 w 529151"/>
                <a:gd name="connsiteY9" fmla="*/ 66468 h 365520"/>
                <a:gd name="connsiteX10" fmla="*/ 427125 w 529151"/>
                <a:gd name="connsiteY10" fmla="*/ 70035 h 365520"/>
                <a:gd name="connsiteX11" fmla="*/ 430692 w 529151"/>
                <a:gd name="connsiteY11" fmla="*/ 137692 h 365520"/>
                <a:gd name="connsiteX12" fmla="*/ 452092 w 529151"/>
                <a:gd name="connsiteY12" fmla="*/ 134125 h 365520"/>
                <a:gd name="connsiteX13" fmla="*/ 504293 w 529151"/>
                <a:gd name="connsiteY13" fmla="*/ 106889 h 365520"/>
                <a:gd name="connsiteX14" fmla="*/ 500727 w 529151"/>
                <a:gd name="connsiteY14" fmla="*/ 150769 h 365520"/>
                <a:gd name="connsiteX15" fmla="*/ 503105 w 529151"/>
                <a:gd name="connsiteY15" fmla="*/ 155525 h 365520"/>
                <a:gd name="connsiteX16" fmla="*/ 529151 w 529151"/>
                <a:gd name="connsiteY16" fmla="*/ 186327 h 365520"/>
                <a:gd name="connsiteX17" fmla="*/ 523207 w 529151"/>
                <a:gd name="connsiteY17" fmla="*/ 220696 h 365520"/>
                <a:gd name="connsiteX18" fmla="*/ 510130 w 529151"/>
                <a:gd name="connsiteY18" fmla="*/ 238529 h 365520"/>
                <a:gd name="connsiteX19" fmla="*/ 510130 w 529151"/>
                <a:gd name="connsiteY19" fmla="*/ 242095 h 365520"/>
                <a:gd name="connsiteX20" fmla="*/ 508941 w 529151"/>
                <a:gd name="connsiteY20" fmla="*/ 251606 h 365520"/>
                <a:gd name="connsiteX21" fmla="*/ 471005 w 529151"/>
                <a:gd name="connsiteY21" fmla="*/ 268250 h 365520"/>
                <a:gd name="connsiteX22" fmla="*/ 436636 w 529151"/>
                <a:gd name="connsiteY22" fmla="*/ 280139 h 365520"/>
                <a:gd name="connsiteX23" fmla="*/ 416426 w 529151"/>
                <a:gd name="connsiteY23" fmla="*/ 297864 h 365520"/>
                <a:gd name="connsiteX24" fmla="*/ 398593 w 529151"/>
                <a:gd name="connsiteY24" fmla="*/ 325099 h 365520"/>
                <a:gd name="connsiteX25" fmla="*/ 360657 w 529151"/>
                <a:gd name="connsiteY25" fmla="*/ 322722 h 365520"/>
                <a:gd name="connsiteX26" fmla="*/ 338069 w 529151"/>
                <a:gd name="connsiteY26" fmla="*/ 312022 h 365520"/>
                <a:gd name="connsiteX27" fmla="*/ 313211 w 529151"/>
                <a:gd name="connsiteY27" fmla="*/ 278842 h 365520"/>
                <a:gd name="connsiteX28" fmla="*/ 295378 w 529151"/>
                <a:gd name="connsiteY28" fmla="*/ 274086 h 365520"/>
                <a:gd name="connsiteX29" fmla="*/ 268142 w 529151"/>
                <a:gd name="connsiteY29" fmla="*/ 295486 h 365520"/>
                <a:gd name="connsiteX30" fmla="*/ 247932 w 529151"/>
                <a:gd name="connsiteY30" fmla="*/ 322722 h 365520"/>
                <a:gd name="connsiteX31" fmla="*/ 202863 w 529151"/>
                <a:gd name="connsiteY31" fmla="*/ 328666 h 365520"/>
                <a:gd name="connsiteX32" fmla="*/ 176816 w 529151"/>
                <a:gd name="connsiteY32" fmla="*/ 342933 h 365520"/>
                <a:gd name="connsiteX33" fmla="*/ 131747 w 529151"/>
                <a:gd name="connsiteY33" fmla="*/ 365521 h 365520"/>
                <a:gd name="connsiteX34" fmla="*/ 113915 w 529151"/>
                <a:gd name="connsiteY34" fmla="*/ 350065 h 365520"/>
                <a:gd name="connsiteX35" fmla="*/ 91326 w 529151"/>
                <a:gd name="connsiteY35" fmla="*/ 338177 h 365520"/>
                <a:gd name="connsiteX36" fmla="*/ 55768 w 529151"/>
                <a:gd name="connsiteY36" fmla="*/ 353632 h 365520"/>
                <a:gd name="connsiteX37" fmla="*/ 55768 w 529151"/>
                <a:gd name="connsiteY37" fmla="*/ 321641 h 365520"/>
                <a:gd name="connsiteX38" fmla="*/ 37936 w 529151"/>
                <a:gd name="connsiteY38" fmla="*/ 299053 h 365520"/>
                <a:gd name="connsiteX39" fmla="*/ 24858 w 529151"/>
                <a:gd name="connsiteY39" fmla="*/ 276464 h 365520"/>
                <a:gd name="connsiteX40" fmla="*/ 23669 w 529151"/>
                <a:gd name="connsiteY40" fmla="*/ 237340 h 365520"/>
                <a:gd name="connsiteX41" fmla="*/ 45069 w 529151"/>
                <a:gd name="connsiteY41" fmla="*/ 212482 h 365520"/>
                <a:gd name="connsiteX42" fmla="*/ 42691 w 529151"/>
                <a:gd name="connsiteY42" fmla="*/ 198216 h 365520"/>
                <a:gd name="connsiteX43" fmla="*/ 11889 w 529151"/>
                <a:gd name="connsiteY43" fmla="*/ 188705 h 365520"/>
                <a:gd name="connsiteX44" fmla="*/ 0 w 529151"/>
                <a:gd name="connsiteY44" fmla="*/ 159091 h 365520"/>
                <a:gd name="connsiteX45" fmla="*/ 1189 w 529151"/>
                <a:gd name="connsiteY45" fmla="*/ 146014 h 365520"/>
                <a:gd name="connsiteX46" fmla="*/ 16644 w 529151"/>
                <a:gd name="connsiteY46" fmla="*/ 125803 h 365520"/>
                <a:gd name="connsiteX47" fmla="*/ 49824 w 529151"/>
                <a:gd name="connsiteY47" fmla="*/ 109159 h 365520"/>
                <a:gd name="connsiteX48" fmla="*/ 58146 w 529151"/>
                <a:gd name="connsiteY48" fmla="*/ 96081 h 365520"/>
                <a:gd name="connsiteX49" fmla="*/ 49824 w 529151"/>
                <a:gd name="connsiteY49" fmla="*/ 84193 h 365520"/>
                <a:gd name="connsiteX50" fmla="*/ 23777 w 529151"/>
                <a:gd name="connsiteY50" fmla="*/ 65171 h 365520"/>
                <a:gd name="connsiteX51" fmla="*/ 58146 w 529151"/>
                <a:gd name="connsiteY51" fmla="*/ 39124 h 365520"/>
                <a:gd name="connsiteX52" fmla="*/ 56957 w 529151"/>
                <a:gd name="connsiteY52" fmla="*/ 20211 h 365520"/>
                <a:gd name="connsiteX53" fmla="*/ 48635 w 529151"/>
                <a:gd name="connsiteY53" fmla="*/ 10700 h 365520"/>
                <a:gd name="connsiteX54" fmla="*/ 46257 w 529151"/>
                <a:gd name="connsiteY54" fmla="*/ 0 h 365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529151" h="365520" extrusionOk="0">
                  <a:moveTo>
                    <a:pt x="46257" y="0"/>
                  </a:moveTo>
                  <a:lnTo>
                    <a:pt x="129262" y="0"/>
                  </a:lnTo>
                  <a:lnTo>
                    <a:pt x="200485" y="20211"/>
                  </a:lnTo>
                  <a:lnTo>
                    <a:pt x="231287" y="24966"/>
                  </a:lnTo>
                  <a:lnTo>
                    <a:pt x="287056" y="62902"/>
                  </a:lnTo>
                  <a:lnTo>
                    <a:pt x="317858" y="70035"/>
                  </a:lnTo>
                  <a:lnTo>
                    <a:pt x="338069" y="87868"/>
                  </a:lnTo>
                  <a:lnTo>
                    <a:pt x="385515" y="84301"/>
                  </a:lnTo>
                  <a:lnTo>
                    <a:pt x="403348" y="71224"/>
                  </a:lnTo>
                  <a:lnTo>
                    <a:pt x="417615" y="66468"/>
                  </a:lnTo>
                  <a:lnTo>
                    <a:pt x="427125" y="70035"/>
                  </a:lnTo>
                  <a:lnTo>
                    <a:pt x="430692" y="137692"/>
                  </a:lnTo>
                  <a:lnTo>
                    <a:pt x="452092" y="134125"/>
                  </a:lnTo>
                  <a:lnTo>
                    <a:pt x="504293" y="106889"/>
                  </a:lnTo>
                  <a:lnTo>
                    <a:pt x="500727" y="150769"/>
                  </a:lnTo>
                  <a:lnTo>
                    <a:pt x="503105" y="155525"/>
                  </a:lnTo>
                  <a:lnTo>
                    <a:pt x="529151" y="186327"/>
                  </a:lnTo>
                  <a:lnTo>
                    <a:pt x="523207" y="220696"/>
                  </a:lnTo>
                  <a:lnTo>
                    <a:pt x="510130" y="238529"/>
                  </a:lnTo>
                  <a:lnTo>
                    <a:pt x="510130" y="242095"/>
                  </a:lnTo>
                  <a:lnTo>
                    <a:pt x="508941" y="251606"/>
                  </a:lnTo>
                  <a:lnTo>
                    <a:pt x="471005" y="268250"/>
                  </a:lnTo>
                  <a:lnTo>
                    <a:pt x="436636" y="280139"/>
                  </a:lnTo>
                  <a:lnTo>
                    <a:pt x="416426" y="297864"/>
                  </a:lnTo>
                  <a:lnTo>
                    <a:pt x="398593" y="325099"/>
                  </a:lnTo>
                  <a:lnTo>
                    <a:pt x="360657" y="322722"/>
                  </a:lnTo>
                  <a:lnTo>
                    <a:pt x="338069" y="312022"/>
                  </a:lnTo>
                  <a:lnTo>
                    <a:pt x="313211" y="278842"/>
                  </a:lnTo>
                  <a:lnTo>
                    <a:pt x="295378" y="274086"/>
                  </a:lnTo>
                  <a:lnTo>
                    <a:pt x="268142" y="295486"/>
                  </a:lnTo>
                  <a:lnTo>
                    <a:pt x="247932" y="322722"/>
                  </a:lnTo>
                  <a:lnTo>
                    <a:pt x="202863" y="328666"/>
                  </a:lnTo>
                  <a:lnTo>
                    <a:pt x="176816" y="342933"/>
                  </a:lnTo>
                  <a:lnTo>
                    <a:pt x="131747" y="365521"/>
                  </a:lnTo>
                  <a:lnTo>
                    <a:pt x="113915" y="350065"/>
                  </a:lnTo>
                  <a:lnTo>
                    <a:pt x="91326" y="338177"/>
                  </a:lnTo>
                  <a:lnTo>
                    <a:pt x="55768" y="353632"/>
                  </a:lnTo>
                  <a:lnTo>
                    <a:pt x="55768" y="321641"/>
                  </a:lnTo>
                  <a:lnTo>
                    <a:pt x="37936" y="299053"/>
                  </a:lnTo>
                  <a:lnTo>
                    <a:pt x="24858" y="276464"/>
                  </a:lnTo>
                  <a:lnTo>
                    <a:pt x="23669" y="237340"/>
                  </a:lnTo>
                  <a:lnTo>
                    <a:pt x="45069" y="212482"/>
                  </a:lnTo>
                  <a:lnTo>
                    <a:pt x="42691" y="198216"/>
                  </a:lnTo>
                  <a:lnTo>
                    <a:pt x="11889" y="188705"/>
                  </a:lnTo>
                  <a:lnTo>
                    <a:pt x="0" y="159091"/>
                  </a:lnTo>
                  <a:lnTo>
                    <a:pt x="1189" y="146014"/>
                  </a:lnTo>
                  <a:lnTo>
                    <a:pt x="16644" y="125803"/>
                  </a:lnTo>
                  <a:lnTo>
                    <a:pt x="49824" y="109159"/>
                  </a:lnTo>
                  <a:lnTo>
                    <a:pt x="58146" y="96081"/>
                  </a:lnTo>
                  <a:lnTo>
                    <a:pt x="49824" y="84193"/>
                  </a:lnTo>
                  <a:lnTo>
                    <a:pt x="23777" y="65171"/>
                  </a:lnTo>
                  <a:lnTo>
                    <a:pt x="58146" y="39124"/>
                  </a:lnTo>
                  <a:lnTo>
                    <a:pt x="56957" y="20211"/>
                  </a:lnTo>
                  <a:lnTo>
                    <a:pt x="48635" y="10700"/>
                  </a:lnTo>
                  <a:lnTo>
                    <a:pt x="46257" y="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0" name="Полилиния: фигура 190"/>
            <p:cNvSpPr/>
            <p:nvPr/>
          </p:nvSpPr>
          <p:spPr bwMode="auto">
            <a:xfrm>
              <a:off x="5291109" y="4587958"/>
              <a:ext cx="249120" cy="411778"/>
            </a:xfrm>
            <a:custGeom>
              <a:avLst/>
              <a:gdLst>
                <a:gd name="connsiteX0" fmla="*/ 49716 w 249120"/>
                <a:gd name="connsiteY0" fmla="*/ 257550 h 411778"/>
                <a:gd name="connsiteX1" fmla="*/ 35450 w 249120"/>
                <a:gd name="connsiteY1" fmla="*/ 234962 h 411778"/>
                <a:gd name="connsiteX2" fmla="*/ 8214 w 249120"/>
                <a:gd name="connsiteY2" fmla="*/ 219507 h 411778"/>
                <a:gd name="connsiteX3" fmla="*/ 8214 w 249120"/>
                <a:gd name="connsiteY3" fmla="*/ 205241 h 411778"/>
                <a:gd name="connsiteX4" fmla="*/ 16536 w 249120"/>
                <a:gd name="connsiteY4" fmla="*/ 194541 h 411778"/>
                <a:gd name="connsiteX5" fmla="*/ 22480 w 249120"/>
                <a:gd name="connsiteY5" fmla="*/ 186219 h 411778"/>
                <a:gd name="connsiteX6" fmla="*/ 26047 w 249120"/>
                <a:gd name="connsiteY6" fmla="*/ 150661 h 411778"/>
                <a:gd name="connsiteX7" fmla="*/ 2378 w 249120"/>
                <a:gd name="connsiteY7" fmla="*/ 121047 h 411778"/>
                <a:gd name="connsiteX8" fmla="*/ 0 w 249120"/>
                <a:gd name="connsiteY8" fmla="*/ 115103 h 411778"/>
                <a:gd name="connsiteX9" fmla="*/ 2378 w 249120"/>
                <a:gd name="connsiteY9" fmla="*/ 72412 h 411778"/>
                <a:gd name="connsiteX10" fmla="*/ 43880 w 249120"/>
                <a:gd name="connsiteY10" fmla="*/ 60524 h 411778"/>
                <a:gd name="connsiteX11" fmla="*/ 67657 w 249120"/>
                <a:gd name="connsiteY11" fmla="*/ 38043 h 411778"/>
                <a:gd name="connsiteX12" fmla="*/ 96081 w 249120"/>
                <a:gd name="connsiteY12" fmla="*/ 23777 h 411778"/>
                <a:gd name="connsiteX13" fmla="*/ 176708 w 249120"/>
                <a:gd name="connsiteY13" fmla="*/ 19022 h 411778"/>
                <a:gd name="connsiteX14" fmla="*/ 192163 w 249120"/>
                <a:gd name="connsiteY14" fmla="*/ 2377 h 411778"/>
                <a:gd name="connsiteX15" fmla="*/ 215832 w 249120"/>
                <a:gd name="connsiteY15" fmla="*/ 0 h 411778"/>
                <a:gd name="connsiteX16" fmla="*/ 239609 w 249120"/>
                <a:gd name="connsiteY16" fmla="*/ 47446 h 411778"/>
                <a:gd name="connsiteX17" fmla="*/ 239609 w 249120"/>
                <a:gd name="connsiteY17" fmla="*/ 48635 h 411778"/>
                <a:gd name="connsiteX18" fmla="*/ 244365 w 249120"/>
                <a:gd name="connsiteY18" fmla="*/ 88948 h 411778"/>
                <a:gd name="connsiteX19" fmla="*/ 208807 w 249120"/>
                <a:gd name="connsiteY19" fmla="*/ 123317 h 411778"/>
                <a:gd name="connsiteX20" fmla="*/ 208807 w 249120"/>
                <a:gd name="connsiteY20" fmla="*/ 137583 h 411778"/>
                <a:gd name="connsiteX21" fmla="*/ 220696 w 249120"/>
                <a:gd name="connsiteY21" fmla="*/ 150661 h 411778"/>
                <a:gd name="connsiteX22" fmla="*/ 218318 w 249120"/>
                <a:gd name="connsiteY22" fmla="*/ 174438 h 411778"/>
                <a:gd name="connsiteX23" fmla="*/ 215941 w 249120"/>
                <a:gd name="connsiteY23" fmla="*/ 197027 h 411778"/>
                <a:gd name="connsiteX24" fmla="*/ 205241 w 249120"/>
                <a:gd name="connsiteY24" fmla="*/ 210104 h 411778"/>
                <a:gd name="connsiteX25" fmla="*/ 204052 w 249120"/>
                <a:gd name="connsiteY25" fmla="*/ 227937 h 411778"/>
                <a:gd name="connsiteX26" fmla="*/ 215941 w 249120"/>
                <a:gd name="connsiteY26" fmla="*/ 235070 h 411778"/>
                <a:gd name="connsiteX27" fmla="*/ 240798 w 249120"/>
                <a:gd name="connsiteY27" fmla="*/ 242203 h 411778"/>
                <a:gd name="connsiteX28" fmla="*/ 249120 w 249120"/>
                <a:gd name="connsiteY28" fmla="*/ 258847 h 411778"/>
                <a:gd name="connsiteX29" fmla="*/ 240798 w 249120"/>
                <a:gd name="connsiteY29" fmla="*/ 290838 h 411778"/>
                <a:gd name="connsiteX30" fmla="*/ 239609 w 249120"/>
                <a:gd name="connsiteY30" fmla="*/ 292027 h 411778"/>
                <a:gd name="connsiteX31" fmla="*/ 234854 w 249120"/>
                <a:gd name="connsiteY31" fmla="*/ 308672 h 411778"/>
                <a:gd name="connsiteX32" fmla="*/ 236043 w 249120"/>
                <a:gd name="connsiteY32" fmla="*/ 309860 h 411778"/>
                <a:gd name="connsiteX33" fmla="*/ 243176 w 249120"/>
                <a:gd name="connsiteY33" fmla="*/ 334718 h 411778"/>
                <a:gd name="connsiteX34" fmla="*/ 238421 w 249120"/>
                <a:gd name="connsiteY34" fmla="*/ 370276 h 411778"/>
                <a:gd name="connsiteX35" fmla="*/ 232477 w 249120"/>
                <a:gd name="connsiteY35" fmla="*/ 396323 h 411778"/>
                <a:gd name="connsiteX36" fmla="*/ 207618 w 249120"/>
                <a:gd name="connsiteY36" fmla="*/ 411778 h 411778"/>
                <a:gd name="connsiteX37" fmla="*/ 198107 w 249120"/>
                <a:gd name="connsiteY37" fmla="*/ 395134 h 411778"/>
                <a:gd name="connsiteX38" fmla="*/ 185030 w 249120"/>
                <a:gd name="connsiteY38" fmla="*/ 385623 h 411778"/>
                <a:gd name="connsiteX39" fmla="*/ 138772 w 249120"/>
                <a:gd name="connsiteY39" fmla="*/ 385623 h 411778"/>
                <a:gd name="connsiteX40" fmla="*/ 123317 w 249120"/>
                <a:gd name="connsiteY40" fmla="*/ 403456 h 411778"/>
                <a:gd name="connsiteX41" fmla="*/ 122128 w 249120"/>
                <a:gd name="connsiteY41" fmla="*/ 348877 h 411778"/>
                <a:gd name="connsiteX42" fmla="*/ 116184 w 249120"/>
                <a:gd name="connsiteY42" fmla="*/ 306186 h 411778"/>
                <a:gd name="connsiteX43" fmla="*/ 98351 w 249120"/>
                <a:gd name="connsiteY43" fmla="*/ 291919 h 411778"/>
                <a:gd name="connsiteX44" fmla="*/ 74682 w 249120"/>
                <a:gd name="connsiteY44" fmla="*/ 281220 h 411778"/>
                <a:gd name="connsiteX45" fmla="*/ 59227 w 249120"/>
                <a:gd name="connsiteY45" fmla="*/ 265764 h 411778"/>
                <a:gd name="connsiteX46" fmla="*/ 49716 w 249120"/>
                <a:gd name="connsiteY46" fmla="*/ 257550 h 411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249120" h="411778" extrusionOk="0">
                  <a:moveTo>
                    <a:pt x="49716" y="257550"/>
                  </a:moveTo>
                  <a:lnTo>
                    <a:pt x="35450" y="234962"/>
                  </a:lnTo>
                  <a:lnTo>
                    <a:pt x="8214" y="219507"/>
                  </a:lnTo>
                  <a:lnTo>
                    <a:pt x="8214" y="205241"/>
                  </a:lnTo>
                  <a:lnTo>
                    <a:pt x="16536" y="194541"/>
                  </a:lnTo>
                  <a:lnTo>
                    <a:pt x="22480" y="186219"/>
                  </a:lnTo>
                  <a:lnTo>
                    <a:pt x="26047" y="150661"/>
                  </a:lnTo>
                  <a:lnTo>
                    <a:pt x="2378" y="121047"/>
                  </a:lnTo>
                  <a:lnTo>
                    <a:pt x="0" y="115103"/>
                  </a:lnTo>
                  <a:lnTo>
                    <a:pt x="2378" y="72412"/>
                  </a:lnTo>
                  <a:lnTo>
                    <a:pt x="43880" y="60524"/>
                  </a:lnTo>
                  <a:lnTo>
                    <a:pt x="67657" y="38043"/>
                  </a:lnTo>
                  <a:lnTo>
                    <a:pt x="96081" y="23777"/>
                  </a:lnTo>
                  <a:lnTo>
                    <a:pt x="176708" y="19022"/>
                  </a:lnTo>
                  <a:lnTo>
                    <a:pt x="192163" y="2377"/>
                  </a:lnTo>
                  <a:lnTo>
                    <a:pt x="215832" y="0"/>
                  </a:lnTo>
                  <a:lnTo>
                    <a:pt x="239609" y="47446"/>
                  </a:lnTo>
                  <a:lnTo>
                    <a:pt x="239609" y="48635"/>
                  </a:lnTo>
                  <a:lnTo>
                    <a:pt x="244365" y="88948"/>
                  </a:lnTo>
                  <a:lnTo>
                    <a:pt x="208807" y="123317"/>
                  </a:lnTo>
                  <a:lnTo>
                    <a:pt x="208807" y="137583"/>
                  </a:lnTo>
                  <a:lnTo>
                    <a:pt x="220696" y="150661"/>
                  </a:lnTo>
                  <a:lnTo>
                    <a:pt x="218318" y="174438"/>
                  </a:lnTo>
                  <a:lnTo>
                    <a:pt x="215941" y="197027"/>
                  </a:lnTo>
                  <a:lnTo>
                    <a:pt x="205241" y="210104"/>
                  </a:lnTo>
                  <a:lnTo>
                    <a:pt x="204052" y="227937"/>
                  </a:lnTo>
                  <a:lnTo>
                    <a:pt x="215941" y="235070"/>
                  </a:lnTo>
                  <a:lnTo>
                    <a:pt x="240798" y="242203"/>
                  </a:lnTo>
                  <a:lnTo>
                    <a:pt x="249120" y="258847"/>
                  </a:lnTo>
                  <a:lnTo>
                    <a:pt x="240798" y="290838"/>
                  </a:lnTo>
                  <a:lnTo>
                    <a:pt x="239609" y="292027"/>
                  </a:lnTo>
                  <a:lnTo>
                    <a:pt x="234854" y="308672"/>
                  </a:lnTo>
                  <a:lnTo>
                    <a:pt x="236043" y="309860"/>
                  </a:lnTo>
                  <a:lnTo>
                    <a:pt x="243176" y="334718"/>
                  </a:lnTo>
                  <a:lnTo>
                    <a:pt x="238421" y="370276"/>
                  </a:lnTo>
                  <a:lnTo>
                    <a:pt x="232477" y="396323"/>
                  </a:lnTo>
                  <a:lnTo>
                    <a:pt x="207618" y="411778"/>
                  </a:lnTo>
                  <a:lnTo>
                    <a:pt x="198107" y="395134"/>
                  </a:lnTo>
                  <a:lnTo>
                    <a:pt x="185030" y="385623"/>
                  </a:lnTo>
                  <a:lnTo>
                    <a:pt x="138772" y="385623"/>
                  </a:lnTo>
                  <a:lnTo>
                    <a:pt x="123317" y="403456"/>
                  </a:lnTo>
                  <a:lnTo>
                    <a:pt x="122128" y="348877"/>
                  </a:lnTo>
                  <a:lnTo>
                    <a:pt x="116184" y="306186"/>
                  </a:lnTo>
                  <a:lnTo>
                    <a:pt x="98351" y="291919"/>
                  </a:lnTo>
                  <a:lnTo>
                    <a:pt x="74682" y="281220"/>
                  </a:lnTo>
                  <a:lnTo>
                    <a:pt x="59227" y="265764"/>
                  </a:lnTo>
                  <a:lnTo>
                    <a:pt x="49716" y="25755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1" name="Полилиния: фигура 191"/>
            <p:cNvSpPr/>
            <p:nvPr/>
          </p:nvSpPr>
          <p:spPr bwMode="auto">
            <a:xfrm>
              <a:off x="4922238" y="4806601"/>
              <a:ext cx="492512" cy="362278"/>
            </a:xfrm>
            <a:custGeom>
              <a:avLst/>
              <a:gdLst>
                <a:gd name="connsiteX0" fmla="*/ 122128 w 492512"/>
                <a:gd name="connsiteY0" fmla="*/ 295054 h 362278"/>
                <a:gd name="connsiteX1" fmla="*/ 105485 w 492512"/>
                <a:gd name="connsiteY1" fmla="*/ 271385 h 362278"/>
                <a:gd name="connsiteX2" fmla="*/ 87652 w 492512"/>
                <a:gd name="connsiteY2" fmla="*/ 238205 h 362278"/>
                <a:gd name="connsiteX3" fmla="*/ 59227 w 492512"/>
                <a:gd name="connsiteY3" fmla="*/ 188380 h 362278"/>
                <a:gd name="connsiteX4" fmla="*/ 18914 w 492512"/>
                <a:gd name="connsiteY4" fmla="*/ 137367 h 362278"/>
                <a:gd name="connsiteX5" fmla="*/ 0 w 492512"/>
                <a:gd name="connsiteY5" fmla="*/ 112510 h 362278"/>
                <a:gd name="connsiteX6" fmla="*/ 73493 w 492512"/>
                <a:gd name="connsiteY6" fmla="*/ 74574 h 362278"/>
                <a:gd name="connsiteX7" fmla="*/ 117373 w 492512"/>
                <a:gd name="connsiteY7" fmla="*/ 69818 h 362278"/>
                <a:gd name="connsiteX8" fmla="*/ 137584 w 492512"/>
                <a:gd name="connsiteY8" fmla="*/ 40097 h 362278"/>
                <a:gd name="connsiteX9" fmla="*/ 166008 w 492512"/>
                <a:gd name="connsiteY9" fmla="*/ 17617 h 362278"/>
                <a:gd name="connsiteX10" fmla="*/ 185030 w 492512"/>
                <a:gd name="connsiteY10" fmla="*/ 25939 h 362278"/>
                <a:gd name="connsiteX11" fmla="*/ 207618 w 492512"/>
                <a:gd name="connsiteY11" fmla="*/ 57930 h 362278"/>
                <a:gd name="connsiteX12" fmla="*/ 227829 w 492512"/>
                <a:gd name="connsiteY12" fmla="*/ 68630 h 362278"/>
                <a:gd name="connsiteX13" fmla="*/ 269331 w 492512"/>
                <a:gd name="connsiteY13" fmla="*/ 71008 h 362278"/>
                <a:gd name="connsiteX14" fmla="*/ 287164 w 492512"/>
                <a:gd name="connsiteY14" fmla="*/ 44961 h 362278"/>
                <a:gd name="connsiteX15" fmla="*/ 303808 w 492512"/>
                <a:gd name="connsiteY15" fmla="*/ 26047 h 362278"/>
                <a:gd name="connsiteX16" fmla="*/ 378490 w 492512"/>
                <a:gd name="connsiteY16" fmla="*/ 0 h 362278"/>
                <a:gd name="connsiteX17" fmla="*/ 404537 w 492512"/>
                <a:gd name="connsiteY17" fmla="*/ 15455 h 362278"/>
                <a:gd name="connsiteX18" fmla="*/ 419992 w 492512"/>
                <a:gd name="connsiteY18" fmla="*/ 40313 h 362278"/>
                <a:gd name="connsiteX19" fmla="*/ 429503 w 492512"/>
                <a:gd name="connsiteY19" fmla="*/ 47447 h 362278"/>
                <a:gd name="connsiteX20" fmla="*/ 442581 w 492512"/>
                <a:gd name="connsiteY20" fmla="*/ 60524 h 362278"/>
                <a:gd name="connsiteX21" fmla="*/ 465169 w 492512"/>
                <a:gd name="connsiteY21" fmla="*/ 72413 h 362278"/>
                <a:gd name="connsiteX22" fmla="*/ 484191 w 492512"/>
                <a:gd name="connsiteY22" fmla="*/ 89056 h 362278"/>
                <a:gd name="connsiteX23" fmla="*/ 492513 w 492512"/>
                <a:gd name="connsiteY23" fmla="*/ 130559 h 362278"/>
                <a:gd name="connsiteX24" fmla="*/ 491324 w 492512"/>
                <a:gd name="connsiteY24" fmla="*/ 186327 h 362278"/>
                <a:gd name="connsiteX25" fmla="*/ 488946 w 492512"/>
                <a:gd name="connsiteY25" fmla="*/ 199405 h 362278"/>
                <a:gd name="connsiteX26" fmla="*/ 480624 w 492512"/>
                <a:gd name="connsiteY26" fmla="*/ 201782 h 362278"/>
                <a:gd name="connsiteX27" fmla="*/ 452200 w 492512"/>
                <a:gd name="connsiteY27" fmla="*/ 205349 h 362278"/>
                <a:gd name="connsiteX28" fmla="*/ 442689 w 492512"/>
                <a:gd name="connsiteY28" fmla="*/ 220804 h 362278"/>
                <a:gd name="connsiteX29" fmla="*/ 442689 w 492512"/>
                <a:gd name="connsiteY29" fmla="*/ 221993 h 362278"/>
                <a:gd name="connsiteX30" fmla="*/ 434367 w 492512"/>
                <a:gd name="connsiteY30" fmla="*/ 236259 h 362278"/>
                <a:gd name="connsiteX31" fmla="*/ 405942 w 492512"/>
                <a:gd name="connsiteY31" fmla="*/ 252903 h 362278"/>
                <a:gd name="connsiteX32" fmla="*/ 364440 w 492512"/>
                <a:gd name="connsiteY32" fmla="*/ 275491 h 362278"/>
                <a:gd name="connsiteX33" fmla="*/ 351363 w 492512"/>
                <a:gd name="connsiteY33" fmla="*/ 294513 h 362278"/>
                <a:gd name="connsiteX34" fmla="*/ 357307 w 492512"/>
                <a:gd name="connsiteY34" fmla="*/ 311158 h 362278"/>
                <a:gd name="connsiteX35" fmla="*/ 377517 w 492512"/>
                <a:gd name="connsiteY35" fmla="*/ 326613 h 362278"/>
                <a:gd name="connsiteX36" fmla="*/ 388217 w 492512"/>
                <a:gd name="connsiteY36" fmla="*/ 334935 h 362278"/>
                <a:gd name="connsiteX37" fmla="*/ 375140 w 492512"/>
                <a:gd name="connsiteY37" fmla="*/ 340879 h 362278"/>
                <a:gd name="connsiteX38" fmla="*/ 347904 w 492512"/>
                <a:gd name="connsiteY38" fmla="*/ 349201 h 362278"/>
                <a:gd name="connsiteX39" fmla="*/ 343149 w 492512"/>
                <a:gd name="connsiteY39" fmla="*/ 358712 h 362278"/>
                <a:gd name="connsiteX40" fmla="*/ 332449 w 492512"/>
                <a:gd name="connsiteY40" fmla="*/ 358712 h 362278"/>
                <a:gd name="connsiteX41" fmla="*/ 301647 w 492512"/>
                <a:gd name="connsiteY41" fmla="*/ 362279 h 362278"/>
                <a:gd name="connsiteX42" fmla="*/ 279058 w 492512"/>
                <a:gd name="connsiteY42" fmla="*/ 362279 h 362278"/>
                <a:gd name="connsiteX43" fmla="*/ 264792 w 492512"/>
                <a:gd name="connsiteY43" fmla="*/ 357523 h 362278"/>
                <a:gd name="connsiteX44" fmla="*/ 244581 w 492512"/>
                <a:gd name="connsiteY44" fmla="*/ 343257 h 362278"/>
                <a:gd name="connsiteX45" fmla="*/ 226748 w 492512"/>
                <a:gd name="connsiteY45" fmla="*/ 327802 h 362278"/>
                <a:gd name="connsiteX46" fmla="*/ 208915 w 492512"/>
                <a:gd name="connsiteY46" fmla="*/ 317102 h 362278"/>
                <a:gd name="connsiteX47" fmla="*/ 192271 w 492512"/>
                <a:gd name="connsiteY47" fmla="*/ 313535 h 362278"/>
                <a:gd name="connsiteX48" fmla="*/ 165035 w 492512"/>
                <a:gd name="connsiteY48" fmla="*/ 311158 h 362278"/>
                <a:gd name="connsiteX49" fmla="*/ 141258 w 492512"/>
                <a:gd name="connsiteY49" fmla="*/ 305213 h 362278"/>
                <a:gd name="connsiteX50" fmla="*/ 122128 w 492512"/>
                <a:gd name="connsiteY50" fmla="*/ 295054 h 362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492512" h="362278" extrusionOk="0">
                  <a:moveTo>
                    <a:pt x="122128" y="295054"/>
                  </a:moveTo>
                  <a:lnTo>
                    <a:pt x="105485" y="271385"/>
                  </a:lnTo>
                  <a:lnTo>
                    <a:pt x="87652" y="238205"/>
                  </a:lnTo>
                  <a:lnTo>
                    <a:pt x="59227" y="188380"/>
                  </a:lnTo>
                  <a:lnTo>
                    <a:pt x="18914" y="137367"/>
                  </a:lnTo>
                  <a:lnTo>
                    <a:pt x="0" y="112510"/>
                  </a:lnTo>
                  <a:lnTo>
                    <a:pt x="73493" y="74574"/>
                  </a:lnTo>
                  <a:lnTo>
                    <a:pt x="117373" y="69818"/>
                  </a:lnTo>
                  <a:lnTo>
                    <a:pt x="137584" y="40097"/>
                  </a:lnTo>
                  <a:lnTo>
                    <a:pt x="166008" y="17617"/>
                  </a:lnTo>
                  <a:lnTo>
                    <a:pt x="185030" y="25939"/>
                  </a:lnTo>
                  <a:lnTo>
                    <a:pt x="207618" y="57930"/>
                  </a:lnTo>
                  <a:lnTo>
                    <a:pt x="227829" y="68630"/>
                  </a:lnTo>
                  <a:lnTo>
                    <a:pt x="269331" y="71008"/>
                  </a:lnTo>
                  <a:lnTo>
                    <a:pt x="287164" y="44961"/>
                  </a:lnTo>
                  <a:lnTo>
                    <a:pt x="303808" y="26047"/>
                  </a:lnTo>
                  <a:lnTo>
                    <a:pt x="378490" y="0"/>
                  </a:lnTo>
                  <a:lnTo>
                    <a:pt x="404537" y="15455"/>
                  </a:lnTo>
                  <a:lnTo>
                    <a:pt x="419992" y="40313"/>
                  </a:lnTo>
                  <a:lnTo>
                    <a:pt x="429503" y="47447"/>
                  </a:lnTo>
                  <a:lnTo>
                    <a:pt x="442581" y="60524"/>
                  </a:lnTo>
                  <a:lnTo>
                    <a:pt x="465169" y="72413"/>
                  </a:lnTo>
                  <a:lnTo>
                    <a:pt x="484191" y="89056"/>
                  </a:lnTo>
                  <a:lnTo>
                    <a:pt x="492513" y="130559"/>
                  </a:lnTo>
                  <a:lnTo>
                    <a:pt x="491324" y="186327"/>
                  </a:lnTo>
                  <a:lnTo>
                    <a:pt x="488946" y="199405"/>
                  </a:lnTo>
                  <a:lnTo>
                    <a:pt x="480624" y="201782"/>
                  </a:lnTo>
                  <a:lnTo>
                    <a:pt x="452200" y="205349"/>
                  </a:lnTo>
                  <a:lnTo>
                    <a:pt x="442689" y="220804"/>
                  </a:lnTo>
                  <a:lnTo>
                    <a:pt x="442689" y="221993"/>
                  </a:lnTo>
                  <a:lnTo>
                    <a:pt x="434367" y="236259"/>
                  </a:lnTo>
                  <a:lnTo>
                    <a:pt x="405942" y="252903"/>
                  </a:lnTo>
                  <a:lnTo>
                    <a:pt x="364440" y="275491"/>
                  </a:lnTo>
                  <a:lnTo>
                    <a:pt x="351363" y="294513"/>
                  </a:lnTo>
                  <a:lnTo>
                    <a:pt x="357307" y="311158"/>
                  </a:lnTo>
                  <a:lnTo>
                    <a:pt x="377517" y="326613"/>
                  </a:lnTo>
                  <a:lnTo>
                    <a:pt x="388217" y="334935"/>
                  </a:lnTo>
                  <a:lnTo>
                    <a:pt x="375140" y="340879"/>
                  </a:lnTo>
                  <a:lnTo>
                    <a:pt x="347904" y="349201"/>
                  </a:lnTo>
                  <a:lnTo>
                    <a:pt x="343149" y="358712"/>
                  </a:lnTo>
                  <a:lnTo>
                    <a:pt x="332449" y="358712"/>
                  </a:lnTo>
                  <a:lnTo>
                    <a:pt x="301647" y="362279"/>
                  </a:lnTo>
                  <a:lnTo>
                    <a:pt x="279058" y="362279"/>
                  </a:lnTo>
                  <a:lnTo>
                    <a:pt x="264792" y="357523"/>
                  </a:lnTo>
                  <a:lnTo>
                    <a:pt x="244581" y="343257"/>
                  </a:lnTo>
                  <a:lnTo>
                    <a:pt x="226748" y="327802"/>
                  </a:lnTo>
                  <a:lnTo>
                    <a:pt x="208915" y="317102"/>
                  </a:lnTo>
                  <a:lnTo>
                    <a:pt x="192271" y="313535"/>
                  </a:lnTo>
                  <a:lnTo>
                    <a:pt x="165035" y="311158"/>
                  </a:lnTo>
                  <a:lnTo>
                    <a:pt x="141258" y="305213"/>
                  </a:lnTo>
                  <a:lnTo>
                    <a:pt x="122128" y="295054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2" name="Полилиния: фигура 192"/>
            <p:cNvSpPr/>
            <p:nvPr/>
          </p:nvSpPr>
          <p:spPr bwMode="auto">
            <a:xfrm>
              <a:off x="5472572" y="4737431"/>
              <a:ext cx="223181" cy="338177"/>
            </a:xfrm>
            <a:custGeom>
              <a:avLst/>
              <a:gdLst>
                <a:gd name="connsiteX0" fmla="*/ 4755 w 223181"/>
                <a:gd name="connsiteY0" fmla="*/ 274086 h 338177"/>
                <a:gd name="connsiteX1" fmla="*/ 0 w 223181"/>
                <a:gd name="connsiteY1" fmla="*/ 284786 h 338177"/>
                <a:gd name="connsiteX2" fmla="*/ 4755 w 223181"/>
                <a:gd name="connsiteY2" fmla="*/ 297864 h 338177"/>
                <a:gd name="connsiteX3" fmla="*/ 5944 w 223181"/>
                <a:gd name="connsiteY3" fmla="*/ 326288 h 338177"/>
                <a:gd name="connsiteX4" fmla="*/ 16644 w 223181"/>
                <a:gd name="connsiteY4" fmla="*/ 338177 h 338177"/>
                <a:gd name="connsiteX5" fmla="*/ 45177 w 223181"/>
                <a:gd name="connsiteY5" fmla="*/ 338177 h 338177"/>
                <a:gd name="connsiteX6" fmla="*/ 66576 w 223181"/>
                <a:gd name="connsiteY6" fmla="*/ 317966 h 338177"/>
                <a:gd name="connsiteX7" fmla="*/ 84409 w 223181"/>
                <a:gd name="connsiteY7" fmla="*/ 307267 h 338177"/>
                <a:gd name="connsiteX8" fmla="*/ 105808 w 223181"/>
                <a:gd name="connsiteY8" fmla="*/ 294189 h 338177"/>
                <a:gd name="connsiteX9" fmla="*/ 110564 w 223181"/>
                <a:gd name="connsiteY9" fmla="*/ 275167 h 338177"/>
                <a:gd name="connsiteX10" fmla="*/ 129478 w 223181"/>
                <a:gd name="connsiteY10" fmla="*/ 270412 h 338177"/>
                <a:gd name="connsiteX11" fmla="*/ 162658 w 223181"/>
                <a:gd name="connsiteY11" fmla="*/ 239610 h 338177"/>
                <a:gd name="connsiteX12" fmla="*/ 189893 w 223181"/>
                <a:gd name="connsiteY12" fmla="*/ 209996 h 338177"/>
                <a:gd name="connsiteX13" fmla="*/ 198216 w 223181"/>
                <a:gd name="connsiteY13" fmla="*/ 186327 h 338177"/>
                <a:gd name="connsiteX14" fmla="*/ 223182 w 223181"/>
                <a:gd name="connsiteY14" fmla="*/ 169683 h 338177"/>
                <a:gd name="connsiteX15" fmla="*/ 178113 w 223181"/>
                <a:gd name="connsiteY15" fmla="*/ 128181 h 338177"/>
                <a:gd name="connsiteX16" fmla="*/ 181680 w 223181"/>
                <a:gd name="connsiteY16" fmla="*/ 77168 h 338177"/>
                <a:gd name="connsiteX17" fmla="*/ 150877 w 223181"/>
                <a:gd name="connsiteY17" fmla="*/ 70035 h 338177"/>
                <a:gd name="connsiteX18" fmla="*/ 136611 w 223181"/>
                <a:gd name="connsiteY18" fmla="*/ 26155 h 338177"/>
                <a:gd name="connsiteX19" fmla="*/ 119967 w 223181"/>
                <a:gd name="connsiteY19" fmla="*/ 20211 h 338177"/>
                <a:gd name="connsiteX20" fmla="*/ 66576 w 223181"/>
                <a:gd name="connsiteY20" fmla="*/ 22588 h 338177"/>
                <a:gd name="connsiteX21" fmla="*/ 54688 w 223181"/>
                <a:gd name="connsiteY21" fmla="*/ 13077 h 338177"/>
                <a:gd name="connsiteX22" fmla="*/ 39232 w 223181"/>
                <a:gd name="connsiteY22" fmla="*/ 0 h 338177"/>
                <a:gd name="connsiteX23" fmla="*/ 36854 w 223181"/>
                <a:gd name="connsiteY23" fmla="*/ 26047 h 338177"/>
                <a:gd name="connsiteX24" fmla="*/ 34477 w 223181"/>
                <a:gd name="connsiteY24" fmla="*/ 48635 h 338177"/>
                <a:gd name="connsiteX25" fmla="*/ 23777 w 223181"/>
                <a:gd name="connsiteY25" fmla="*/ 60524 h 338177"/>
                <a:gd name="connsiteX26" fmla="*/ 20211 w 223181"/>
                <a:gd name="connsiteY26" fmla="*/ 77168 h 338177"/>
                <a:gd name="connsiteX27" fmla="*/ 37935 w 223181"/>
                <a:gd name="connsiteY27" fmla="*/ 87868 h 338177"/>
                <a:gd name="connsiteX28" fmla="*/ 59335 w 223181"/>
                <a:gd name="connsiteY28" fmla="*/ 92623 h 338177"/>
                <a:gd name="connsiteX29" fmla="*/ 66468 w 223181"/>
                <a:gd name="connsiteY29" fmla="*/ 109267 h 338177"/>
                <a:gd name="connsiteX30" fmla="*/ 58146 w 223181"/>
                <a:gd name="connsiteY30" fmla="*/ 142447 h 338177"/>
                <a:gd name="connsiteX31" fmla="*/ 53391 w 223181"/>
                <a:gd name="connsiteY31" fmla="*/ 159091 h 338177"/>
                <a:gd name="connsiteX32" fmla="*/ 61713 w 223181"/>
                <a:gd name="connsiteY32" fmla="*/ 183949 h 338177"/>
                <a:gd name="connsiteX33" fmla="*/ 55768 w 223181"/>
                <a:gd name="connsiteY33" fmla="*/ 219507 h 338177"/>
                <a:gd name="connsiteX34" fmla="*/ 51013 w 223181"/>
                <a:gd name="connsiteY34" fmla="*/ 247932 h 338177"/>
                <a:gd name="connsiteX35" fmla="*/ 24966 w 223181"/>
                <a:gd name="connsiteY35" fmla="*/ 262198 h 338177"/>
                <a:gd name="connsiteX36" fmla="*/ 7241 w 223181"/>
                <a:gd name="connsiteY36" fmla="*/ 272898 h 338177"/>
                <a:gd name="connsiteX37" fmla="*/ 4755 w 223181"/>
                <a:gd name="connsiteY37" fmla="*/ 274086 h 33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23181" h="338177" extrusionOk="0">
                  <a:moveTo>
                    <a:pt x="4755" y="274086"/>
                  </a:moveTo>
                  <a:lnTo>
                    <a:pt x="0" y="284786"/>
                  </a:lnTo>
                  <a:lnTo>
                    <a:pt x="4755" y="297864"/>
                  </a:lnTo>
                  <a:lnTo>
                    <a:pt x="5944" y="326288"/>
                  </a:lnTo>
                  <a:lnTo>
                    <a:pt x="16644" y="338177"/>
                  </a:lnTo>
                  <a:lnTo>
                    <a:pt x="45177" y="338177"/>
                  </a:lnTo>
                  <a:lnTo>
                    <a:pt x="66576" y="317966"/>
                  </a:lnTo>
                  <a:lnTo>
                    <a:pt x="84409" y="307267"/>
                  </a:lnTo>
                  <a:lnTo>
                    <a:pt x="105808" y="294189"/>
                  </a:lnTo>
                  <a:lnTo>
                    <a:pt x="110564" y="275167"/>
                  </a:lnTo>
                  <a:lnTo>
                    <a:pt x="129478" y="270412"/>
                  </a:lnTo>
                  <a:lnTo>
                    <a:pt x="162658" y="239610"/>
                  </a:lnTo>
                  <a:lnTo>
                    <a:pt x="189893" y="209996"/>
                  </a:lnTo>
                  <a:lnTo>
                    <a:pt x="198216" y="186327"/>
                  </a:lnTo>
                  <a:lnTo>
                    <a:pt x="223182" y="169683"/>
                  </a:lnTo>
                  <a:lnTo>
                    <a:pt x="178113" y="128181"/>
                  </a:lnTo>
                  <a:lnTo>
                    <a:pt x="181680" y="77168"/>
                  </a:lnTo>
                  <a:lnTo>
                    <a:pt x="150877" y="70035"/>
                  </a:lnTo>
                  <a:lnTo>
                    <a:pt x="136611" y="26155"/>
                  </a:lnTo>
                  <a:lnTo>
                    <a:pt x="119967" y="20211"/>
                  </a:lnTo>
                  <a:lnTo>
                    <a:pt x="66576" y="22588"/>
                  </a:lnTo>
                  <a:lnTo>
                    <a:pt x="54688" y="13077"/>
                  </a:lnTo>
                  <a:lnTo>
                    <a:pt x="39232" y="0"/>
                  </a:lnTo>
                  <a:lnTo>
                    <a:pt x="36854" y="26047"/>
                  </a:lnTo>
                  <a:lnTo>
                    <a:pt x="34477" y="48635"/>
                  </a:lnTo>
                  <a:lnTo>
                    <a:pt x="23777" y="60524"/>
                  </a:lnTo>
                  <a:lnTo>
                    <a:pt x="20211" y="77168"/>
                  </a:lnTo>
                  <a:lnTo>
                    <a:pt x="37935" y="87868"/>
                  </a:lnTo>
                  <a:lnTo>
                    <a:pt x="59335" y="92623"/>
                  </a:lnTo>
                  <a:lnTo>
                    <a:pt x="66468" y="109267"/>
                  </a:lnTo>
                  <a:lnTo>
                    <a:pt x="58146" y="142447"/>
                  </a:lnTo>
                  <a:lnTo>
                    <a:pt x="53391" y="159091"/>
                  </a:lnTo>
                  <a:lnTo>
                    <a:pt x="61713" y="183949"/>
                  </a:lnTo>
                  <a:lnTo>
                    <a:pt x="55768" y="219507"/>
                  </a:lnTo>
                  <a:lnTo>
                    <a:pt x="51013" y="247932"/>
                  </a:lnTo>
                  <a:lnTo>
                    <a:pt x="24966" y="262198"/>
                  </a:lnTo>
                  <a:lnTo>
                    <a:pt x="7241" y="272898"/>
                  </a:lnTo>
                  <a:lnTo>
                    <a:pt x="4755" y="274086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3" name="Полилиния: фигура 193"/>
            <p:cNvSpPr/>
            <p:nvPr/>
          </p:nvSpPr>
          <p:spPr bwMode="auto">
            <a:xfrm>
              <a:off x="5882620" y="3788503"/>
              <a:ext cx="1235118" cy="1290238"/>
            </a:xfrm>
            <a:custGeom>
              <a:avLst/>
              <a:gdLst>
                <a:gd name="connsiteX0" fmla="*/ 1192428 w 1235118"/>
                <a:gd name="connsiteY0" fmla="*/ 667924 h 1290238"/>
                <a:gd name="connsiteX1" fmla="*/ 1229174 w 1235118"/>
                <a:gd name="connsiteY1" fmla="*/ 652469 h 1290238"/>
                <a:gd name="connsiteX2" fmla="*/ 1235119 w 1235118"/>
                <a:gd name="connsiteY2" fmla="*/ 633555 h 1290238"/>
                <a:gd name="connsiteX3" fmla="*/ 1218475 w 1235118"/>
                <a:gd name="connsiteY3" fmla="*/ 608697 h 1290238"/>
                <a:gd name="connsiteX4" fmla="*/ 1193616 w 1235118"/>
                <a:gd name="connsiteY4" fmla="*/ 552928 h 1290238"/>
                <a:gd name="connsiteX5" fmla="*/ 1180539 w 1235118"/>
                <a:gd name="connsiteY5" fmla="*/ 514993 h 1290238"/>
                <a:gd name="connsiteX6" fmla="*/ 1179350 w 1235118"/>
                <a:gd name="connsiteY6" fmla="*/ 514993 h 1290238"/>
                <a:gd name="connsiteX7" fmla="*/ 1146170 w 1235118"/>
                <a:gd name="connsiteY7" fmla="*/ 520937 h 1290238"/>
                <a:gd name="connsiteX8" fmla="*/ 1146170 w 1235118"/>
                <a:gd name="connsiteY8" fmla="*/ 522126 h 1290238"/>
                <a:gd name="connsiteX9" fmla="*/ 1133093 w 1235118"/>
                <a:gd name="connsiteY9" fmla="*/ 530448 h 1290238"/>
                <a:gd name="connsiteX10" fmla="*/ 1128337 w 1235118"/>
                <a:gd name="connsiteY10" fmla="*/ 513804 h 1290238"/>
                <a:gd name="connsiteX11" fmla="*/ 1127148 w 1235118"/>
                <a:gd name="connsiteY11" fmla="*/ 463980 h 1290238"/>
                <a:gd name="connsiteX12" fmla="*/ 1111693 w 1235118"/>
                <a:gd name="connsiteY12" fmla="*/ 442580 h 1290238"/>
                <a:gd name="connsiteX13" fmla="*/ 1069002 w 1235118"/>
                <a:gd name="connsiteY13" fmla="*/ 427125 h 1290238"/>
                <a:gd name="connsiteX14" fmla="*/ 1008478 w 1235118"/>
                <a:gd name="connsiteY14" fmla="*/ 416426 h 1290238"/>
                <a:gd name="connsiteX15" fmla="*/ 1000156 w 1235118"/>
                <a:gd name="connsiteY15" fmla="*/ 462683 h 1290238"/>
                <a:gd name="connsiteX16" fmla="*/ 977568 w 1235118"/>
                <a:gd name="connsiteY16" fmla="*/ 500618 h 1290238"/>
                <a:gd name="connsiteX17" fmla="*/ 946766 w 1235118"/>
                <a:gd name="connsiteY17" fmla="*/ 537365 h 1290238"/>
                <a:gd name="connsiteX18" fmla="*/ 914774 w 1235118"/>
                <a:gd name="connsiteY18" fmla="*/ 562223 h 1290238"/>
                <a:gd name="connsiteX19" fmla="*/ 893375 w 1235118"/>
                <a:gd name="connsiteY19" fmla="*/ 571734 h 1290238"/>
                <a:gd name="connsiteX20" fmla="*/ 882675 w 1235118"/>
                <a:gd name="connsiteY20" fmla="*/ 562223 h 1290238"/>
                <a:gd name="connsiteX21" fmla="*/ 870787 w 1235118"/>
                <a:gd name="connsiteY21" fmla="*/ 543309 h 1290238"/>
                <a:gd name="connsiteX22" fmla="*/ 806696 w 1235118"/>
                <a:gd name="connsiteY22" fmla="*/ 555198 h 1290238"/>
                <a:gd name="connsiteX23" fmla="*/ 778272 w 1235118"/>
                <a:gd name="connsiteY23" fmla="*/ 577786 h 1290238"/>
                <a:gd name="connsiteX24" fmla="*/ 747469 w 1235118"/>
                <a:gd name="connsiteY24" fmla="*/ 581353 h 1290238"/>
                <a:gd name="connsiteX25" fmla="*/ 730825 w 1235118"/>
                <a:gd name="connsiteY25" fmla="*/ 573031 h 1290238"/>
                <a:gd name="connsiteX26" fmla="*/ 715370 w 1235118"/>
                <a:gd name="connsiteY26" fmla="*/ 551631 h 1290238"/>
                <a:gd name="connsiteX27" fmla="*/ 715370 w 1235118"/>
                <a:gd name="connsiteY27" fmla="*/ 550443 h 1290238"/>
                <a:gd name="connsiteX28" fmla="*/ 707048 w 1235118"/>
                <a:gd name="connsiteY28" fmla="*/ 510129 h 1290238"/>
                <a:gd name="connsiteX29" fmla="*/ 710615 w 1235118"/>
                <a:gd name="connsiteY29" fmla="*/ 475761 h 1290238"/>
                <a:gd name="connsiteX30" fmla="*/ 727259 w 1235118"/>
                <a:gd name="connsiteY30" fmla="*/ 462683 h 1290238"/>
                <a:gd name="connsiteX31" fmla="*/ 747469 w 1235118"/>
                <a:gd name="connsiteY31" fmla="*/ 446039 h 1290238"/>
                <a:gd name="connsiteX32" fmla="*/ 755791 w 1235118"/>
                <a:gd name="connsiteY32" fmla="*/ 387893 h 1290238"/>
                <a:gd name="connsiteX33" fmla="*/ 771247 w 1235118"/>
                <a:gd name="connsiteY33" fmla="*/ 357090 h 1290238"/>
                <a:gd name="connsiteX34" fmla="*/ 776002 w 1235118"/>
                <a:gd name="connsiteY34" fmla="*/ 345202 h 1290238"/>
                <a:gd name="connsiteX35" fmla="*/ 726178 w 1235118"/>
                <a:gd name="connsiteY35" fmla="*/ 310833 h 1290238"/>
                <a:gd name="connsiteX36" fmla="*/ 738066 w 1235118"/>
                <a:gd name="connsiteY36" fmla="*/ 265764 h 1290238"/>
                <a:gd name="connsiteX37" fmla="*/ 738066 w 1235118"/>
                <a:gd name="connsiteY37" fmla="*/ 264575 h 1290238"/>
                <a:gd name="connsiteX38" fmla="*/ 751144 w 1235118"/>
                <a:gd name="connsiteY38" fmla="*/ 244365 h 1290238"/>
                <a:gd name="connsiteX39" fmla="*/ 748766 w 1235118"/>
                <a:gd name="connsiteY39" fmla="*/ 220588 h 1290238"/>
                <a:gd name="connsiteX40" fmla="*/ 723908 w 1235118"/>
                <a:gd name="connsiteY40" fmla="*/ 198107 h 1290238"/>
                <a:gd name="connsiteX41" fmla="*/ 710831 w 1235118"/>
                <a:gd name="connsiteY41" fmla="*/ 181463 h 1290238"/>
                <a:gd name="connsiteX42" fmla="*/ 740444 w 1235118"/>
                <a:gd name="connsiteY42" fmla="*/ 163739 h 1290238"/>
                <a:gd name="connsiteX43" fmla="*/ 739255 w 1235118"/>
                <a:gd name="connsiteY43" fmla="*/ 116292 h 1290238"/>
                <a:gd name="connsiteX44" fmla="*/ 739255 w 1235118"/>
                <a:gd name="connsiteY44" fmla="*/ 115103 h 1290238"/>
                <a:gd name="connsiteX45" fmla="*/ 722611 w 1235118"/>
                <a:gd name="connsiteY45" fmla="*/ 93704 h 1290238"/>
                <a:gd name="connsiteX46" fmla="*/ 684676 w 1235118"/>
                <a:gd name="connsiteY46" fmla="*/ 68846 h 1290238"/>
                <a:gd name="connsiteX47" fmla="*/ 672787 w 1235118"/>
                <a:gd name="connsiteY47" fmla="*/ 65279 h 1290238"/>
                <a:gd name="connsiteX48" fmla="*/ 672787 w 1235118"/>
                <a:gd name="connsiteY48" fmla="*/ 43880 h 1290238"/>
                <a:gd name="connsiteX49" fmla="*/ 687053 w 1235118"/>
                <a:gd name="connsiteY49" fmla="*/ 21399 h 1290238"/>
                <a:gd name="connsiteX50" fmla="*/ 682298 w 1235118"/>
                <a:gd name="connsiteY50" fmla="*/ 8322 h 1290238"/>
                <a:gd name="connsiteX51" fmla="*/ 659710 w 1235118"/>
                <a:gd name="connsiteY51" fmla="*/ 0 h 1290238"/>
                <a:gd name="connsiteX52" fmla="*/ 651388 w 1235118"/>
                <a:gd name="connsiteY52" fmla="*/ 10700 h 1290238"/>
                <a:gd name="connsiteX53" fmla="*/ 621774 w 1235118"/>
                <a:gd name="connsiteY53" fmla="*/ 34477 h 1290238"/>
                <a:gd name="connsiteX54" fmla="*/ 603941 w 1235118"/>
                <a:gd name="connsiteY54" fmla="*/ 32099 h 1290238"/>
                <a:gd name="connsiteX55" fmla="*/ 583731 w 1235118"/>
                <a:gd name="connsiteY55" fmla="*/ 32099 h 1290238"/>
                <a:gd name="connsiteX56" fmla="*/ 563520 w 1235118"/>
                <a:gd name="connsiteY56" fmla="*/ 47554 h 1290238"/>
                <a:gd name="connsiteX57" fmla="*/ 567086 w 1235118"/>
                <a:gd name="connsiteY57" fmla="*/ 87867 h 1290238"/>
                <a:gd name="connsiteX58" fmla="*/ 567086 w 1235118"/>
                <a:gd name="connsiteY58" fmla="*/ 89056 h 1290238"/>
                <a:gd name="connsiteX59" fmla="*/ 554009 w 1235118"/>
                <a:gd name="connsiteY59" fmla="*/ 111645 h 1290238"/>
                <a:gd name="connsiteX60" fmla="*/ 554009 w 1235118"/>
                <a:gd name="connsiteY60" fmla="*/ 112833 h 1290238"/>
                <a:gd name="connsiteX61" fmla="*/ 538554 w 1235118"/>
                <a:gd name="connsiteY61" fmla="*/ 147203 h 1290238"/>
                <a:gd name="connsiteX62" fmla="*/ 564601 w 1235118"/>
                <a:gd name="connsiteY62" fmla="*/ 167413 h 1290238"/>
                <a:gd name="connsiteX63" fmla="*/ 576490 w 1235118"/>
                <a:gd name="connsiteY63" fmla="*/ 191082 h 1290238"/>
                <a:gd name="connsiteX64" fmla="*/ 576490 w 1235118"/>
                <a:gd name="connsiteY64" fmla="*/ 197027 h 1290238"/>
                <a:gd name="connsiteX65" fmla="*/ 551631 w 1235118"/>
                <a:gd name="connsiteY65" fmla="*/ 231395 h 1290238"/>
                <a:gd name="connsiteX66" fmla="*/ 548065 w 1235118"/>
                <a:gd name="connsiteY66" fmla="*/ 265764 h 1290238"/>
                <a:gd name="connsiteX67" fmla="*/ 546876 w 1235118"/>
                <a:gd name="connsiteY67" fmla="*/ 266953 h 1290238"/>
                <a:gd name="connsiteX68" fmla="*/ 521910 w 1235118"/>
                <a:gd name="connsiteY68" fmla="*/ 290622 h 1290238"/>
                <a:gd name="connsiteX69" fmla="*/ 487541 w 1235118"/>
                <a:gd name="connsiteY69" fmla="*/ 323802 h 1290238"/>
                <a:gd name="connsiteX70" fmla="*/ 482786 w 1235118"/>
                <a:gd name="connsiteY70" fmla="*/ 355794 h 1290238"/>
                <a:gd name="connsiteX71" fmla="*/ 465061 w 1235118"/>
                <a:gd name="connsiteY71" fmla="*/ 384218 h 1290238"/>
                <a:gd name="connsiteX72" fmla="*/ 465061 w 1235118"/>
                <a:gd name="connsiteY72" fmla="*/ 415021 h 1290238"/>
                <a:gd name="connsiteX73" fmla="*/ 475761 w 1235118"/>
                <a:gd name="connsiteY73" fmla="*/ 437609 h 1290238"/>
                <a:gd name="connsiteX74" fmla="*/ 510129 w 1235118"/>
                <a:gd name="connsiteY74" fmla="*/ 454253 h 1290238"/>
                <a:gd name="connsiteX75" fmla="*/ 513696 w 1235118"/>
                <a:gd name="connsiteY75" fmla="*/ 483866 h 1290238"/>
                <a:gd name="connsiteX76" fmla="*/ 488838 w 1235118"/>
                <a:gd name="connsiteY76" fmla="*/ 495755 h 1290238"/>
                <a:gd name="connsiteX77" fmla="*/ 484082 w 1235118"/>
                <a:gd name="connsiteY77" fmla="*/ 521802 h 1290238"/>
                <a:gd name="connsiteX78" fmla="*/ 498349 w 1235118"/>
                <a:gd name="connsiteY78" fmla="*/ 550226 h 1290238"/>
                <a:gd name="connsiteX79" fmla="*/ 492405 w 1235118"/>
                <a:gd name="connsiteY79" fmla="*/ 571626 h 1290238"/>
                <a:gd name="connsiteX80" fmla="*/ 471005 w 1235118"/>
                <a:gd name="connsiteY80" fmla="*/ 591837 h 1290238"/>
                <a:gd name="connsiteX81" fmla="*/ 471005 w 1235118"/>
                <a:gd name="connsiteY81" fmla="*/ 626205 h 1290238"/>
                <a:gd name="connsiteX82" fmla="*/ 450794 w 1235118"/>
                <a:gd name="connsiteY82" fmla="*/ 625017 h 1290238"/>
                <a:gd name="connsiteX83" fmla="*/ 409292 w 1235118"/>
                <a:gd name="connsiteY83" fmla="*/ 585892 h 1290238"/>
                <a:gd name="connsiteX84" fmla="*/ 379679 w 1235118"/>
                <a:gd name="connsiteY84" fmla="*/ 559845 h 1290238"/>
                <a:gd name="connsiteX85" fmla="*/ 354821 w 1235118"/>
                <a:gd name="connsiteY85" fmla="*/ 559845 h 1290238"/>
                <a:gd name="connsiteX86" fmla="*/ 352443 w 1235118"/>
                <a:gd name="connsiteY86" fmla="*/ 597781 h 1290238"/>
                <a:gd name="connsiteX87" fmla="*/ 315697 w 1235118"/>
                <a:gd name="connsiteY87" fmla="*/ 640472 h 1290238"/>
                <a:gd name="connsiteX88" fmla="*/ 296783 w 1235118"/>
                <a:gd name="connsiteY88" fmla="*/ 673652 h 1290238"/>
                <a:gd name="connsiteX89" fmla="*/ 295594 w 1235118"/>
                <a:gd name="connsiteY89" fmla="*/ 673652 h 1290238"/>
                <a:gd name="connsiteX90" fmla="*/ 270736 w 1235118"/>
                <a:gd name="connsiteY90" fmla="*/ 709210 h 1290238"/>
                <a:gd name="connsiteX91" fmla="*/ 270736 w 1235118"/>
                <a:gd name="connsiteY91" fmla="*/ 710398 h 1290238"/>
                <a:gd name="connsiteX92" fmla="*/ 252903 w 1235118"/>
                <a:gd name="connsiteY92" fmla="*/ 732987 h 1290238"/>
                <a:gd name="connsiteX93" fmla="*/ 242203 w 1235118"/>
                <a:gd name="connsiteY93" fmla="*/ 724665 h 1290238"/>
                <a:gd name="connsiteX94" fmla="*/ 231504 w 1235118"/>
                <a:gd name="connsiteY94" fmla="*/ 684352 h 1290238"/>
                <a:gd name="connsiteX95" fmla="*/ 220804 w 1235118"/>
                <a:gd name="connsiteY95" fmla="*/ 666519 h 1290238"/>
                <a:gd name="connsiteX96" fmla="*/ 191190 w 1235118"/>
                <a:gd name="connsiteY96" fmla="*/ 691377 h 1290238"/>
                <a:gd name="connsiteX97" fmla="*/ 191190 w 1235118"/>
                <a:gd name="connsiteY97" fmla="*/ 693754 h 1290238"/>
                <a:gd name="connsiteX98" fmla="*/ 168602 w 1235118"/>
                <a:gd name="connsiteY98" fmla="*/ 704454 h 1290238"/>
                <a:gd name="connsiteX99" fmla="*/ 136611 w 1235118"/>
                <a:gd name="connsiteY99" fmla="*/ 685541 h 1290238"/>
                <a:gd name="connsiteX100" fmla="*/ 119967 w 1235118"/>
                <a:gd name="connsiteY100" fmla="*/ 690296 h 1290238"/>
                <a:gd name="connsiteX101" fmla="*/ 98567 w 1235118"/>
                <a:gd name="connsiteY101" fmla="*/ 725854 h 1290238"/>
                <a:gd name="connsiteX102" fmla="*/ 93812 w 1235118"/>
                <a:gd name="connsiteY102" fmla="*/ 775678 h 1290238"/>
                <a:gd name="connsiteX103" fmla="*/ 112726 w 1235118"/>
                <a:gd name="connsiteY103" fmla="*/ 785189 h 1290238"/>
                <a:gd name="connsiteX104" fmla="*/ 110348 w 1235118"/>
                <a:gd name="connsiteY104" fmla="*/ 810047 h 1290238"/>
                <a:gd name="connsiteX105" fmla="*/ 103215 w 1235118"/>
                <a:gd name="connsiteY105" fmla="*/ 833716 h 1290238"/>
                <a:gd name="connsiteX106" fmla="*/ 68846 w 1235118"/>
                <a:gd name="connsiteY106" fmla="*/ 883540 h 1290238"/>
                <a:gd name="connsiteX107" fmla="*/ 64090 w 1235118"/>
                <a:gd name="connsiteY107" fmla="*/ 926231 h 1290238"/>
                <a:gd name="connsiteX108" fmla="*/ 54579 w 1235118"/>
                <a:gd name="connsiteY108" fmla="*/ 958222 h 1290238"/>
                <a:gd name="connsiteX109" fmla="*/ 42691 w 1235118"/>
                <a:gd name="connsiteY109" fmla="*/ 977136 h 1290238"/>
                <a:gd name="connsiteX110" fmla="*/ 33180 w 1235118"/>
                <a:gd name="connsiteY110" fmla="*/ 1011505 h 1290238"/>
                <a:gd name="connsiteX111" fmla="*/ 0 w 1235118"/>
                <a:gd name="connsiteY111" fmla="*/ 1024582 h 1290238"/>
                <a:gd name="connsiteX112" fmla="*/ 13077 w 1235118"/>
                <a:gd name="connsiteY112" fmla="*/ 1054195 h 1290238"/>
                <a:gd name="connsiteX113" fmla="*/ 34477 w 1235118"/>
                <a:gd name="connsiteY113" fmla="*/ 1072028 h 1290238"/>
                <a:gd name="connsiteX114" fmla="*/ 54688 w 1235118"/>
                <a:gd name="connsiteY114" fmla="*/ 1088672 h 1290238"/>
                <a:gd name="connsiteX115" fmla="*/ 89056 w 1235118"/>
                <a:gd name="connsiteY115" fmla="*/ 1120664 h 1290238"/>
                <a:gd name="connsiteX116" fmla="*/ 150769 w 1235118"/>
                <a:gd name="connsiteY116" fmla="*/ 1132552 h 1290238"/>
                <a:gd name="connsiteX117" fmla="*/ 163846 w 1235118"/>
                <a:gd name="connsiteY117" fmla="*/ 1158599 h 1290238"/>
                <a:gd name="connsiteX118" fmla="*/ 181680 w 1235118"/>
                <a:gd name="connsiteY118" fmla="*/ 1164544 h 1290238"/>
                <a:gd name="connsiteX119" fmla="*/ 200701 w 1235118"/>
                <a:gd name="connsiteY119" fmla="*/ 1139685 h 1290238"/>
                <a:gd name="connsiteX120" fmla="*/ 235070 w 1235118"/>
                <a:gd name="connsiteY120" fmla="*/ 1132552 h 1290238"/>
                <a:gd name="connsiteX121" fmla="*/ 283706 w 1235118"/>
                <a:gd name="connsiteY121" fmla="*/ 1166921 h 1290238"/>
                <a:gd name="connsiteX122" fmla="*/ 338285 w 1235118"/>
                <a:gd name="connsiteY122" fmla="*/ 1217934 h 1290238"/>
                <a:gd name="connsiteX123" fmla="*/ 384542 w 1235118"/>
                <a:gd name="connsiteY123" fmla="*/ 1245170 h 1290238"/>
                <a:gd name="connsiteX124" fmla="*/ 397620 w 1235118"/>
                <a:gd name="connsiteY124" fmla="*/ 1277161 h 1290238"/>
                <a:gd name="connsiteX125" fmla="*/ 424856 w 1235118"/>
                <a:gd name="connsiteY125" fmla="*/ 1278350 h 1290238"/>
                <a:gd name="connsiteX126" fmla="*/ 448525 w 1235118"/>
                <a:gd name="connsiteY126" fmla="*/ 1290238 h 1290238"/>
                <a:gd name="connsiteX127" fmla="*/ 478138 w 1235118"/>
                <a:gd name="connsiteY127" fmla="*/ 1287861 h 1290238"/>
                <a:gd name="connsiteX128" fmla="*/ 459225 w 1235118"/>
                <a:gd name="connsiteY128" fmla="*/ 1286672 h 1290238"/>
                <a:gd name="connsiteX129" fmla="*/ 471113 w 1235118"/>
                <a:gd name="connsiteY129" fmla="*/ 1273595 h 1290238"/>
                <a:gd name="connsiteX130" fmla="*/ 492513 w 1235118"/>
                <a:gd name="connsiteY130" fmla="*/ 1262895 h 1290238"/>
                <a:gd name="connsiteX131" fmla="*/ 512723 w 1235118"/>
                <a:gd name="connsiteY131" fmla="*/ 1253384 h 1290238"/>
                <a:gd name="connsiteX132" fmla="*/ 562547 w 1235118"/>
                <a:gd name="connsiteY132" fmla="*/ 1188105 h 1290238"/>
                <a:gd name="connsiteX133" fmla="*/ 593350 w 1235118"/>
                <a:gd name="connsiteY133" fmla="*/ 1148980 h 1290238"/>
                <a:gd name="connsiteX134" fmla="*/ 611183 w 1235118"/>
                <a:gd name="connsiteY134" fmla="*/ 1119367 h 1290238"/>
                <a:gd name="connsiteX135" fmla="*/ 631393 w 1235118"/>
                <a:gd name="connsiteY135" fmla="*/ 1094509 h 1290238"/>
                <a:gd name="connsiteX136" fmla="*/ 659818 w 1235118"/>
                <a:gd name="connsiteY136" fmla="*/ 1070731 h 1290238"/>
                <a:gd name="connsiteX137" fmla="*/ 701320 w 1235118"/>
                <a:gd name="connsiteY137" fmla="*/ 1010208 h 1290238"/>
                <a:gd name="connsiteX138" fmla="*/ 691809 w 1235118"/>
                <a:gd name="connsiteY138" fmla="*/ 997130 h 1290238"/>
                <a:gd name="connsiteX139" fmla="*/ 675165 w 1235118"/>
                <a:gd name="connsiteY139" fmla="*/ 963950 h 1290238"/>
                <a:gd name="connsiteX140" fmla="*/ 666843 w 1235118"/>
                <a:gd name="connsiteY140" fmla="*/ 926015 h 1290238"/>
                <a:gd name="connsiteX141" fmla="*/ 685757 w 1235118"/>
                <a:gd name="connsiteY141" fmla="*/ 891646 h 1290238"/>
                <a:gd name="connsiteX142" fmla="*/ 707156 w 1235118"/>
                <a:gd name="connsiteY142" fmla="*/ 872624 h 1290238"/>
                <a:gd name="connsiteX143" fmla="*/ 690512 w 1235118"/>
                <a:gd name="connsiteY143" fmla="*/ 854791 h 1290238"/>
                <a:gd name="connsiteX144" fmla="*/ 675057 w 1235118"/>
                <a:gd name="connsiteY144" fmla="*/ 840525 h 1290238"/>
                <a:gd name="connsiteX145" fmla="*/ 663168 w 1235118"/>
                <a:gd name="connsiteY145" fmla="*/ 819125 h 1290238"/>
                <a:gd name="connsiteX146" fmla="*/ 677435 w 1235118"/>
                <a:gd name="connsiteY146" fmla="*/ 809614 h 1290238"/>
                <a:gd name="connsiteX147" fmla="*/ 745091 w 1235118"/>
                <a:gd name="connsiteY147" fmla="*/ 804859 h 1290238"/>
                <a:gd name="connsiteX148" fmla="*/ 768761 w 1235118"/>
                <a:gd name="connsiteY148" fmla="*/ 784648 h 1290238"/>
                <a:gd name="connsiteX149" fmla="*/ 791349 w 1235118"/>
                <a:gd name="connsiteY149" fmla="*/ 790593 h 1290238"/>
                <a:gd name="connsiteX150" fmla="*/ 815018 w 1235118"/>
                <a:gd name="connsiteY150" fmla="*/ 787026 h 1290238"/>
                <a:gd name="connsiteX151" fmla="*/ 826907 w 1235118"/>
                <a:gd name="connsiteY151" fmla="*/ 776326 h 1290238"/>
                <a:gd name="connsiteX152" fmla="*/ 845820 w 1235118"/>
                <a:gd name="connsiteY152" fmla="*/ 791781 h 1290238"/>
                <a:gd name="connsiteX153" fmla="*/ 856520 w 1235118"/>
                <a:gd name="connsiteY153" fmla="*/ 800104 h 1290238"/>
                <a:gd name="connsiteX154" fmla="*/ 868409 w 1235118"/>
                <a:gd name="connsiteY154" fmla="*/ 790593 h 1290238"/>
                <a:gd name="connsiteX155" fmla="*/ 869598 w 1235118"/>
                <a:gd name="connsiteY155" fmla="*/ 790593 h 1290238"/>
                <a:gd name="connsiteX156" fmla="*/ 889808 w 1235118"/>
                <a:gd name="connsiteY156" fmla="*/ 781082 h 1290238"/>
                <a:gd name="connsiteX157" fmla="*/ 892186 w 1235118"/>
                <a:gd name="connsiteY157" fmla="*/ 781082 h 1290238"/>
                <a:gd name="connsiteX158" fmla="*/ 912397 w 1235118"/>
                <a:gd name="connsiteY158" fmla="*/ 798915 h 1290238"/>
                <a:gd name="connsiteX159" fmla="*/ 920719 w 1235118"/>
                <a:gd name="connsiteY159" fmla="*/ 819125 h 1290238"/>
                <a:gd name="connsiteX160" fmla="*/ 936174 w 1235118"/>
                <a:gd name="connsiteY160" fmla="*/ 820314 h 1290238"/>
                <a:gd name="connsiteX161" fmla="*/ 948062 w 1235118"/>
                <a:gd name="connsiteY161" fmla="*/ 820314 h 1290238"/>
                <a:gd name="connsiteX162" fmla="*/ 975298 w 1235118"/>
                <a:gd name="connsiteY162" fmla="*/ 819125 h 1290238"/>
                <a:gd name="connsiteX163" fmla="*/ 999075 w 1235118"/>
                <a:gd name="connsiteY163" fmla="*/ 801292 h 1290238"/>
                <a:gd name="connsiteX164" fmla="*/ 1026311 w 1235118"/>
                <a:gd name="connsiteY164" fmla="*/ 791781 h 1290238"/>
                <a:gd name="connsiteX165" fmla="*/ 1057114 w 1235118"/>
                <a:gd name="connsiteY165" fmla="*/ 769193 h 1290238"/>
                <a:gd name="connsiteX166" fmla="*/ 1074947 w 1235118"/>
                <a:gd name="connsiteY166" fmla="*/ 748982 h 1290238"/>
                <a:gd name="connsiteX167" fmla="*/ 1063058 w 1235118"/>
                <a:gd name="connsiteY167" fmla="*/ 775029 h 1290238"/>
                <a:gd name="connsiteX168" fmla="*/ 1064247 w 1235118"/>
                <a:gd name="connsiteY168" fmla="*/ 785729 h 1290238"/>
                <a:gd name="connsiteX169" fmla="*/ 1076135 w 1235118"/>
                <a:gd name="connsiteY169" fmla="*/ 801184 h 1290238"/>
                <a:gd name="connsiteX170" fmla="*/ 1127148 w 1235118"/>
                <a:gd name="connsiteY170" fmla="*/ 798806 h 1290238"/>
                <a:gd name="connsiteX171" fmla="*/ 1148548 w 1235118"/>
                <a:gd name="connsiteY171" fmla="*/ 780974 h 1290238"/>
                <a:gd name="connsiteX172" fmla="*/ 1150926 w 1235118"/>
                <a:gd name="connsiteY172" fmla="*/ 759574 h 1290238"/>
                <a:gd name="connsiteX173" fmla="*/ 1121312 w 1235118"/>
                <a:gd name="connsiteY173" fmla="*/ 714505 h 1290238"/>
                <a:gd name="connsiteX174" fmla="*/ 1129634 w 1235118"/>
                <a:gd name="connsiteY174" fmla="*/ 690728 h 1290238"/>
                <a:gd name="connsiteX175" fmla="*/ 1148548 w 1235118"/>
                <a:gd name="connsiteY175" fmla="*/ 678840 h 1290238"/>
                <a:gd name="connsiteX176" fmla="*/ 1148548 w 1235118"/>
                <a:gd name="connsiteY176" fmla="*/ 677651 h 1290238"/>
                <a:gd name="connsiteX177" fmla="*/ 1150926 w 1235118"/>
                <a:gd name="connsiteY177" fmla="*/ 651604 h 1290238"/>
                <a:gd name="connsiteX178" fmla="*/ 1152114 w 1235118"/>
                <a:gd name="connsiteY178" fmla="*/ 652793 h 1290238"/>
                <a:gd name="connsiteX179" fmla="*/ 1184106 w 1235118"/>
                <a:gd name="connsiteY179" fmla="*/ 651604 h 1290238"/>
                <a:gd name="connsiteX180" fmla="*/ 1192428 w 1235118"/>
                <a:gd name="connsiteY180" fmla="*/ 667924 h 129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35118" h="1290238" extrusionOk="0">
                  <a:moveTo>
                    <a:pt x="1192428" y="667924"/>
                  </a:moveTo>
                  <a:lnTo>
                    <a:pt x="1229174" y="652469"/>
                  </a:lnTo>
                  <a:lnTo>
                    <a:pt x="1235119" y="633555"/>
                  </a:lnTo>
                  <a:lnTo>
                    <a:pt x="1218475" y="608697"/>
                  </a:lnTo>
                  <a:lnTo>
                    <a:pt x="1193616" y="552928"/>
                  </a:lnTo>
                  <a:lnTo>
                    <a:pt x="1180539" y="514993"/>
                  </a:lnTo>
                  <a:lnTo>
                    <a:pt x="1179350" y="514993"/>
                  </a:lnTo>
                  <a:lnTo>
                    <a:pt x="1146170" y="520937"/>
                  </a:lnTo>
                  <a:lnTo>
                    <a:pt x="1146170" y="522126"/>
                  </a:lnTo>
                  <a:lnTo>
                    <a:pt x="1133093" y="530448"/>
                  </a:lnTo>
                  <a:lnTo>
                    <a:pt x="1128337" y="513804"/>
                  </a:lnTo>
                  <a:lnTo>
                    <a:pt x="1127148" y="463980"/>
                  </a:lnTo>
                  <a:lnTo>
                    <a:pt x="1111693" y="442580"/>
                  </a:lnTo>
                  <a:lnTo>
                    <a:pt x="1069002" y="427125"/>
                  </a:lnTo>
                  <a:lnTo>
                    <a:pt x="1008478" y="416426"/>
                  </a:lnTo>
                  <a:lnTo>
                    <a:pt x="1000156" y="462683"/>
                  </a:lnTo>
                  <a:lnTo>
                    <a:pt x="977568" y="500618"/>
                  </a:lnTo>
                  <a:lnTo>
                    <a:pt x="946766" y="537365"/>
                  </a:lnTo>
                  <a:lnTo>
                    <a:pt x="914774" y="562223"/>
                  </a:lnTo>
                  <a:lnTo>
                    <a:pt x="893375" y="571734"/>
                  </a:lnTo>
                  <a:lnTo>
                    <a:pt x="882675" y="562223"/>
                  </a:lnTo>
                  <a:lnTo>
                    <a:pt x="870787" y="543309"/>
                  </a:lnTo>
                  <a:lnTo>
                    <a:pt x="806696" y="555198"/>
                  </a:lnTo>
                  <a:lnTo>
                    <a:pt x="778272" y="577786"/>
                  </a:lnTo>
                  <a:lnTo>
                    <a:pt x="747469" y="581353"/>
                  </a:lnTo>
                  <a:lnTo>
                    <a:pt x="730825" y="573031"/>
                  </a:lnTo>
                  <a:lnTo>
                    <a:pt x="715370" y="551631"/>
                  </a:lnTo>
                  <a:lnTo>
                    <a:pt x="715370" y="550443"/>
                  </a:lnTo>
                  <a:lnTo>
                    <a:pt x="707048" y="510129"/>
                  </a:lnTo>
                  <a:lnTo>
                    <a:pt x="710615" y="475761"/>
                  </a:lnTo>
                  <a:lnTo>
                    <a:pt x="727259" y="462683"/>
                  </a:lnTo>
                  <a:lnTo>
                    <a:pt x="747469" y="446039"/>
                  </a:lnTo>
                  <a:lnTo>
                    <a:pt x="755791" y="387893"/>
                  </a:lnTo>
                  <a:lnTo>
                    <a:pt x="771247" y="357090"/>
                  </a:lnTo>
                  <a:lnTo>
                    <a:pt x="776002" y="345202"/>
                  </a:lnTo>
                  <a:lnTo>
                    <a:pt x="726178" y="310833"/>
                  </a:lnTo>
                  <a:lnTo>
                    <a:pt x="738066" y="265764"/>
                  </a:lnTo>
                  <a:lnTo>
                    <a:pt x="738066" y="264575"/>
                  </a:lnTo>
                  <a:lnTo>
                    <a:pt x="751144" y="244365"/>
                  </a:lnTo>
                  <a:lnTo>
                    <a:pt x="748766" y="220588"/>
                  </a:lnTo>
                  <a:lnTo>
                    <a:pt x="723908" y="198107"/>
                  </a:lnTo>
                  <a:lnTo>
                    <a:pt x="710831" y="181463"/>
                  </a:lnTo>
                  <a:lnTo>
                    <a:pt x="740444" y="163739"/>
                  </a:lnTo>
                  <a:lnTo>
                    <a:pt x="739255" y="116292"/>
                  </a:lnTo>
                  <a:lnTo>
                    <a:pt x="739255" y="115103"/>
                  </a:lnTo>
                  <a:lnTo>
                    <a:pt x="722611" y="93704"/>
                  </a:lnTo>
                  <a:lnTo>
                    <a:pt x="684676" y="68846"/>
                  </a:lnTo>
                  <a:lnTo>
                    <a:pt x="672787" y="65279"/>
                  </a:lnTo>
                  <a:lnTo>
                    <a:pt x="672787" y="43880"/>
                  </a:lnTo>
                  <a:lnTo>
                    <a:pt x="687053" y="21399"/>
                  </a:lnTo>
                  <a:lnTo>
                    <a:pt x="682298" y="8322"/>
                  </a:lnTo>
                  <a:lnTo>
                    <a:pt x="659710" y="0"/>
                  </a:lnTo>
                  <a:lnTo>
                    <a:pt x="651388" y="10700"/>
                  </a:lnTo>
                  <a:lnTo>
                    <a:pt x="621774" y="34477"/>
                  </a:lnTo>
                  <a:lnTo>
                    <a:pt x="603941" y="32099"/>
                  </a:lnTo>
                  <a:lnTo>
                    <a:pt x="583731" y="32099"/>
                  </a:lnTo>
                  <a:lnTo>
                    <a:pt x="563520" y="47554"/>
                  </a:lnTo>
                  <a:lnTo>
                    <a:pt x="567086" y="87867"/>
                  </a:lnTo>
                  <a:lnTo>
                    <a:pt x="567086" y="89056"/>
                  </a:lnTo>
                  <a:lnTo>
                    <a:pt x="554009" y="111645"/>
                  </a:lnTo>
                  <a:lnTo>
                    <a:pt x="554009" y="112833"/>
                  </a:lnTo>
                  <a:lnTo>
                    <a:pt x="538554" y="147203"/>
                  </a:lnTo>
                  <a:lnTo>
                    <a:pt x="564601" y="167413"/>
                  </a:lnTo>
                  <a:lnTo>
                    <a:pt x="576490" y="191082"/>
                  </a:lnTo>
                  <a:lnTo>
                    <a:pt x="576490" y="197027"/>
                  </a:lnTo>
                  <a:lnTo>
                    <a:pt x="551631" y="231395"/>
                  </a:lnTo>
                  <a:lnTo>
                    <a:pt x="548065" y="265764"/>
                  </a:lnTo>
                  <a:lnTo>
                    <a:pt x="546876" y="266953"/>
                  </a:lnTo>
                  <a:lnTo>
                    <a:pt x="521910" y="290622"/>
                  </a:lnTo>
                  <a:lnTo>
                    <a:pt x="487541" y="323802"/>
                  </a:lnTo>
                  <a:lnTo>
                    <a:pt x="482786" y="355794"/>
                  </a:lnTo>
                  <a:lnTo>
                    <a:pt x="465061" y="384218"/>
                  </a:lnTo>
                  <a:lnTo>
                    <a:pt x="465061" y="415021"/>
                  </a:lnTo>
                  <a:lnTo>
                    <a:pt x="475761" y="437609"/>
                  </a:lnTo>
                  <a:lnTo>
                    <a:pt x="510129" y="454253"/>
                  </a:lnTo>
                  <a:lnTo>
                    <a:pt x="513696" y="483866"/>
                  </a:lnTo>
                  <a:lnTo>
                    <a:pt x="488838" y="495755"/>
                  </a:lnTo>
                  <a:lnTo>
                    <a:pt x="484082" y="521802"/>
                  </a:lnTo>
                  <a:lnTo>
                    <a:pt x="498349" y="550226"/>
                  </a:lnTo>
                  <a:lnTo>
                    <a:pt x="492405" y="571626"/>
                  </a:lnTo>
                  <a:lnTo>
                    <a:pt x="471005" y="591837"/>
                  </a:lnTo>
                  <a:lnTo>
                    <a:pt x="471005" y="626205"/>
                  </a:lnTo>
                  <a:lnTo>
                    <a:pt x="450794" y="625017"/>
                  </a:lnTo>
                  <a:lnTo>
                    <a:pt x="409292" y="585892"/>
                  </a:lnTo>
                  <a:lnTo>
                    <a:pt x="379679" y="559845"/>
                  </a:lnTo>
                  <a:lnTo>
                    <a:pt x="354821" y="559845"/>
                  </a:lnTo>
                  <a:lnTo>
                    <a:pt x="352443" y="597781"/>
                  </a:lnTo>
                  <a:lnTo>
                    <a:pt x="315697" y="640472"/>
                  </a:lnTo>
                  <a:lnTo>
                    <a:pt x="296783" y="673652"/>
                  </a:lnTo>
                  <a:lnTo>
                    <a:pt x="295594" y="673652"/>
                  </a:lnTo>
                  <a:lnTo>
                    <a:pt x="270736" y="709210"/>
                  </a:lnTo>
                  <a:lnTo>
                    <a:pt x="270736" y="710398"/>
                  </a:lnTo>
                  <a:lnTo>
                    <a:pt x="252903" y="732987"/>
                  </a:lnTo>
                  <a:lnTo>
                    <a:pt x="242203" y="724665"/>
                  </a:lnTo>
                  <a:lnTo>
                    <a:pt x="231504" y="684352"/>
                  </a:lnTo>
                  <a:lnTo>
                    <a:pt x="220804" y="666519"/>
                  </a:lnTo>
                  <a:lnTo>
                    <a:pt x="191190" y="691377"/>
                  </a:lnTo>
                  <a:lnTo>
                    <a:pt x="191190" y="693754"/>
                  </a:lnTo>
                  <a:lnTo>
                    <a:pt x="168602" y="704454"/>
                  </a:lnTo>
                  <a:lnTo>
                    <a:pt x="136611" y="685541"/>
                  </a:lnTo>
                  <a:lnTo>
                    <a:pt x="119967" y="690296"/>
                  </a:lnTo>
                  <a:lnTo>
                    <a:pt x="98567" y="725854"/>
                  </a:lnTo>
                  <a:lnTo>
                    <a:pt x="93812" y="775678"/>
                  </a:lnTo>
                  <a:lnTo>
                    <a:pt x="112726" y="785189"/>
                  </a:lnTo>
                  <a:lnTo>
                    <a:pt x="110348" y="810047"/>
                  </a:lnTo>
                  <a:lnTo>
                    <a:pt x="103215" y="833716"/>
                  </a:lnTo>
                  <a:lnTo>
                    <a:pt x="68846" y="883540"/>
                  </a:lnTo>
                  <a:lnTo>
                    <a:pt x="64090" y="926231"/>
                  </a:lnTo>
                  <a:lnTo>
                    <a:pt x="54579" y="958222"/>
                  </a:lnTo>
                  <a:lnTo>
                    <a:pt x="42691" y="977136"/>
                  </a:lnTo>
                  <a:lnTo>
                    <a:pt x="33180" y="1011505"/>
                  </a:lnTo>
                  <a:lnTo>
                    <a:pt x="0" y="1024582"/>
                  </a:lnTo>
                  <a:lnTo>
                    <a:pt x="13077" y="1054195"/>
                  </a:lnTo>
                  <a:lnTo>
                    <a:pt x="34477" y="1072028"/>
                  </a:lnTo>
                  <a:lnTo>
                    <a:pt x="54688" y="1088672"/>
                  </a:lnTo>
                  <a:lnTo>
                    <a:pt x="89056" y="1120664"/>
                  </a:lnTo>
                  <a:lnTo>
                    <a:pt x="150769" y="1132552"/>
                  </a:lnTo>
                  <a:lnTo>
                    <a:pt x="163846" y="1158599"/>
                  </a:lnTo>
                  <a:lnTo>
                    <a:pt x="181680" y="1164544"/>
                  </a:lnTo>
                  <a:lnTo>
                    <a:pt x="200701" y="1139685"/>
                  </a:lnTo>
                  <a:lnTo>
                    <a:pt x="235070" y="1132552"/>
                  </a:lnTo>
                  <a:lnTo>
                    <a:pt x="283706" y="1166921"/>
                  </a:lnTo>
                  <a:lnTo>
                    <a:pt x="338285" y="1217934"/>
                  </a:lnTo>
                  <a:lnTo>
                    <a:pt x="384542" y="1245170"/>
                  </a:lnTo>
                  <a:lnTo>
                    <a:pt x="397620" y="1277161"/>
                  </a:lnTo>
                  <a:lnTo>
                    <a:pt x="424856" y="1278350"/>
                  </a:lnTo>
                  <a:lnTo>
                    <a:pt x="448525" y="1290238"/>
                  </a:lnTo>
                  <a:lnTo>
                    <a:pt x="478138" y="1287861"/>
                  </a:lnTo>
                  <a:lnTo>
                    <a:pt x="459225" y="1286672"/>
                  </a:lnTo>
                  <a:lnTo>
                    <a:pt x="471113" y="1273595"/>
                  </a:lnTo>
                  <a:lnTo>
                    <a:pt x="492513" y="1262895"/>
                  </a:lnTo>
                  <a:lnTo>
                    <a:pt x="512723" y="1253384"/>
                  </a:lnTo>
                  <a:lnTo>
                    <a:pt x="562547" y="1188105"/>
                  </a:lnTo>
                  <a:lnTo>
                    <a:pt x="593350" y="1148980"/>
                  </a:lnTo>
                  <a:lnTo>
                    <a:pt x="611183" y="1119367"/>
                  </a:lnTo>
                  <a:lnTo>
                    <a:pt x="631393" y="1094509"/>
                  </a:lnTo>
                  <a:lnTo>
                    <a:pt x="659818" y="1070731"/>
                  </a:lnTo>
                  <a:lnTo>
                    <a:pt x="701320" y="1010208"/>
                  </a:lnTo>
                  <a:lnTo>
                    <a:pt x="691809" y="997130"/>
                  </a:lnTo>
                  <a:lnTo>
                    <a:pt x="675165" y="963950"/>
                  </a:lnTo>
                  <a:lnTo>
                    <a:pt x="666843" y="926015"/>
                  </a:lnTo>
                  <a:lnTo>
                    <a:pt x="685757" y="891646"/>
                  </a:lnTo>
                  <a:lnTo>
                    <a:pt x="707156" y="872624"/>
                  </a:lnTo>
                  <a:lnTo>
                    <a:pt x="690512" y="854791"/>
                  </a:lnTo>
                  <a:lnTo>
                    <a:pt x="675057" y="840525"/>
                  </a:lnTo>
                  <a:lnTo>
                    <a:pt x="663168" y="819125"/>
                  </a:lnTo>
                  <a:lnTo>
                    <a:pt x="677435" y="809614"/>
                  </a:lnTo>
                  <a:lnTo>
                    <a:pt x="745091" y="804859"/>
                  </a:lnTo>
                  <a:lnTo>
                    <a:pt x="768761" y="784648"/>
                  </a:lnTo>
                  <a:lnTo>
                    <a:pt x="791349" y="790593"/>
                  </a:lnTo>
                  <a:lnTo>
                    <a:pt x="815018" y="787026"/>
                  </a:lnTo>
                  <a:lnTo>
                    <a:pt x="826907" y="776326"/>
                  </a:lnTo>
                  <a:lnTo>
                    <a:pt x="845820" y="791781"/>
                  </a:lnTo>
                  <a:lnTo>
                    <a:pt x="856520" y="800104"/>
                  </a:lnTo>
                  <a:lnTo>
                    <a:pt x="868409" y="790593"/>
                  </a:lnTo>
                  <a:lnTo>
                    <a:pt x="869598" y="790593"/>
                  </a:lnTo>
                  <a:lnTo>
                    <a:pt x="889808" y="781082"/>
                  </a:lnTo>
                  <a:lnTo>
                    <a:pt x="892186" y="781082"/>
                  </a:lnTo>
                  <a:lnTo>
                    <a:pt x="912397" y="798915"/>
                  </a:lnTo>
                  <a:lnTo>
                    <a:pt x="920719" y="819125"/>
                  </a:lnTo>
                  <a:lnTo>
                    <a:pt x="936174" y="820314"/>
                  </a:lnTo>
                  <a:cubicBezTo>
                    <a:pt x="939741" y="820314"/>
                    <a:pt x="944496" y="820314"/>
                    <a:pt x="948062" y="820314"/>
                  </a:cubicBezTo>
                  <a:lnTo>
                    <a:pt x="975298" y="819125"/>
                  </a:lnTo>
                  <a:lnTo>
                    <a:pt x="999075" y="801292"/>
                  </a:lnTo>
                  <a:lnTo>
                    <a:pt x="1026311" y="791781"/>
                  </a:lnTo>
                  <a:lnTo>
                    <a:pt x="1057114" y="769193"/>
                  </a:lnTo>
                  <a:lnTo>
                    <a:pt x="1074947" y="748982"/>
                  </a:lnTo>
                  <a:lnTo>
                    <a:pt x="1063058" y="775029"/>
                  </a:lnTo>
                  <a:lnTo>
                    <a:pt x="1064247" y="785729"/>
                  </a:lnTo>
                  <a:lnTo>
                    <a:pt x="1076135" y="801184"/>
                  </a:lnTo>
                  <a:lnTo>
                    <a:pt x="1127148" y="798806"/>
                  </a:lnTo>
                  <a:lnTo>
                    <a:pt x="1148548" y="780974"/>
                  </a:lnTo>
                  <a:lnTo>
                    <a:pt x="1150926" y="759574"/>
                  </a:lnTo>
                  <a:lnTo>
                    <a:pt x="1121312" y="714505"/>
                  </a:lnTo>
                  <a:lnTo>
                    <a:pt x="1129634" y="690728"/>
                  </a:lnTo>
                  <a:lnTo>
                    <a:pt x="1148548" y="678840"/>
                  </a:lnTo>
                  <a:lnTo>
                    <a:pt x="1148548" y="677651"/>
                  </a:lnTo>
                  <a:lnTo>
                    <a:pt x="1150926" y="651604"/>
                  </a:lnTo>
                  <a:lnTo>
                    <a:pt x="1152114" y="652793"/>
                  </a:lnTo>
                  <a:lnTo>
                    <a:pt x="1184106" y="651604"/>
                  </a:lnTo>
                  <a:lnTo>
                    <a:pt x="1192428" y="667924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4" name="Полилиния: фигура 194"/>
            <p:cNvSpPr/>
            <p:nvPr/>
          </p:nvSpPr>
          <p:spPr bwMode="auto">
            <a:xfrm>
              <a:off x="7759509" y="5325917"/>
              <a:ext cx="476841" cy="467438"/>
            </a:xfrm>
            <a:custGeom>
              <a:avLst/>
              <a:gdLst>
                <a:gd name="connsiteX0" fmla="*/ 476841 w 476841"/>
                <a:gd name="connsiteY0" fmla="*/ 84193 h 467438"/>
                <a:gd name="connsiteX1" fmla="*/ 423451 w 476841"/>
                <a:gd name="connsiteY1" fmla="*/ 175519 h 467438"/>
                <a:gd name="connsiteX2" fmla="*/ 374815 w 476841"/>
                <a:gd name="connsiteY2" fmla="*/ 256145 h 467438"/>
                <a:gd name="connsiteX3" fmla="*/ 320236 w 476841"/>
                <a:gd name="connsiteY3" fmla="*/ 300025 h 467438"/>
                <a:gd name="connsiteX4" fmla="*/ 270412 w 476841"/>
                <a:gd name="connsiteY4" fmla="*/ 360549 h 467438"/>
                <a:gd name="connsiteX5" fmla="*/ 207510 w 476841"/>
                <a:gd name="connsiteY5" fmla="*/ 429395 h 467438"/>
                <a:gd name="connsiteX6" fmla="*/ 117373 w 476841"/>
                <a:gd name="connsiteY6" fmla="*/ 444850 h 467438"/>
                <a:gd name="connsiteX7" fmla="*/ 73493 w 476841"/>
                <a:gd name="connsiteY7" fmla="*/ 411670 h 467438"/>
                <a:gd name="connsiteX8" fmla="*/ 47447 w 476841"/>
                <a:gd name="connsiteY8" fmla="*/ 449605 h 467438"/>
                <a:gd name="connsiteX9" fmla="*/ 8322 w 476841"/>
                <a:gd name="connsiteY9" fmla="*/ 467439 h 467438"/>
                <a:gd name="connsiteX10" fmla="*/ 0 w 476841"/>
                <a:gd name="connsiteY10" fmla="*/ 433069 h 467438"/>
                <a:gd name="connsiteX11" fmla="*/ 33180 w 476841"/>
                <a:gd name="connsiteY11" fmla="*/ 419992 h 467438"/>
                <a:gd name="connsiteX12" fmla="*/ 54579 w 476841"/>
                <a:gd name="connsiteY12" fmla="*/ 340554 h 467438"/>
                <a:gd name="connsiteX13" fmla="*/ 45068 w 476841"/>
                <a:gd name="connsiteY13" fmla="*/ 295486 h 467438"/>
                <a:gd name="connsiteX14" fmla="*/ 80627 w 476841"/>
                <a:gd name="connsiteY14" fmla="*/ 271817 h 467438"/>
                <a:gd name="connsiteX15" fmla="*/ 131639 w 476841"/>
                <a:gd name="connsiteY15" fmla="*/ 275383 h 467438"/>
                <a:gd name="connsiteX16" fmla="*/ 193352 w 476841"/>
                <a:gd name="connsiteY16" fmla="*/ 187624 h 467438"/>
                <a:gd name="connsiteX17" fmla="*/ 213563 w 476841"/>
                <a:gd name="connsiteY17" fmla="*/ 85598 h 467438"/>
                <a:gd name="connsiteX18" fmla="*/ 224262 w 476841"/>
                <a:gd name="connsiteY18" fmla="*/ 90353 h 467438"/>
                <a:gd name="connsiteX19" fmla="*/ 224262 w 476841"/>
                <a:gd name="connsiteY19" fmla="*/ 91542 h 467438"/>
                <a:gd name="connsiteX20" fmla="*/ 238529 w 476841"/>
                <a:gd name="connsiteY20" fmla="*/ 108186 h 467438"/>
                <a:gd name="connsiteX21" fmla="*/ 253984 w 476841"/>
                <a:gd name="connsiteY21" fmla="*/ 114131 h 467438"/>
                <a:gd name="connsiteX22" fmla="*/ 274195 w 476841"/>
                <a:gd name="connsiteY22" fmla="*/ 122453 h 467438"/>
                <a:gd name="connsiteX23" fmla="*/ 300242 w 476841"/>
                <a:gd name="connsiteY23" fmla="*/ 118886 h 467438"/>
                <a:gd name="connsiteX24" fmla="*/ 324019 w 476841"/>
                <a:gd name="connsiteY24" fmla="*/ 105808 h 467438"/>
                <a:gd name="connsiteX25" fmla="*/ 338285 w 476841"/>
                <a:gd name="connsiteY25" fmla="*/ 97487 h 467438"/>
                <a:gd name="connsiteX26" fmla="*/ 366818 w 476841"/>
                <a:gd name="connsiteY26" fmla="*/ 84409 h 467438"/>
                <a:gd name="connsiteX27" fmla="*/ 390487 w 476841"/>
                <a:gd name="connsiteY27" fmla="*/ 73709 h 467438"/>
                <a:gd name="connsiteX28" fmla="*/ 377409 w 476841"/>
                <a:gd name="connsiteY28" fmla="*/ 57065 h 467438"/>
                <a:gd name="connsiteX29" fmla="*/ 375032 w 476841"/>
                <a:gd name="connsiteY29" fmla="*/ 40421 h 467438"/>
                <a:gd name="connsiteX30" fmla="*/ 379787 w 476841"/>
                <a:gd name="connsiteY30" fmla="*/ 20211 h 467438"/>
                <a:gd name="connsiteX31" fmla="*/ 407023 w 476841"/>
                <a:gd name="connsiteY31" fmla="*/ 0 h 467438"/>
                <a:gd name="connsiteX32" fmla="*/ 431989 w 476841"/>
                <a:gd name="connsiteY32" fmla="*/ 1189 h 467438"/>
                <a:gd name="connsiteX33" fmla="*/ 449822 w 476841"/>
                <a:gd name="connsiteY33" fmla="*/ 27236 h 467438"/>
                <a:gd name="connsiteX34" fmla="*/ 439122 w 476841"/>
                <a:gd name="connsiteY34" fmla="*/ 49824 h 467438"/>
                <a:gd name="connsiteX35" fmla="*/ 429611 w 476841"/>
                <a:gd name="connsiteY35" fmla="*/ 66468 h 467438"/>
                <a:gd name="connsiteX36" fmla="*/ 439122 w 476841"/>
                <a:gd name="connsiteY36" fmla="*/ 75979 h 467438"/>
                <a:gd name="connsiteX37" fmla="*/ 454577 w 476841"/>
                <a:gd name="connsiteY37" fmla="*/ 83112 h 467438"/>
                <a:gd name="connsiteX38" fmla="*/ 476841 w 476841"/>
                <a:gd name="connsiteY38" fmla="*/ 84193 h 46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76841" h="467438" extrusionOk="0">
                  <a:moveTo>
                    <a:pt x="476841" y="84193"/>
                  </a:moveTo>
                  <a:cubicBezTo>
                    <a:pt x="461386" y="110240"/>
                    <a:pt x="429395" y="158875"/>
                    <a:pt x="423451" y="175519"/>
                  </a:cubicBezTo>
                  <a:cubicBezTo>
                    <a:pt x="417506" y="192163"/>
                    <a:pt x="397404" y="238421"/>
                    <a:pt x="374815" y="256145"/>
                  </a:cubicBezTo>
                  <a:cubicBezTo>
                    <a:pt x="352227" y="272790"/>
                    <a:pt x="333314" y="284678"/>
                    <a:pt x="320236" y="300025"/>
                  </a:cubicBezTo>
                  <a:cubicBezTo>
                    <a:pt x="305970" y="315480"/>
                    <a:pt x="278734" y="351038"/>
                    <a:pt x="270412" y="360549"/>
                  </a:cubicBezTo>
                  <a:cubicBezTo>
                    <a:pt x="262090" y="371249"/>
                    <a:pt x="228910" y="422262"/>
                    <a:pt x="207510" y="429395"/>
                  </a:cubicBezTo>
                  <a:cubicBezTo>
                    <a:pt x="186111" y="436528"/>
                    <a:pt x="136287" y="459009"/>
                    <a:pt x="117373" y="444850"/>
                  </a:cubicBezTo>
                  <a:cubicBezTo>
                    <a:pt x="99540" y="431773"/>
                    <a:pt x="84193" y="404537"/>
                    <a:pt x="73493" y="411670"/>
                  </a:cubicBezTo>
                  <a:cubicBezTo>
                    <a:pt x="63982" y="418803"/>
                    <a:pt x="53283" y="448417"/>
                    <a:pt x="47447" y="449605"/>
                  </a:cubicBezTo>
                  <a:cubicBezTo>
                    <a:pt x="42691" y="450794"/>
                    <a:pt x="18914" y="459116"/>
                    <a:pt x="8322" y="467439"/>
                  </a:cubicBezTo>
                  <a:lnTo>
                    <a:pt x="0" y="433069"/>
                  </a:lnTo>
                  <a:cubicBezTo>
                    <a:pt x="14266" y="433069"/>
                    <a:pt x="27236" y="431881"/>
                    <a:pt x="33180" y="419992"/>
                  </a:cubicBezTo>
                  <a:cubicBezTo>
                    <a:pt x="41502" y="403348"/>
                    <a:pt x="62793" y="358279"/>
                    <a:pt x="54579" y="340554"/>
                  </a:cubicBezTo>
                  <a:cubicBezTo>
                    <a:pt x="46258" y="321533"/>
                    <a:pt x="40314" y="304997"/>
                    <a:pt x="45068" y="295486"/>
                  </a:cubicBezTo>
                  <a:cubicBezTo>
                    <a:pt x="48635" y="284786"/>
                    <a:pt x="67657" y="278842"/>
                    <a:pt x="80627" y="271817"/>
                  </a:cubicBezTo>
                  <a:cubicBezTo>
                    <a:pt x="94893" y="264684"/>
                    <a:pt x="117373" y="283706"/>
                    <a:pt x="131639" y="275383"/>
                  </a:cubicBezTo>
                  <a:cubicBezTo>
                    <a:pt x="145906" y="267061"/>
                    <a:pt x="180275" y="218426"/>
                    <a:pt x="193352" y="187624"/>
                  </a:cubicBezTo>
                  <a:cubicBezTo>
                    <a:pt x="206430" y="156821"/>
                    <a:pt x="207619" y="104620"/>
                    <a:pt x="213563" y="85598"/>
                  </a:cubicBezTo>
                  <a:lnTo>
                    <a:pt x="224262" y="90353"/>
                  </a:lnTo>
                  <a:lnTo>
                    <a:pt x="224262" y="91542"/>
                  </a:lnTo>
                  <a:lnTo>
                    <a:pt x="238529" y="108186"/>
                  </a:lnTo>
                  <a:lnTo>
                    <a:pt x="253984" y="114131"/>
                  </a:lnTo>
                  <a:lnTo>
                    <a:pt x="274195" y="122453"/>
                  </a:lnTo>
                  <a:lnTo>
                    <a:pt x="300242" y="118886"/>
                  </a:lnTo>
                  <a:lnTo>
                    <a:pt x="324019" y="105808"/>
                  </a:lnTo>
                  <a:lnTo>
                    <a:pt x="338285" y="97487"/>
                  </a:lnTo>
                  <a:lnTo>
                    <a:pt x="366818" y="84409"/>
                  </a:lnTo>
                  <a:lnTo>
                    <a:pt x="390487" y="73709"/>
                  </a:lnTo>
                  <a:lnTo>
                    <a:pt x="377409" y="57065"/>
                  </a:lnTo>
                  <a:lnTo>
                    <a:pt x="375032" y="40421"/>
                  </a:lnTo>
                  <a:lnTo>
                    <a:pt x="379787" y="20211"/>
                  </a:lnTo>
                  <a:lnTo>
                    <a:pt x="407023" y="0"/>
                  </a:lnTo>
                  <a:lnTo>
                    <a:pt x="431989" y="1189"/>
                  </a:lnTo>
                  <a:lnTo>
                    <a:pt x="449822" y="27236"/>
                  </a:lnTo>
                  <a:lnTo>
                    <a:pt x="439122" y="49824"/>
                  </a:lnTo>
                  <a:lnTo>
                    <a:pt x="429611" y="66468"/>
                  </a:lnTo>
                  <a:lnTo>
                    <a:pt x="439122" y="75979"/>
                  </a:lnTo>
                  <a:lnTo>
                    <a:pt x="454577" y="83112"/>
                  </a:lnTo>
                  <a:lnTo>
                    <a:pt x="476841" y="84193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5" name="Полилиния: фигура 195"/>
            <p:cNvSpPr/>
            <p:nvPr/>
          </p:nvSpPr>
          <p:spPr bwMode="auto">
            <a:xfrm>
              <a:off x="9067418" y="3698258"/>
              <a:ext cx="953304" cy="1448551"/>
            </a:xfrm>
            <a:custGeom>
              <a:avLst/>
              <a:gdLst>
                <a:gd name="connsiteX0" fmla="*/ 892348 w 953304"/>
                <a:gd name="connsiteY0" fmla="*/ 416534 h 1448551"/>
                <a:gd name="connsiteX1" fmla="*/ 875705 w 953304"/>
                <a:gd name="connsiteY1" fmla="*/ 411778 h 1448551"/>
                <a:gd name="connsiteX2" fmla="*/ 844902 w 953304"/>
                <a:gd name="connsiteY2" fmla="*/ 434367 h 1448551"/>
                <a:gd name="connsiteX3" fmla="*/ 827069 w 953304"/>
                <a:gd name="connsiteY3" fmla="*/ 431989 h 1448551"/>
                <a:gd name="connsiteX4" fmla="*/ 834202 w 953304"/>
                <a:gd name="connsiteY4" fmla="*/ 465169 h 1448551"/>
                <a:gd name="connsiteX5" fmla="*/ 808156 w 953304"/>
                <a:gd name="connsiteY5" fmla="*/ 462791 h 1448551"/>
                <a:gd name="connsiteX6" fmla="*/ 801022 w 953304"/>
                <a:gd name="connsiteY6" fmla="*/ 498349 h 1448551"/>
                <a:gd name="connsiteX7" fmla="*/ 767842 w 953304"/>
                <a:gd name="connsiteY7" fmla="*/ 511427 h 1448551"/>
                <a:gd name="connsiteX8" fmla="*/ 740607 w 953304"/>
                <a:gd name="connsiteY8" fmla="*/ 557684 h 1448551"/>
                <a:gd name="connsiteX9" fmla="*/ 709804 w 953304"/>
                <a:gd name="connsiteY9" fmla="*/ 561251 h 1448551"/>
                <a:gd name="connsiteX10" fmla="*/ 681271 w 953304"/>
                <a:gd name="connsiteY10" fmla="*/ 507860 h 1448551"/>
                <a:gd name="connsiteX11" fmla="*/ 637391 w 953304"/>
                <a:gd name="connsiteY11" fmla="*/ 519748 h 1448551"/>
                <a:gd name="connsiteX12" fmla="*/ 614803 w 953304"/>
                <a:gd name="connsiteY12" fmla="*/ 543526 h 1448551"/>
                <a:gd name="connsiteX13" fmla="*/ 559035 w 953304"/>
                <a:gd name="connsiteY13" fmla="*/ 585028 h 1448551"/>
                <a:gd name="connsiteX14" fmla="*/ 557846 w 953304"/>
                <a:gd name="connsiteY14" fmla="*/ 547092 h 1448551"/>
                <a:gd name="connsiteX15" fmla="*/ 504455 w 953304"/>
                <a:gd name="connsiteY15" fmla="*/ 576706 h 1448551"/>
                <a:gd name="connsiteX16" fmla="*/ 490189 w 953304"/>
                <a:gd name="connsiteY16" fmla="*/ 598105 h 1448551"/>
                <a:gd name="connsiteX17" fmla="*/ 462954 w 953304"/>
                <a:gd name="connsiteY17" fmla="*/ 596916 h 1448551"/>
                <a:gd name="connsiteX18" fmla="*/ 432151 w 953304"/>
                <a:gd name="connsiteY18" fmla="*/ 621774 h 1448551"/>
                <a:gd name="connsiteX19" fmla="*/ 413129 w 953304"/>
                <a:gd name="connsiteY19" fmla="*/ 657332 h 1448551"/>
                <a:gd name="connsiteX20" fmla="*/ 370439 w 953304"/>
                <a:gd name="connsiteY20" fmla="*/ 727367 h 1448551"/>
                <a:gd name="connsiteX21" fmla="*/ 369249 w 953304"/>
                <a:gd name="connsiteY21" fmla="*/ 781947 h 1448551"/>
                <a:gd name="connsiteX22" fmla="*/ 377571 w 953304"/>
                <a:gd name="connsiteY22" fmla="*/ 798590 h 1448551"/>
                <a:gd name="connsiteX23" fmla="*/ 402538 w 953304"/>
                <a:gd name="connsiteY23" fmla="*/ 835337 h 1448551"/>
                <a:gd name="connsiteX24" fmla="*/ 371735 w 953304"/>
                <a:gd name="connsiteY24" fmla="*/ 873273 h 1448551"/>
                <a:gd name="connsiteX25" fmla="*/ 390649 w 953304"/>
                <a:gd name="connsiteY25" fmla="*/ 919530 h 1448551"/>
                <a:gd name="connsiteX26" fmla="*/ 425018 w 953304"/>
                <a:gd name="connsiteY26" fmla="*/ 936174 h 1448551"/>
                <a:gd name="connsiteX27" fmla="*/ 409563 w 953304"/>
                <a:gd name="connsiteY27" fmla="*/ 974110 h 1448551"/>
                <a:gd name="connsiteX28" fmla="*/ 379949 w 953304"/>
                <a:gd name="connsiteY28" fmla="*/ 968165 h 1448551"/>
                <a:gd name="connsiteX29" fmla="*/ 346769 w 953304"/>
                <a:gd name="connsiteY29" fmla="*/ 1003723 h 1448551"/>
                <a:gd name="connsiteX30" fmla="*/ 342014 w 953304"/>
                <a:gd name="connsiteY30" fmla="*/ 1028581 h 1448551"/>
                <a:gd name="connsiteX31" fmla="*/ 344391 w 953304"/>
                <a:gd name="connsiteY31" fmla="*/ 1058195 h 1448551"/>
                <a:gd name="connsiteX32" fmla="*/ 350336 w 953304"/>
                <a:gd name="connsiteY32" fmla="*/ 1093752 h 1448551"/>
                <a:gd name="connsiteX33" fmla="*/ 315967 w 953304"/>
                <a:gd name="connsiteY33" fmla="*/ 1102074 h 1448551"/>
                <a:gd name="connsiteX34" fmla="*/ 255443 w 953304"/>
                <a:gd name="connsiteY34" fmla="*/ 1132877 h 1448551"/>
                <a:gd name="connsiteX35" fmla="*/ 219885 w 953304"/>
                <a:gd name="connsiteY35" fmla="*/ 1175568 h 1448551"/>
                <a:gd name="connsiteX36" fmla="*/ 227018 w 953304"/>
                <a:gd name="connsiteY36" fmla="*/ 1239658 h 1448551"/>
                <a:gd name="connsiteX37" fmla="*/ 183139 w 953304"/>
                <a:gd name="connsiteY37" fmla="*/ 1240847 h 1448551"/>
                <a:gd name="connsiteX38" fmla="*/ 157092 w 953304"/>
                <a:gd name="connsiteY38" fmla="*/ 1282349 h 1448551"/>
                <a:gd name="connsiteX39" fmla="*/ 160658 w 953304"/>
                <a:gd name="connsiteY39" fmla="*/ 1313151 h 1448551"/>
                <a:gd name="connsiteX40" fmla="*/ 172547 w 953304"/>
                <a:gd name="connsiteY40" fmla="*/ 1340387 h 1448551"/>
                <a:gd name="connsiteX41" fmla="*/ 133422 w 953304"/>
                <a:gd name="connsiteY41" fmla="*/ 1398533 h 1448551"/>
                <a:gd name="connsiteX42" fmla="*/ 90732 w 953304"/>
                <a:gd name="connsiteY42" fmla="*/ 1443602 h 1448551"/>
                <a:gd name="connsiteX43" fmla="*/ 72899 w 953304"/>
                <a:gd name="connsiteY43" fmla="*/ 1364164 h 1448551"/>
                <a:gd name="connsiteX44" fmla="*/ 45663 w 953304"/>
                <a:gd name="connsiteY44" fmla="*/ 1315529 h 1448551"/>
                <a:gd name="connsiteX45" fmla="*/ 21994 w 953304"/>
                <a:gd name="connsiteY45" fmla="*/ 1250250 h 1448551"/>
                <a:gd name="connsiteX46" fmla="*/ 7728 w 953304"/>
                <a:gd name="connsiteY46" fmla="*/ 1117421 h 1448551"/>
                <a:gd name="connsiteX47" fmla="*/ 6539 w 953304"/>
                <a:gd name="connsiteY47" fmla="*/ 965571 h 1448551"/>
                <a:gd name="connsiteX48" fmla="*/ 74196 w 953304"/>
                <a:gd name="connsiteY48" fmla="*/ 858790 h 1448551"/>
                <a:gd name="connsiteX49" fmla="*/ 88462 w 953304"/>
                <a:gd name="connsiteY49" fmla="*/ 822044 h 1448551"/>
                <a:gd name="connsiteX50" fmla="*/ 143041 w 953304"/>
                <a:gd name="connsiteY50" fmla="*/ 799455 h 1448551"/>
                <a:gd name="connsiteX51" fmla="*/ 198810 w 953304"/>
                <a:gd name="connsiteY51" fmla="*/ 697429 h 1448551"/>
                <a:gd name="connsiteX52" fmla="*/ 288947 w 953304"/>
                <a:gd name="connsiteY52" fmla="*/ 607292 h 1448551"/>
                <a:gd name="connsiteX53" fmla="*/ 325694 w 953304"/>
                <a:gd name="connsiteY53" fmla="*/ 566979 h 1448551"/>
                <a:gd name="connsiteX54" fmla="*/ 382651 w 953304"/>
                <a:gd name="connsiteY54" fmla="*/ 508832 h 1448551"/>
                <a:gd name="connsiteX55" fmla="*/ 370762 w 953304"/>
                <a:gd name="connsiteY55" fmla="*/ 486244 h 1448551"/>
                <a:gd name="connsiteX56" fmla="*/ 388596 w 953304"/>
                <a:gd name="connsiteY56" fmla="*/ 462467 h 1448551"/>
                <a:gd name="connsiteX57" fmla="*/ 375518 w 953304"/>
                <a:gd name="connsiteY57" fmla="*/ 429287 h 1448551"/>
                <a:gd name="connsiteX58" fmla="*/ 398107 w 953304"/>
                <a:gd name="connsiteY58" fmla="*/ 354605 h 1448551"/>
                <a:gd name="connsiteX59" fmla="*/ 409995 w 953304"/>
                <a:gd name="connsiteY59" fmla="*/ 330936 h 1448551"/>
                <a:gd name="connsiteX60" fmla="*/ 402862 w 953304"/>
                <a:gd name="connsiteY60" fmla="*/ 301322 h 1448551"/>
                <a:gd name="connsiteX61" fmla="*/ 369682 w 953304"/>
                <a:gd name="connsiteY61" fmla="*/ 321533 h 1448551"/>
                <a:gd name="connsiteX62" fmla="*/ 341257 w 953304"/>
                <a:gd name="connsiteY62" fmla="*/ 360657 h 1448551"/>
                <a:gd name="connsiteX63" fmla="*/ 335313 w 953304"/>
                <a:gd name="connsiteY63" fmla="*/ 319155 h 1448551"/>
                <a:gd name="connsiteX64" fmla="*/ 348390 w 953304"/>
                <a:gd name="connsiteY64" fmla="*/ 301430 h 1448551"/>
                <a:gd name="connsiteX65" fmla="*/ 348390 w 953304"/>
                <a:gd name="connsiteY65" fmla="*/ 299161 h 1448551"/>
                <a:gd name="connsiteX66" fmla="*/ 353146 w 953304"/>
                <a:gd name="connsiteY66" fmla="*/ 280247 h 1448551"/>
                <a:gd name="connsiteX67" fmla="*/ 323532 w 953304"/>
                <a:gd name="connsiteY67" fmla="*/ 268358 h 1448551"/>
                <a:gd name="connsiteX68" fmla="*/ 317588 w 953304"/>
                <a:gd name="connsiteY68" fmla="*/ 250525 h 1448551"/>
                <a:gd name="connsiteX69" fmla="*/ 327099 w 953304"/>
                <a:gd name="connsiteY69" fmla="*/ 235070 h 1448551"/>
                <a:gd name="connsiteX70" fmla="*/ 336610 w 953304"/>
                <a:gd name="connsiteY70" fmla="*/ 206646 h 1448551"/>
                <a:gd name="connsiteX71" fmla="*/ 323532 w 953304"/>
                <a:gd name="connsiteY71" fmla="*/ 181680 h 1448551"/>
                <a:gd name="connsiteX72" fmla="*/ 315210 w 953304"/>
                <a:gd name="connsiteY72" fmla="*/ 147311 h 1448551"/>
                <a:gd name="connsiteX73" fmla="*/ 334124 w 953304"/>
                <a:gd name="connsiteY73" fmla="*/ 140178 h 1448551"/>
                <a:gd name="connsiteX74" fmla="*/ 346013 w 953304"/>
                <a:gd name="connsiteY74" fmla="*/ 118778 h 1448551"/>
                <a:gd name="connsiteX75" fmla="*/ 355524 w 953304"/>
                <a:gd name="connsiteY75" fmla="*/ 102134 h 1448551"/>
                <a:gd name="connsiteX76" fmla="*/ 367412 w 953304"/>
                <a:gd name="connsiteY76" fmla="*/ 85490 h 1448551"/>
                <a:gd name="connsiteX77" fmla="*/ 366223 w 953304"/>
                <a:gd name="connsiteY77" fmla="*/ 46365 h 1448551"/>
                <a:gd name="connsiteX78" fmla="*/ 365035 w 953304"/>
                <a:gd name="connsiteY78" fmla="*/ 30910 h 1448551"/>
                <a:gd name="connsiteX79" fmla="*/ 365035 w 953304"/>
                <a:gd name="connsiteY79" fmla="*/ 28532 h 1448551"/>
                <a:gd name="connsiteX80" fmla="*/ 370979 w 953304"/>
                <a:gd name="connsiteY80" fmla="*/ 8322 h 1448551"/>
                <a:gd name="connsiteX81" fmla="*/ 407725 w 953304"/>
                <a:gd name="connsiteY81" fmla="*/ 0 h 1448551"/>
                <a:gd name="connsiteX82" fmla="*/ 448039 w 953304"/>
                <a:gd name="connsiteY82" fmla="*/ 27236 h 1448551"/>
                <a:gd name="connsiteX83" fmla="*/ 463494 w 953304"/>
                <a:gd name="connsiteY83" fmla="*/ 41502 h 1448551"/>
                <a:gd name="connsiteX84" fmla="*/ 463494 w 953304"/>
                <a:gd name="connsiteY84" fmla="*/ 39124 h 1448551"/>
                <a:gd name="connsiteX85" fmla="*/ 469438 w 953304"/>
                <a:gd name="connsiteY85" fmla="*/ 21291 h 1448551"/>
                <a:gd name="connsiteX86" fmla="*/ 470627 w 953304"/>
                <a:gd name="connsiteY86" fmla="*/ 21291 h 1448551"/>
                <a:gd name="connsiteX87" fmla="*/ 490837 w 953304"/>
                <a:gd name="connsiteY87" fmla="*/ 35558 h 1448551"/>
                <a:gd name="connsiteX88" fmla="*/ 515696 w 953304"/>
                <a:gd name="connsiteY88" fmla="*/ 37935 h 1448551"/>
                <a:gd name="connsiteX89" fmla="*/ 573841 w 953304"/>
                <a:gd name="connsiteY89" fmla="*/ 49824 h 1448551"/>
                <a:gd name="connsiteX90" fmla="*/ 599889 w 953304"/>
                <a:gd name="connsiteY90" fmla="*/ 74682 h 1448551"/>
                <a:gd name="connsiteX91" fmla="*/ 628313 w 953304"/>
                <a:gd name="connsiteY91" fmla="*/ 72304 h 1448551"/>
                <a:gd name="connsiteX92" fmla="*/ 655549 w 953304"/>
                <a:gd name="connsiteY92" fmla="*/ 99540 h 1448551"/>
                <a:gd name="connsiteX93" fmla="*/ 688729 w 953304"/>
                <a:gd name="connsiteY93" fmla="*/ 119751 h 1448551"/>
                <a:gd name="connsiteX94" fmla="*/ 689918 w 953304"/>
                <a:gd name="connsiteY94" fmla="*/ 120940 h 1448551"/>
                <a:gd name="connsiteX95" fmla="*/ 701806 w 953304"/>
                <a:gd name="connsiteY95" fmla="*/ 156497 h 1448551"/>
                <a:gd name="connsiteX96" fmla="*/ 687540 w 953304"/>
                <a:gd name="connsiteY96" fmla="*/ 168386 h 1448551"/>
                <a:gd name="connsiteX97" fmla="*/ 655549 w 953304"/>
                <a:gd name="connsiteY97" fmla="*/ 192163 h 1448551"/>
                <a:gd name="connsiteX98" fmla="*/ 655549 w 953304"/>
                <a:gd name="connsiteY98" fmla="*/ 194541 h 1448551"/>
                <a:gd name="connsiteX99" fmla="*/ 643660 w 953304"/>
                <a:gd name="connsiteY99" fmla="*/ 208807 h 1448551"/>
                <a:gd name="connsiteX100" fmla="*/ 655549 w 953304"/>
                <a:gd name="connsiteY100" fmla="*/ 233665 h 1448551"/>
                <a:gd name="connsiteX101" fmla="*/ 687540 w 953304"/>
                <a:gd name="connsiteY101" fmla="*/ 236043 h 1448551"/>
                <a:gd name="connsiteX102" fmla="*/ 706454 w 953304"/>
                <a:gd name="connsiteY102" fmla="*/ 245554 h 1448551"/>
                <a:gd name="connsiteX103" fmla="*/ 706454 w 953304"/>
                <a:gd name="connsiteY103" fmla="*/ 246743 h 1448551"/>
                <a:gd name="connsiteX104" fmla="*/ 710020 w 953304"/>
                <a:gd name="connsiteY104" fmla="*/ 273979 h 1448551"/>
                <a:gd name="connsiteX105" fmla="*/ 710020 w 953304"/>
                <a:gd name="connsiteY105" fmla="*/ 275167 h 1448551"/>
                <a:gd name="connsiteX106" fmla="*/ 723097 w 953304"/>
                <a:gd name="connsiteY106" fmla="*/ 277545 h 1448551"/>
                <a:gd name="connsiteX107" fmla="*/ 740931 w 953304"/>
                <a:gd name="connsiteY107" fmla="*/ 304781 h 1448551"/>
                <a:gd name="connsiteX108" fmla="*/ 749253 w 953304"/>
                <a:gd name="connsiteY108" fmla="*/ 313103 h 1448551"/>
                <a:gd name="connsiteX109" fmla="*/ 788377 w 953304"/>
                <a:gd name="connsiteY109" fmla="*/ 311914 h 1448551"/>
                <a:gd name="connsiteX110" fmla="*/ 819179 w 953304"/>
                <a:gd name="connsiteY110" fmla="*/ 304781 h 1448551"/>
                <a:gd name="connsiteX111" fmla="*/ 860682 w 953304"/>
                <a:gd name="connsiteY111" fmla="*/ 300025 h 1448551"/>
                <a:gd name="connsiteX112" fmla="*/ 886728 w 953304"/>
                <a:gd name="connsiteY112" fmla="*/ 295270 h 1448551"/>
                <a:gd name="connsiteX113" fmla="*/ 904561 w 953304"/>
                <a:gd name="connsiteY113" fmla="*/ 285759 h 1448551"/>
                <a:gd name="connsiteX114" fmla="*/ 923583 w 953304"/>
                <a:gd name="connsiteY114" fmla="*/ 294081 h 1448551"/>
                <a:gd name="connsiteX115" fmla="*/ 933094 w 953304"/>
                <a:gd name="connsiteY115" fmla="*/ 335583 h 1448551"/>
                <a:gd name="connsiteX116" fmla="*/ 953305 w 953304"/>
                <a:gd name="connsiteY116" fmla="*/ 354497 h 1448551"/>
                <a:gd name="connsiteX117" fmla="*/ 892348 w 953304"/>
                <a:gd name="connsiteY117" fmla="*/ 416534 h 1448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953304" h="1448551" extrusionOk="0">
                  <a:moveTo>
                    <a:pt x="892348" y="416534"/>
                  </a:moveTo>
                  <a:cubicBezTo>
                    <a:pt x="886404" y="420100"/>
                    <a:pt x="879271" y="405834"/>
                    <a:pt x="875705" y="411778"/>
                  </a:cubicBezTo>
                  <a:cubicBezTo>
                    <a:pt x="870949" y="416534"/>
                    <a:pt x="848469" y="434367"/>
                    <a:pt x="844902" y="434367"/>
                  </a:cubicBezTo>
                  <a:cubicBezTo>
                    <a:pt x="840146" y="434367"/>
                    <a:pt x="827069" y="424856"/>
                    <a:pt x="827069" y="431989"/>
                  </a:cubicBezTo>
                  <a:cubicBezTo>
                    <a:pt x="827069" y="439122"/>
                    <a:pt x="846091" y="460521"/>
                    <a:pt x="834202" y="465169"/>
                  </a:cubicBezTo>
                  <a:cubicBezTo>
                    <a:pt x="823503" y="468736"/>
                    <a:pt x="810425" y="452091"/>
                    <a:pt x="808156" y="462791"/>
                  </a:cubicBezTo>
                  <a:cubicBezTo>
                    <a:pt x="804589" y="474680"/>
                    <a:pt x="806966" y="497160"/>
                    <a:pt x="801022" y="498349"/>
                  </a:cubicBezTo>
                  <a:cubicBezTo>
                    <a:pt x="795078" y="499538"/>
                    <a:pt x="773786" y="504293"/>
                    <a:pt x="767842" y="511427"/>
                  </a:cubicBezTo>
                  <a:cubicBezTo>
                    <a:pt x="760709" y="518559"/>
                    <a:pt x="746443" y="542229"/>
                    <a:pt x="740607" y="557684"/>
                  </a:cubicBezTo>
                  <a:cubicBezTo>
                    <a:pt x="734662" y="573139"/>
                    <a:pt x="714560" y="580272"/>
                    <a:pt x="709804" y="561251"/>
                  </a:cubicBezTo>
                  <a:cubicBezTo>
                    <a:pt x="705049" y="543526"/>
                    <a:pt x="700293" y="511427"/>
                    <a:pt x="681271" y="507860"/>
                  </a:cubicBezTo>
                  <a:cubicBezTo>
                    <a:pt x="663439" y="505482"/>
                    <a:pt x="642147" y="511427"/>
                    <a:pt x="637391" y="519748"/>
                  </a:cubicBezTo>
                  <a:cubicBezTo>
                    <a:pt x="631447" y="528070"/>
                    <a:pt x="626692" y="535204"/>
                    <a:pt x="614803" y="543526"/>
                  </a:cubicBezTo>
                  <a:cubicBezTo>
                    <a:pt x="601726" y="551848"/>
                    <a:pt x="568546" y="592161"/>
                    <a:pt x="559035" y="585028"/>
                  </a:cubicBezTo>
                  <a:cubicBezTo>
                    <a:pt x="550713" y="577895"/>
                    <a:pt x="569735" y="547092"/>
                    <a:pt x="557846" y="547092"/>
                  </a:cubicBezTo>
                  <a:cubicBezTo>
                    <a:pt x="547146" y="547092"/>
                    <a:pt x="516344" y="561359"/>
                    <a:pt x="504455" y="576706"/>
                  </a:cubicBezTo>
                  <a:cubicBezTo>
                    <a:pt x="493756" y="592161"/>
                    <a:pt x="503267" y="598105"/>
                    <a:pt x="490189" y="598105"/>
                  </a:cubicBezTo>
                  <a:cubicBezTo>
                    <a:pt x="478301" y="598105"/>
                    <a:pt x="478301" y="589783"/>
                    <a:pt x="462954" y="596916"/>
                  </a:cubicBezTo>
                  <a:cubicBezTo>
                    <a:pt x="447498" y="604049"/>
                    <a:pt x="432151" y="606427"/>
                    <a:pt x="432151" y="621774"/>
                  </a:cubicBezTo>
                  <a:cubicBezTo>
                    <a:pt x="432151" y="637230"/>
                    <a:pt x="427395" y="649010"/>
                    <a:pt x="413129" y="657332"/>
                  </a:cubicBezTo>
                  <a:cubicBezTo>
                    <a:pt x="400052" y="665654"/>
                    <a:pt x="378760" y="714289"/>
                    <a:pt x="370439" y="727367"/>
                  </a:cubicBezTo>
                  <a:cubicBezTo>
                    <a:pt x="362116" y="739255"/>
                    <a:pt x="375194" y="773624"/>
                    <a:pt x="369249" y="781947"/>
                  </a:cubicBezTo>
                  <a:cubicBezTo>
                    <a:pt x="362116" y="790268"/>
                    <a:pt x="363305" y="802157"/>
                    <a:pt x="377571" y="798590"/>
                  </a:cubicBezTo>
                  <a:cubicBezTo>
                    <a:pt x="390649" y="796213"/>
                    <a:pt x="411940" y="827015"/>
                    <a:pt x="402538" y="835337"/>
                  </a:cubicBezTo>
                  <a:cubicBezTo>
                    <a:pt x="393027" y="843659"/>
                    <a:pt x="370546" y="846037"/>
                    <a:pt x="371735" y="873273"/>
                  </a:cubicBezTo>
                  <a:cubicBezTo>
                    <a:pt x="372924" y="899319"/>
                    <a:pt x="378868" y="920719"/>
                    <a:pt x="390649" y="919530"/>
                  </a:cubicBezTo>
                  <a:cubicBezTo>
                    <a:pt x="403726" y="918341"/>
                    <a:pt x="423829" y="923097"/>
                    <a:pt x="425018" y="936174"/>
                  </a:cubicBezTo>
                  <a:cubicBezTo>
                    <a:pt x="426207" y="949252"/>
                    <a:pt x="421451" y="971732"/>
                    <a:pt x="409563" y="974110"/>
                  </a:cubicBezTo>
                  <a:cubicBezTo>
                    <a:pt x="396485" y="976487"/>
                    <a:pt x="394108" y="964599"/>
                    <a:pt x="379949" y="968165"/>
                  </a:cubicBezTo>
                  <a:cubicBezTo>
                    <a:pt x="365683" y="972921"/>
                    <a:pt x="344391" y="994212"/>
                    <a:pt x="346769" y="1003723"/>
                  </a:cubicBezTo>
                  <a:cubicBezTo>
                    <a:pt x="347958" y="1013234"/>
                    <a:pt x="349147" y="1021556"/>
                    <a:pt x="342014" y="1028581"/>
                  </a:cubicBezTo>
                  <a:cubicBezTo>
                    <a:pt x="334880" y="1035714"/>
                    <a:pt x="333692" y="1051169"/>
                    <a:pt x="344391" y="1058195"/>
                  </a:cubicBezTo>
                  <a:cubicBezTo>
                    <a:pt x="356280" y="1065328"/>
                    <a:pt x="355091" y="1080783"/>
                    <a:pt x="350336" y="1093752"/>
                  </a:cubicBezTo>
                  <a:cubicBezTo>
                    <a:pt x="346769" y="1105641"/>
                    <a:pt x="326559" y="1102074"/>
                    <a:pt x="315967" y="1102074"/>
                  </a:cubicBezTo>
                  <a:cubicBezTo>
                    <a:pt x="304078" y="1102074"/>
                    <a:pt x="264954" y="1115152"/>
                    <a:pt x="255443" y="1132877"/>
                  </a:cubicBezTo>
                  <a:cubicBezTo>
                    <a:pt x="244743" y="1149521"/>
                    <a:pt x="225830" y="1156654"/>
                    <a:pt x="219885" y="1175568"/>
                  </a:cubicBezTo>
                  <a:cubicBezTo>
                    <a:pt x="213941" y="1195778"/>
                    <a:pt x="234151" y="1237280"/>
                    <a:pt x="227018" y="1239658"/>
                  </a:cubicBezTo>
                  <a:cubicBezTo>
                    <a:pt x="219885" y="1240847"/>
                    <a:pt x="193838" y="1234902"/>
                    <a:pt x="183139" y="1240847"/>
                  </a:cubicBezTo>
                  <a:cubicBezTo>
                    <a:pt x="173628" y="1246791"/>
                    <a:pt x="154714" y="1270460"/>
                    <a:pt x="157092" y="1282349"/>
                  </a:cubicBezTo>
                  <a:cubicBezTo>
                    <a:pt x="159470" y="1295426"/>
                    <a:pt x="167792" y="1306126"/>
                    <a:pt x="160658" y="1313151"/>
                  </a:cubicBezTo>
                  <a:cubicBezTo>
                    <a:pt x="154714" y="1320285"/>
                    <a:pt x="180869" y="1323851"/>
                    <a:pt x="172547" y="1340387"/>
                  </a:cubicBezTo>
                  <a:cubicBezTo>
                    <a:pt x="164225" y="1357031"/>
                    <a:pt x="148770" y="1393778"/>
                    <a:pt x="133422" y="1398533"/>
                  </a:cubicBezTo>
                  <a:cubicBezTo>
                    <a:pt x="117967" y="1404477"/>
                    <a:pt x="108564" y="1466190"/>
                    <a:pt x="90732" y="1443602"/>
                  </a:cubicBezTo>
                  <a:cubicBezTo>
                    <a:pt x="74087" y="1421013"/>
                    <a:pt x="78843" y="1383078"/>
                    <a:pt x="72899" y="1364164"/>
                  </a:cubicBezTo>
                  <a:cubicBezTo>
                    <a:pt x="66955" y="1343954"/>
                    <a:pt x="51499" y="1319095"/>
                    <a:pt x="45663" y="1315529"/>
                  </a:cubicBezTo>
                  <a:cubicBezTo>
                    <a:pt x="40907" y="1310774"/>
                    <a:pt x="23075" y="1283538"/>
                    <a:pt x="21994" y="1250250"/>
                  </a:cubicBezTo>
                  <a:cubicBezTo>
                    <a:pt x="20805" y="1217070"/>
                    <a:pt x="19616" y="1155357"/>
                    <a:pt x="7728" y="1117421"/>
                  </a:cubicBezTo>
                  <a:cubicBezTo>
                    <a:pt x="-2972" y="1079486"/>
                    <a:pt x="-1783" y="981027"/>
                    <a:pt x="6539" y="965571"/>
                  </a:cubicBezTo>
                  <a:cubicBezTo>
                    <a:pt x="14861" y="950116"/>
                    <a:pt x="71818" y="879001"/>
                    <a:pt x="74196" y="858790"/>
                  </a:cubicBezTo>
                  <a:cubicBezTo>
                    <a:pt x="76574" y="838579"/>
                    <a:pt x="76574" y="827988"/>
                    <a:pt x="88462" y="822044"/>
                  </a:cubicBezTo>
                  <a:cubicBezTo>
                    <a:pt x="99162" y="817288"/>
                    <a:pt x="135909" y="813721"/>
                    <a:pt x="143041" y="799455"/>
                  </a:cubicBezTo>
                  <a:cubicBezTo>
                    <a:pt x="150175" y="785189"/>
                    <a:pt x="180977" y="718829"/>
                    <a:pt x="198810" y="697429"/>
                  </a:cubicBezTo>
                  <a:cubicBezTo>
                    <a:pt x="217831" y="676030"/>
                    <a:pt x="271222" y="620369"/>
                    <a:pt x="288947" y="607292"/>
                  </a:cubicBezTo>
                  <a:cubicBezTo>
                    <a:pt x="306780" y="595403"/>
                    <a:pt x="322127" y="583515"/>
                    <a:pt x="325694" y="566979"/>
                  </a:cubicBezTo>
                  <a:cubicBezTo>
                    <a:pt x="328071" y="550335"/>
                    <a:pt x="389784" y="514777"/>
                    <a:pt x="382651" y="508832"/>
                  </a:cubicBezTo>
                  <a:cubicBezTo>
                    <a:pt x="375518" y="504077"/>
                    <a:pt x="363737" y="493377"/>
                    <a:pt x="370762" y="486244"/>
                  </a:cubicBezTo>
                  <a:cubicBezTo>
                    <a:pt x="377896" y="480300"/>
                    <a:pt x="394432" y="470789"/>
                    <a:pt x="388596" y="462467"/>
                  </a:cubicBezTo>
                  <a:cubicBezTo>
                    <a:pt x="382651" y="454145"/>
                    <a:pt x="375518" y="437609"/>
                    <a:pt x="375518" y="429287"/>
                  </a:cubicBezTo>
                  <a:cubicBezTo>
                    <a:pt x="375518" y="420965"/>
                    <a:pt x="385029" y="368763"/>
                    <a:pt x="398107" y="354605"/>
                  </a:cubicBezTo>
                  <a:cubicBezTo>
                    <a:pt x="412372" y="340338"/>
                    <a:pt x="411184" y="340338"/>
                    <a:pt x="409995" y="330936"/>
                  </a:cubicBezTo>
                  <a:cubicBezTo>
                    <a:pt x="408806" y="321533"/>
                    <a:pt x="412372" y="296567"/>
                    <a:pt x="402862" y="301322"/>
                  </a:cubicBezTo>
                  <a:cubicBezTo>
                    <a:pt x="393351" y="307267"/>
                    <a:pt x="385029" y="316777"/>
                    <a:pt x="369682" y="321533"/>
                  </a:cubicBezTo>
                  <a:cubicBezTo>
                    <a:pt x="354227" y="325099"/>
                    <a:pt x="336502" y="338177"/>
                    <a:pt x="341257" y="360657"/>
                  </a:cubicBezTo>
                  <a:cubicBezTo>
                    <a:pt x="344823" y="383246"/>
                    <a:pt x="326991" y="327477"/>
                    <a:pt x="335313" y="319155"/>
                  </a:cubicBezTo>
                  <a:lnTo>
                    <a:pt x="348390" y="301430"/>
                  </a:lnTo>
                  <a:lnTo>
                    <a:pt x="348390" y="299161"/>
                  </a:lnTo>
                  <a:lnTo>
                    <a:pt x="353146" y="280247"/>
                  </a:lnTo>
                  <a:lnTo>
                    <a:pt x="323532" y="268358"/>
                  </a:lnTo>
                  <a:lnTo>
                    <a:pt x="317588" y="250525"/>
                  </a:lnTo>
                  <a:lnTo>
                    <a:pt x="327099" y="235070"/>
                  </a:lnTo>
                  <a:lnTo>
                    <a:pt x="336610" y="206646"/>
                  </a:lnTo>
                  <a:lnTo>
                    <a:pt x="323532" y="181680"/>
                  </a:lnTo>
                  <a:lnTo>
                    <a:pt x="315210" y="147311"/>
                  </a:lnTo>
                  <a:lnTo>
                    <a:pt x="334124" y="140178"/>
                  </a:lnTo>
                  <a:lnTo>
                    <a:pt x="346013" y="118778"/>
                  </a:lnTo>
                  <a:lnTo>
                    <a:pt x="355524" y="102134"/>
                  </a:lnTo>
                  <a:lnTo>
                    <a:pt x="367412" y="85490"/>
                  </a:lnTo>
                  <a:lnTo>
                    <a:pt x="366223" y="46365"/>
                  </a:lnTo>
                  <a:lnTo>
                    <a:pt x="365035" y="30910"/>
                  </a:lnTo>
                  <a:lnTo>
                    <a:pt x="365035" y="28532"/>
                  </a:lnTo>
                  <a:lnTo>
                    <a:pt x="370979" y="8322"/>
                  </a:lnTo>
                  <a:lnTo>
                    <a:pt x="407725" y="0"/>
                  </a:lnTo>
                  <a:lnTo>
                    <a:pt x="448039" y="27236"/>
                  </a:lnTo>
                  <a:lnTo>
                    <a:pt x="463494" y="41502"/>
                  </a:lnTo>
                  <a:lnTo>
                    <a:pt x="463494" y="39124"/>
                  </a:lnTo>
                  <a:lnTo>
                    <a:pt x="469438" y="21291"/>
                  </a:lnTo>
                  <a:lnTo>
                    <a:pt x="470627" y="21291"/>
                  </a:lnTo>
                  <a:lnTo>
                    <a:pt x="490837" y="35558"/>
                  </a:lnTo>
                  <a:lnTo>
                    <a:pt x="515696" y="37935"/>
                  </a:lnTo>
                  <a:lnTo>
                    <a:pt x="573841" y="49824"/>
                  </a:lnTo>
                  <a:lnTo>
                    <a:pt x="599889" y="74682"/>
                  </a:lnTo>
                  <a:lnTo>
                    <a:pt x="628313" y="72304"/>
                  </a:lnTo>
                  <a:lnTo>
                    <a:pt x="655549" y="99540"/>
                  </a:lnTo>
                  <a:lnTo>
                    <a:pt x="688729" y="119751"/>
                  </a:lnTo>
                  <a:lnTo>
                    <a:pt x="689918" y="120940"/>
                  </a:lnTo>
                  <a:lnTo>
                    <a:pt x="701806" y="156497"/>
                  </a:lnTo>
                  <a:lnTo>
                    <a:pt x="687540" y="168386"/>
                  </a:lnTo>
                  <a:lnTo>
                    <a:pt x="655549" y="192163"/>
                  </a:lnTo>
                  <a:lnTo>
                    <a:pt x="655549" y="194541"/>
                  </a:lnTo>
                  <a:lnTo>
                    <a:pt x="643660" y="208807"/>
                  </a:lnTo>
                  <a:lnTo>
                    <a:pt x="655549" y="233665"/>
                  </a:lnTo>
                  <a:lnTo>
                    <a:pt x="687540" y="236043"/>
                  </a:lnTo>
                  <a:lnTo>
                    <a:pt x="706454" y="245554"/>
                  </a:lnTo>
                  <a:lnTo>
                    <a:pt x="706454" y="246743"/>
                  </a:lnTo>
                  <a:lnTo>
                    <a:pt x="710020" y="273979"/>
                  </a:lnTo>
                  <a:lnTo>
                    <a:pt x="710020" y="275167"/>
                  </a:lnTo>
                  <a:lnTo>
                    <a:pt x="723097" y="277545"/>
                  </a:lnTo>
                  <a:lnTo>
                    <a:pt x="740931" y="304781"/>
                  </a:lnTo>
                  <a:lnTo>
                    <a:pt x="749253" y="313103"/>
                  </a:lnTo>
                  <a:lnTo>
                    <a:pt x="788377" y="311914"/>
                  </a:lnTo>
                  <a:lnTo>
                    <a:pt x="819179" y="304781"/>
                  </a:lnTo>
                  <a:lnTo>
                    <a:pt x="860682" y="300025"/>
                  </a:lnTo>
                  <a:lnTo>
                    <a:pt x="886728" y="295270"/>
                  </a:lnTo>
                  <a:lnTo>
                    <a:pt x="904561" y="285759"/>
                  </a:lnTo>
                  <a:lnTo>
                    <a:pt x="923583" y="294081"/>
                  </a:lnTo>
                  <a:lnTo>
                    <a:pt x="933094" y="335583"/>
                  </a:lnTo>
                  <a:lnTo>
                    <a:pt x="953305" y="354497"/>
                  </a:lnTo>
                  <a:lnTo>
                    <a:pt x="892348" y="416534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6" name="Полилиния: фигура 196"/>
            <p:cNvSpPr/>
            <p:nvPr/>
          </p:nvSpPr>
          <p:spPr bwMode="auto">
            <a:xfrm>
              <a:off x="8464071" y="3525224"/>
              <a:ext cx="970975" cy="917908"/>
            </a:xfrm>
            <a:custGeom>
              <a:avLst/>
              <a:gdLst>
                <a:gd name="connsiteX0" fmla="*/ 7134 w 970975"/>
                <a:gd name="connsiteY0" fmla="*/ 523099 h 917908"/>
                <a:gd name="connsiteX1" fmla="*/ 0 w 970975"/>
                <a:gd name="connsiteY1" fmla="*/ 488730 h 917908"/>
                <a:gd name="connsiteX2" fmla="*/ 13078 w 970975"/>
                <a:gd name="connsiteY2" fmla="*/ 473275 h 917908"/>
                <a:gd name="connsiteX3" fmla="*/ 32100 w 970975"/>
                <a:gd name="connsiteY3" fmla="*/ 456631 h 917908"/>
                <a:gd name="connsiteX4" fmla="*/ 35666 w 970975"/>
                <a:gd name="connsiteY4" fmla="*/ 445931 h 917908"/>
                <a:gd name="connsiteX5" fmla="*/ 33288 w 970975"/>
                <a:gd name="connsiteY5" fmla="*/ 425721 h 917908"/>
                <a:gd name="connsiteX6" fmla="*/ 26155 w 970975"/>
                <a:gd name="connsiteY6" fmla="*/ 396107 h 917908"/>
                <a:gd name="connsiteX7" fmla="*/ 26155 w 970975"/>
                <a:gd name="connsiteY7" fmla="*/ 368871 h 917908"/>
                <a:gd name="connsiteX8" fmla="*/ 30910 w 970975"/>
                <a:gd name="connsiteY8" fmla="*/ 341636 h 917908"/>
                <a:gd name="connsiteX9" fmla="*/ 48743 w 970975"/>
                <a:gd name="connsiteY9" fmla="*/ 315589 h 917908"/>
                <a:gd name="connsiteX10" fmla="*/ 54688 w 970975"/>
                <a:gd name="connsiteY10" fmla="*/ 307267 h 917908"/>
                <a:gd name="connsiteX11" fmla="*/ 63010 w 970975"/>
                <a:gd name="connsiteY11" fmla="*/ 293000 h 917908"/>
                <a:gd name="connsiteX12" fmla="*/ 80842 w 970975"/>
                <a:gd name="connsiteY12" fmla="*/ 262198 h 917908"/>
                <a:gd name="connsiteX13" fmla="*/ 90353 w 970975"/>
                <a:gd name="connsiteY13" fmla="*/ 269331 h 917908"/>
                <a:gd name="connsiteX14" fmla="*/ 116401 w 970975"/>
                <a:gd name="connsiteY14" fmla="*/ 275275 h 917908"/>
                <a:gd name="connsiteX15" fmla="*/ 154336 w 970975"/>
                <a:gd name="connsiteY15" fmla="*/ 287164 h 917908"/>
                <a:gd name="connsiteX16" fmla="*/ 163847 w 970975"/>
                <a:gd name="connsiteY16" fmla="*/ 297864 h 917908"/>
                <a:gd name="connsiteX17" fmla="*/ 166224 w 970975"/>
                <a:gd name="connsiteY17" fmla="*/ 297864 h 917908"/>
                <a:gd name="connsiteX18" fmla="*/ 170980 w 970975"/>
                <a:gd name="connsiteY18" fmla="*/ 245662 h 917908"/>
                <a:gd name="connsiteX19" fmla="*/ 186435 w 970975"/>
                <a:gd name="connsiteY19" fmla="*/ 229018 h 917908"/>
                <a:gd name="connsiteX20" fmla="*/ 201890 w 970975"/>
                <a:gd name="connsiteY20" fmla="*/ 226640 h 917908"/>
                <a:gd name="connsiteX21" fmla="*/ 212590 w 970975"/>
                <a:gd name="connsiteY21" fmla="*/ 239718 h 917908"/>
                <a:gd name="connsiteX22" fmla="*/ 230423 w 970975"/>
                <a:gd name="connsiteY22" fmla="*/ 226640 h 917908"/>
                <a:gd name="connsiteX23" fmla="*/ 262414 w 970975"/>
                <a:gd name="connsiteY23" fmla="*/ 225451 h 917908"/>
                <a:gd name="connsiteX24" fmla="*/ 277870 w 970975"/>
                <a:gd name="connsiteY24" fmla="*/ 229018 h 917908"/>
                <a:gd name="connsiteX25" fmla="*/ 276681 w 970975"/>
                <a:gd name="connsiteY25" fmla="*/ 248040 h 917908"/>
                <a:gd name="connsiteX26" fmla="*/ 293325 w 970975"/>
                <a:gd name="connsiteY26" fmla="*/ 252795 h 917908"/>
                <a:gd name="connsiteX27" fmla="*/ 334826 w 970975"/>
                <a:gd name="connsiteY27" fmla="*/ 238529 h 917908"/>
                <a:gd name="connsiteX28" fmla="*/ 375140 w 970975"/>
                <a:gd name="connsiteY28" fmla="*/ 238529 h 917908"/>
                <a:gd name="connsiteX29" fmla="*/ 390595 w 970975"/>
                <a:gd name="connsiteY29" fmla="*/ 233773 h 917908"/>
                <a:gd name="connsiteX30" fmla="*/ 411994 w 970975"/>
                <a:gd name="connsiteY30" fmla="*/ 213563 h 917908"/>
                <a:gd name="connsiteX31" fmla="*/ 409617 w 970975"/>
                <a:gd name="connsiteY31" fmla="*/ 170872 h 917908"/>
                <a:gd name="connsiteX32" fmla="*/ 432205 w 970975"/>
                <a:gd name="connsiteY32" fmla="*/ 149472 h 917908"/>
                <a:gd name="connsiteX33" fmla="*/ 432205 w 970975"/>
                <a:gd name="connsiteY33" fmla="*/ 148283 h 917908"/>
                <a:gd name="connsiteX34" fmla="*/ 442905 w 970975"/>
                <a:gd name="connsiteY34" fmla="*/ 128073 h 917908"/>
                <a:gd name="connsiteX35" fmla="*/ 451227 w 970975"/>
                <a:gd name="connsiteY35" fmla="*/ 74682 h 917908"/>
                <a:gd name="connsiteX36" fmla="*/ 503429 w 970975"/>
                <a:gd name="connsiteY36" fmla="*/ 23669 h 917908"/>
                <a:gd name="connsiteX37" fmla="*/ 538986 w 970975"/>
                <a:gd name="connsiteY37" fmla="*/ 23669 h 917908"/>
                <a:gd name="connsiteX38" fmla="*/ 565034 w 970975"/>
                <a:gd name="connsiteY38" fmla="*/ 37936 h 917908"/>
                <a:gd name="connsiteX39" fmla="*/ 588703 w 970975"/>
                <a:gd name="connsiteY39" fmla="*/ 30802 h 917908"/>
                <a:gd name="connsiteX40" fmla="*/ 604158 w 970975"/>
                <a:gd name="connsiteY40" fmla="*/ 21291 h 917908"/>
                <a:gd name="connsiteX41" fmla="*/ 613669 w 970975"/>
                <a:gd name="connsiteY41" fmla="*/ 17725 h 917908"/>
                <a:gd name="connsiteX42" fmla="*/ 633879 w 970975"/>
                <a:gd name="connsiteY42" fmla="*/ 37936 h 917908"/>
                <a:gd name="connsiteX43" fmla="*/ 649335 w 970975"/>
                <a:gd name="connsiteY43" fmla="*/ 46257 h 917908"/>
                <a:gd name="connsiteX44" fmla="*/ 674301 w 970975"/>
                <a:gd name="connsiteY44" fmla="*/ 45069 h 917908"/>
                <a:gd name="connsiteX45" fmla="*/ 702725 w 970975"/>
                <a:gd name="connsiteY45" fmla="*/ 21400 h 917908"/>
                <a:gd name="connsiteX46" fmla="*/ 720558 w 970975"/>
                <a:gd name="connsiteY46" fmla="*/ 0 h 917908"/>
                <a:gd name="connsiteX47" fmla="*/ 758493 w 970975"/>
                <a:gd name="connsiteY47" fmla="*/ 3567 h 917908"/>
                <a:gd name="connsiteX48" fmla="*/ 756116 w 970975"/>
                <a:gd name="connsiteY48" fmla="*/ 69927 h 917908"/>
                <a:gd name="connsiteX49" fmla="*/ 762060 w 970975"/>
                <a:gd name="connsiteY49" fmla="*/ 80626 h 917908"/>
                <a:gd name="connsiteX50" fmla="*/ 788107 w 970975"/>
                <a:gd name="connsiteY50" fmla="*/ 87760 h 917908"/>
                <a:gd name="connsiteX51" fmla="*/ 820098 w 970975"/>
                <a:gd name="connsiteY51" fmla="*/ 117373 h 917908"/>
                <a:gd name="connsiteX52" fmla="*/ 829609 w 970975"/>
                <a:gd name="connsiteY52" fmla="*/ 132828 h 917908"/>
                <a:gd name="connsiteX53" fmla="*/ 841497 w 970975"/>
                <a:gd name="connsiteY53" fmla="*/ 137584 h 917908"/>
                <a:gd name="connsiteX54" fmla="*/ 854575 w 970975"/>
                <a:gd name="connsiteY54" fmla="*/ 131639 h 917908"/>
                <a:gd name="connsiteX55" fmla="*/ 875974 w 970975"/>
                <a:gd name="connsiteY55" fmla="*/ 139962 h 917908"/>
                <a:gd name="connsiteX56" fmla="*/ 899644 w 970975"/>
                <a:gd name="connsiteY56" fmla="*/ 168386 h 917908"/>
                <a:gd name="connsiteX57" fmla="*/ 907966 w 970975"/>
                <a:gd name="connsiteY57" fmla="*/ 196919 h 917908"/>
                <a:gd name="connsiteX58" fmla="*/ 925799 w 970975"/>
                <a:gd name="connsiteY58" fmla="*/ 207618 h 917908"/>
                <a:gd name="connsiteX59" fmla="*/ 947198 w 970975"/>
                <a:gd name="connsiteY59" fmla="*/ 208807 h 917908"/>
                <a:gd name="connsiteX60" fmla="*/ 968598 w 970975"/>
                <a:gd name="connsiteY60" fmla="*/ 198108 h 917908"/>
                <a:gd name="connsiteX61" fmla="*/ 970976 w 970975"/>
                <a:gd name="connsiteY61" fmla="*/ 257443 h 917908"/>
                <a:gd name="connsiteX62" fmla="*/ 960276 w 970975"/>
                <a:gd name="connsiteY62" fmla="*/ 274087 h 917908"/>
                <a:gd name="connsiteX63" fmla="*/ 940065 w 970975"/>
                <a:gd name="connsiteY63" fmla="*/ 312022 h 917908"/>
                <a:gd name="connsiteX64" fmla="*/ 921044 w 970975"/>
                <a:gd name="connsiteY64" fmla="*/ 319155 h 917908"/>
                <a:gd name="connsiteX65" fmla="*/ 929365 w 970975"/>
                <a:gd name="connsiteY65" fmla="*/ 358279 h 917908"/>
                <a:gd name="connsiteX66" fmla="*/ 941254 w 970975"/>
                <a:gd name="connsiteY66" fmla="*/ 378490 h 917908"/>
                <a:gd name="connsiteX67" fmla="*/ 932932 w 970975"/>
                <a:gd name="connsiteY67" fmla="*/ 408104 h 917908"/>
                <a:gd name="connsiteX68" fmla="*/ 923421 w 970975"/>
                <a:gd name="connsiteY68" fmla="*/ 419992 h 917908"/>
                <a:gd name="connsiteX69" fmla="*/ 929365 w 970975"/>
                <a:gd name="connsiteY69" fmla="*/ 440203 h 917908"/>
                <a:gd name="connsiteX70" fmla="*/ 960168 w 970975"/>
                <a:gd name="connsiteY70" fmla="*/ 453280 h 917908"/>
                <a:gd name="connsiteX71" fmla="*/ 951846 w 970975"/>
                <a:gd name="connsiteY71" fmla="*/ 473491 h 917908"/>
                <a:gd name="connsiteX72" fmla="*/ 937579 w 970975"/>
                <a:gd name="connsiteY72" fmla="*/ 494891 h 917908"/>
                <a:gd name="connsiteX73" fmla="*/ 936390 w 970975"/>
                <a:gd name="connsiteY73" fmla="*/ 510346 h 917908"/>
                <a:gd name="connsiteX74" fmla="*/ 942335 w 970975"/>
                <a:gd name="connsiteY74" fmla="*/ 530556 h 917908"/>
                <a:gd name="connsiteX75" fmla="*/ 950657 w 970975"/>
                <a:gd name="connsiteY75" fmla="*/ 562547 h 917908"/>
                <a:gd name="connsiteX76" fmla="*/ 956601 w 970975"/>
                <a:gd name="connsiteY76" fmla="*/ 586325 h 917908"/>
                <a:gd name="connsiteX77" fmla="*/ 935202 w 970975"/>
                <a:gd name="connsiteY77" fmla="*/ 606535 h 917908"/>
                <a:gd name="connsiteX78" fmla="*/ 911533 w 970975"/>
                <a:gd name="connsiteY78" fmla="*/ 630313 h 917908"/>
                <a:gd name="connsiteX79" fmla="*/ 887755 w 970975"/>
                <a:gd name="connsiteY79" fmla="*/ 655171 h 917908"/>
                <a:gd name="connsiteX80" fmla="*/ 880622 w 970975"/>
                <a:gd name="connsiteY80" fmla="*/ 674084 h 917908"/>
                <a:gd name="connsiteX81" fmla="*/ 872300 w 970975"/>
                <a:gd name="connsiteY81" fmla="*/ 680029 h 917908"/>
                <a:gd name="connsiteX82" fmla="*/ 862789 w 970975"/>
                <a:gd name="connsiteY82" fmla="*/ 676462 h 917908"/>
                <a:gd name="connsiteX83" fmla="*/ 842579 w 970975"/>
                <a:gd name="connsiteY83" fmla="*/ 666951 h 917908"/>
                <a:gd name="connsiteX84" fmla="*/ 827123 w 970975"/>
                <a:gd name="connsiteY84" fmla="*/ 650307 h 917908"/>
                <a:gd name="connsiteX85" fmla="*/ 828312 w 970975"/>
                <a:gd name="connsiteY85" fmla="*/ 636041 h 917908"/>
                <a:gd name="connsiteX86" fmla="*/ 847226 w 970975"/>
                <a:gd name="connsiteY86" fmla="*/ 607616 h 917908"/>
                <a:gd name="connsiteX87" fmla="*/ 853170 w 970975"/>
                <a:gd name="connsiteY87" fmla="*/ 599294 h 917908"/>
                <a:gd name="connsiteX88" fmla="*/ 866248 w 970975"/>
                <a:gd name="connsiteY88" fmla="*/ 561359 h 917908"/>
                <a:gd name="connsiteX89" fmla="*/ 879325 w 970975"/>
                <a:gd name="connsiteY89" fmla="*/ 530556 h 917908"/>
                <a:gd name="connsiteX90" fmla="*/ 881703 w 970975"/>
                <a:gd name="connsiteY90" fmla="*/ 522234 h 917908"/>
                <a:gd name="connsiteX91" fmla="*/ 862789 w 970975"/>
                <a:gd name="connsiteY91" fmla="*/ 542445 h 917908"/>
                <a:gd name="connsiteX92" fmla="*/ 846145 w 970975"/>
                <a:gd name="connsiteY92" fmla="*/ 563845 h 917908"/>
                <a:gd name="connsiteX93" fmla="*/ 827123 w 970975"/>
                <a:gd name="connsiteY93" fmla="*/ 572167 h 917908"/>
                <a:gd name="connsiteX94" fmla="*/ 804535 w 970975"/>
                <a:gd name="connsiteY94" fmla="*/ 572167 h 917908"/>
                <a:gd name="connsiteX95" fmla="*/ 766599 w 970975"/>
                <a:gd name="connsiteY95" fmla="*/ 587622 h 917908"/>
                <a:gd name="connsiteX96" fmla="*/ 740553 w 970975"/>
                <a:gd name="connsiteY96" fmla="*/ 597133 h 917908"/>
                <a:gd name="connsiteX97" fmla="*/ 740553 w 970975"/>
                <a:gd name="connsiteY97" fmla="*/ 598322 h 917908"/>
                <a:gd name="connsiteX98" fmla="*/ 720342 w 970975"/>
                <a:gd name="connsiteY98" fmla="*/ 613777 h 917908"/>
                <a:gd name="connsiteX99" fmla="*/ 719153 w 970975"/>
                <a:gd name="connsiteY99" fmla="*/ 614965 h 917908"/>
                <a:gd name="connsiteX100" fmla="*/ 707264 w 970975"/>
                <a:gd name="connsiteY100" fmla="*/ 631610 h 917908"/>
                <a:gd name="connsiteX101" fmla="*/ 700131 w 970975"/>
                <a:gd name="connsiteY101" fmla="*/ 656576 h 917908"/>
                <a:gd name="connsiteX102" fmla="*/ 679921 w 970975"/>
                <a:gd name="connsiteY102" fmla="*/ 701644 h 917908"/>
                <a:gd name="connsiteX103" fmla="*/ 672787 w 970975"/>
                <a:gd name="connsiteY103" fmla="*/ 723044 h 917908"/>
                <a:gd name="connsiteX104" fmla="*/ 658521 w 970975"/>
                <a:gd name="connsiteY104" fmla="*/ 736121 h 917908"/>
                <a:gd name="connsiteX105" fmla="*/ 613452 w 970975"/>
                <a:gd name="connsiteY105" fmla="*/ 756332 h 917908"/>
                <a:gd name="connsiteX106" fmla="*/ 606320 w 970975"/>
                <a:gd name="connsiteY106" fmla="*/ 770598 h 917908"/>
                <a:gd name="connsiteX107" fmla="*/ 588486 w 970975"/>
                <a:gd name="connsiteY107" fmla="*/ 797834 h 917908"/>
                <a:gd name="connsiteX108" fmla="*/ 565898 w 970975"/>
                <a:gd name="connsiteY108" fmla="*/ 818045 h 917908"/>
                <a:gd name="connsiteX109" fmla="*/ 558765 w 970975"/>
                <a:gd name="connsiteY109" fmla="*/ 832311 h 917908"/>
                <a:gd name="connsiteX110" fmla="*/ 582542 w 970975"/>
                <a:gd name="connsiteY110" fmla="*/ 837067 h 917908"/>
                <a:gd name="connsiteX111" fmla="*/ 616911 w 970975"/>
                <a:gd name="connsiteY111" fmla="*/ 832311 h 917908"/>
                <a:gd name="connsiteX112" fmla="*/ 625233 w 970975"/>
                <a:gd name="connsiteY112" fmla="*/ 840633 h 917908"/>
                <a:gd name="connsiteX113" fmla="*/ 624044 w 970975"/>
                <a:gd name="connsiteY113" fmla="*/ 858466 h 917908"/>
                <a:gd name="connsiteX114" fmla="*/ 603833 w 970975"/>
                <a:gd name="connsiteY114" fmla="*/ 869166 h 917908"/>
                <a:gd name="connsiteX115" fmla="*/ 603833 w 970975"/>
                <a:gd name="connsiteY115" fmla="*/ 870355 h 917908"/>
                <a:gd name="connsiteX116" fmla="*/ 584811 w 970975"/>
                <a:gd name="connsiteY116" fmla="*/ 877488 h 917908"/>
                <a:gd name="connsiteX117" fmla="*/ 574112 w 970975"/>
                <a:gd name="connsiteY117" fmla="*/ 884621 h 917908"/>
                <a:gd name="connsiteX118" fmla="*/ 546877 w 970975"/>
                <a:gd name="connsiteY118" fmla="*/ 879865 h 917908"/>
                <a:gd name="connsiteX119" fmla="*/ 532610 w 970975"/>
                <a:gd name="connsiteY119" fmla="*/ 884621 h 917908"/>
                <a:gd name="connsiteX120" fmla="*/ 531421 w 970975"/>
                <a:gd name="connsiteY120" fmla="*/ 884621 h 917908"/>
                <a:gd name="connsiteX121" fmla="*/ 504185 w 970975"/>
                <a:gd name="connsiteY121" fmla="*/ 875110 h 917908"/>
                <a:gd name="connsiteX122" fmla="*/ 485164 w 970975"/>
                <a:gd name="connsiteY122" fmla="*/ 875110 h 917908"/>
                <a:gd name="connsiteX123" fmla="*/ 442473 w 970975"/>
                <a:gd name="connsiteY123" fmla="*/ 896510 h 917908"/>
                <a:gd name="connsiteX124" fmla="*/ 406915 w 970975"/>
                <a:gd name="connsiteY124" fmla="*/ 914342 h 917908"/>
                <a:gd name="connsiteX125" fmla="*/ 383246 w 970975"/>
                <a:gd name="connsiteY125" fmla="*/ 917909 h 917908"/>
                <a:gd name="connsiteX126" fmla="*/ 368979 w 970975"/>
                <a:gd name="connsiteY126" fmla="*/ 903643 h 917908"/>
                <a:gd name="connsiteX127" fmla="*/ 364224 w 970975"/>
                <a:gd name="connsiteY127" fmla="*/ 886999 h 917908"/>
                <a:gd name="connsiteX128" fmla="*/ 368979 w 970975"/>
                <a:gd name="connsiteY128" fmla="*/ 882243 h 917908"/>
                <a:gd name="connsiteX129" fmla="*/ 393837 w 970975"/>
                <a:gd name="connsiteY129" fmla="*/ 877488 h 917908"/>
                <a:gd name="connsiteX130" fmla="*/ 402160 w 970975"/>
                <a:gd name="connsiteY130" fmla="*/ 869166 h 917908"/>
                <a:gd name="connsiteX131" fmla="*/ 391460 w 970975"/>
                <a:gd name="connsiteY131" fmla="*/ 858466 h 917908"/>
                <a:gd name="connsiteX132" fmla="*/ 371249 w 970975"/>
                <a:gd name="connsiteY132" fmla="*/ 844200 h 917908"/>
                <a:gd name="connsiteX133" fmla="*/ 370060 w 970975"/>
                <a:gd name="connsiteY133" fmla="*/ 826367 h 917908"/>
                <a:gd name="connsiteX134" fmla="*/ 367683 w 970975"/>
                <a:gd name="connsiteY134" fmla="*/ 808534 h 917908"/>
                <a:gd name="connsiteX135" fmla="*/ 335691 w 970975"/>
                <a:gd name="connsiteY135" fmla="*/ 827556 h 917908"/>
                <a:gd name="connsiteX136" fmla="*/ 330936 w 970975"/>
                <a:gd name="connsiteY136" fmla="*/ 807345 h 917908"/>
                <a:gd name="connsiteX137" fmla="*/ 269223 w 970975"/>
                <a:gd name="connsiteY137" fmla="*/ 809723 h 917908"/>
                <a:gd name="connsiteX138" fmla="*/ 273979 w 970975"/>
                <a:gd name="connsiteY138" fmla="*/ 818045 h 917908"/>
                <a:gd name="connsiteX139" fmla="*/ 221777 w 970975"/>
                <a:gd name="connsiteY139" fmla="*/ 840633 h 917908"/>
                <a:gd name="connsiteX140" fmla="*/ 221777 w 970975"/>
                <a:gd name="connsiteY140" fmla="*/ 846577 h 917908"/>
                <a:gd name="connsiteX141" fmla="*/ 259712 w 970975"/>
                <a:gd name="connsiteY141" fmla="*/ 853710 h 917908"/>
                <a:gd name="connsiteX142" fmla="*/ 258523 w 970975"/>
                <a:gd name="connsiteY142" fmla="*/ 860844 h 917908"/>
                <a:gd name="connsiteX143" fmla="*/ 239502 w 970975"/>
                <a:gd name="connsiteY143" fmla="*/ 871544 h 917908"/>
                <a:gd name="connsiteX144" fmla="*/ 200378 w 970975"/>
                <a:gd name="connsiteY144" fmla="*/ 862033 h 917908"/>
                <a:gd name="connsiteX145" fmla="*/ 163631 w 970975"/>
                <a:gd name="connsiteY145" fmla="*/ 857277 h 917908"/>
                <a:gd name="connsiteX146" fmla="*/ 120940 w 970975"/>
                <a:gd name="connsiteY146" fmla="*/ 856088 h 917908"/>
                <a:gd name="connsiteX147" fmla="*/ 124506 w 970975"/>
                <a:gd name="connsiteY147" fmla="*/ 770706 h 917908"/>
                <a:gd name="connsiteX148" fmla="*/ 116184 w 970975"/>
                <a:gd name="connsiteY148" fmla="*/ 758818 h 917908"/>
                <a:gd name="connsiteX149" fmla="*/ 86571 w 970975"/>
                <a:gd name="connsiteY149" fmla="*/ 729204 h 917908"/>
                <a:gd name="connsiteX150" fmla="*/ 66360 w 970975"/>
                <a:gd name="connsiteY150" fmla="*/ 716127 h 917908"/>
                <a:gd name="connsiteX151" fmla="*/ 41502 w 970975"/>
                <a:gd name="connsiteY151" fmla="*/ 699483 h 917908"/>
                <a:gd name="connsiteX152" fmla="*/ 46258 w 970975"/>
                <a:gd name="connsiteY152" fmla="*/ 669869 h 917908"/>
                <a:gd name="connsiteX153" fmla="*/ 69927 w 970975"/>
                <a:gd name="connsiteY153" fmla="*/ 656792 h 917908"/>
                <a:gd name="connsiteX154" fmla="*/ 101918 w 970975"/>
                <a:gd name="connsiteY154" fmla="*/ 633015 h 917908"/>
                <a:gd name="connsiteX155" fmla="*/ 101918 w 970975"/>
                <a:gd name="connsiteY155" fmla="*/ 602212 h 917908"/>
                <a:gd name="connsiteX156" fmla="*/ 93596 w 970975"/>
                <a:gd name="connsiteY156" fmla="*/ 580813 h 917908"/>
                <a:gd name="connsiteX157" fmla="*/ 92407 w 970975"/>
                <a:gd name="connsiteY157" fmla="*/ 580813 h 917908"/>
                <a:gd name="connsiteX158" fmla="*/ 76952 w 970975"/>
                <a:gd name="connsiteY158" fmla="*/ 555955 h 917908"/>
                <a:gd name="connsiteX159" fmla="*/ 60308 w 970975"/>
                <a:gd name="connsiteY159" fmla="*/ 529908 h 917908"/>
                <a:gd name="connsiteX160" fmla="*/ 38909 w 970975"/>
                <a:gd name="connsiteY160" fmla="*/ 515641 h 917908"/>
                <a:gd name="connsiteX161" fmla="*/ 23453 w 970975"/>
                <a:gd name="connsiteY161" fmla="*/ 519208 h 917908"/>
                <a:gd name="connsiteX162" fmla="*/ 7134 w 970975"/>
                <a:gd name="connsiteY162" fmla="*/ 523099 h 917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970975" h="917908" extrusionOk="0">
                  <a:moveTo>
                    <a:pt x="7134" y="523099"/>
                  </a:moveTo>
                  <a:lnTo>
                    <a:pt x="0" y="488730"/>
                  </a:lnTo>
                  <a:lnTo>
                    <a:pt x="13078" y="473275"/>
                  </a:lnTo>
                  <a:lnTo>
                    <a:pt x="32100" y="456631"/>
                  </a:lnTo>
                  <a:lnTo>
                    <a:pt x="35666" y="445931"/>
                  </a:lnTo>
                  <a:lnTo>
                    <a:pt x="33288" y="425721"/>
                  </a:lnTo>
                  <a:lnTo>
                    <a:pt x="26155" y="396107"/>
                  </a:lnTo>
                  <a:lnTo>
                    <a:pt x="26155" y="368871"/>
                  </a:lnTo>
                  <a:lnTo>
                    <a:pt x="30910" y="341636"/>
                  </a:lnTo>
                  <a:lnTo>
                    <a:pt x="48743" y="315589"/>
                  </a:lnTo>
                  <a:lnTo>
                    <a:pt x="54688" y="307267"/>
                  </a:lnTo>
                  <a:lnTo>
                    <a:pt x="63010" y="293000"/>
                  </a:lnTo>
                  <a:lnTo>
                    <a:pt x="80842" y="262198"/>
                  </a:lnTo>
                  <a:lnTo>
                    <a:pt x="90353" y="269331"/>
                  </a:lnTo>
                  <a:lnTo>
                    <a:pt x="116401" y="275275"/>
                  </a:lnTo>
                  <a:lnTo>
                    <a:pt x="154336" y="287164"/>
                  </a:lnTo>
                  <a:lnTo>
                    <a:pt x="163847" y="297864"/>
                  </a:lnTo>
                  <a:lnTo>
                    <a:pt x="166224" y="297864"/>
                  </a:lnTo>
                  <a:lnTo>
                    <a:pt x="170980" y="245662"/>
                  </a:lnTo>
                  <a:lnTo>
                    <a:pt x="186435" y="229018"/>
                  </a:lnTo>
                  <a:lnTo>
                    <a:pt x="201890" y="226640"/>
                  </a:lnTo>
                  <a:lnTo>
                    <a:pt x="212590" y="239718"/>
                  </a:lnTo>
                  <a:lnTo>
                    <a:pt x="230423" y="226640"/>
                  </a:lnTo>
                  <a:lnTo>
                    <a:pt x="262414" y="225451"/>
                  </a:lnTo>
                  <a:lnTo>
                    <a:pt x="277870" y="229018"/>
                  </a:lnTo>
                  <a:lnTo>
                    <a:pt x="276681" y="248040"/>
                  </a:lnTo>
                  <a:lnTo>
                    <a:pt x="293325" y="252795"/>
                  </a:lnTo>
                  <a:lnTo>
                    <a:pt x="334826" y="238529"/>
                  </a:lnTo>
                  <a:lnTo>
                    <a:pt x="375140" y="238529"/>
                  </a:lnTo>
                  <a:lnTo>
                    <a:pt x="390595" y="233773"/>
                  </a:lnTo>
                  <a:lnTo>
                    <a:pt x="411994" y="213563"/>
                  </a:lnTo>
                  <a:lnTo>
                    <a:pt x="409617" y="170872"/>
                  </a:lnTo>
                  <a:lnTo>
                    <a:pt x="432205" y="149472"/>
                  </a:lnTo>
                  <a:lnTo>
                    <a:pt x="432205" y="148283"/>
                  </a:lnTo>
                  <a:lnTo>
                    <a:pt x="442905" y="128073"/>
                  </a:lnTo>
                  <a:lnTo>
                    <a:pt x="451227" y="74682"/>
                  </a:lnTo>
                  <a:lnTo>
                    <a:pt x="503429" y="23669"/>
                  </a:lnTo>
                  <a:lnTo>
                    <a:pt x="538986" y="23669"/>
                  </a:lnTo>
                  <a:lnTo>
                    <a:pt x="565034" y="37936"/>
                  </a:lnTo>
                  <a:lnTo>
                    <a:pt x="588703" y="30802"/>
                  </a:lnTo>
                  <a:lnTo>
                    <a:pt x="604158" y="21291"/>
                  </a:lnTo>
                  <a:lnTo>
                    <a:pt x="613669" y="17725"/>
                  </a:lnTo>
                  <a:lnTo>
                    <a:pt x="633879" y="37936"/>
                  </a:lnTo>
                  <a:lnTo>
                    <a:pt x="649335" y="46257"/>
                  </a:lnTo>
                  <a:lnTo>
                    <a:pt x="674301" y="45069"/>
                  </a:lnTo>
                  <a:lnTo>
                    <a:pt x="702725" y="21400"/>
                  </a:lnTo>
                  <a:lnTo>
                    <a:pt x="720558" y="0"/>
                  </a:lnTo>
                  <a:lnTo>
                    <a:pt x="758493" y="3567"/>
                  </a:lnTo>
                  <a:lnTo>
                    <a:pt x="756116" y="69927"/>
                  </a:lnTo>
                  <a:lnTo>
                    <a:pt x="762060" y="80626"/>
                  </a:lnTo>
                  <a:lnTo>
                    <a:pt x="788107" y="87760"/>
                  </a:lnTo>
                  <a:lnTo>
                    <a:pt x="820098" y="117373"/>
                  </a:lnTo>
                  <a:lnTo>
                    <a:pt x="829609" y="132828"/>
                  </a:lnTo>
                  <a:lnTo>
                    <a:pt x="841497" y="137584"/>
                  </a:lnTo>
                  <a:lnTo>
                    <a:pt x="854575" y="131639"/>
                  </a:lnTo>
                  <a:lnTo>
                    <a:pt x="875974" y="139962"/>
                  </a:lnTo>
                  <a:lnTo>
                    <a:pt x="899644" y="168386"/>
                  </a:lnTo>
                  <a:lnTo>
                    <a:pt x="907966" y="196919"/>
                  </a:lnTo>
                  <a:lnTo>
                    <a:pt x="925799" y="207618"/>
                  </a:lnTo>
                  <a:lnTo>
                    <a:pt x="947198" y="208807"/>
                  </a:lnTo>
                  <a:lnTo>
                    <a:pt x="968598" y="198108"/>
                  </a:lnTo>
                  <a:lnTo>
                    <a:pt x="970976" y="257443"/>
                  </a:lnTo>
                  <a:lnTo>
                    <a:pt x="960276" y="274087"/>
                  </a:lnTo>
                  <a:lnTo>
                    <a:pt x="940065" y="312022"/>
                  </a:lnTo>
                  <a:lnTo>
                    <a:pt x="921044" y="319155"/>
                  </a:lnTo>
                  <a:lnTo>
                    <a:pt x="929365" y="358279"/>
                  </a:lnTo>
                  <a:lnTo>
                    <a:pt x="941254" y="378490"/>
                  </a:lnTo>
                  <a:lnTo>
                    <a:pt x="932932" y="408104"/>
                  </a:lnTo>
                  <a:lnTo>
                    <a:pt x="923421" y="419992"/>
                  </a:lnTo>
                  <a:lnTo>
                    <a:pt x="929365" y="440203"/>
                  </a:lnTo>
                  <a:lnTo>
                    <a:pt x="960168" y="453280"/>
                  </a:lnTo>
                  <a:lnTo>
                    <a:pt x="951846" y="473491"/>
                  </a:lnTo>
                  <a:lnTo>
                    <a:pt x="937579" y="494891"/>
                  </a:lnTo>
                  <a:lnTo>
                    <a:pt x="936390" y="510346"/>
                  </a:lnTo>
                  <a:lnTo>
                    <a:pt x="942335" y="530556"/>
                  </a:lnTo>
                  <a:lnTo>
                    <a:pt x="950657" y="562547"/>
                  </a:lnTo>
                  <a:lnTo>
                    <a:pt x="956601" y="586325"/>
                  </a:lnTo>
                  <a:lnTo>
                    <a:pt x="935202" y="606535"/>
                  </a:lnTo>
                  <a:lnTo>
                    <a:pt x="911533" y="630313"/>
                  </a:lnTo>
                  <a:lnTo>
                    <a:pt x="887755" y="655171"/>
                  </a:lnTo>
                  <a:lnTo>
                    <a:pt x="880622" y="674084"/>
                  </a:lnTo>
                  <a:lnTo>
                    <a:pt x="872300" y="680029"/>
                  </a:lnTo>
                  <a:lnTo>
                    <a:pt x="862789" y="676462"/>
                  </a:lnTo>
                  <a:lnTo>
                    <a:pt x="842579" y="666951"/>
                  </a:lnTo>
                  <a:lnTo>
                    <a:pt x="827123" y="650307"/>
                  </a:lnTo>
                  <a:lnTo>
                    <a:pt x="828312" y="636041"/>
                  </a:lnTo>
                  <a:lnTo>
                    <a:pt x="847226" y="607616"/>
                  </a:lnTo>
                  <a:lnTo>
                    <a:pt x="853170" y="599294"/>
                  </a:lnTo>
                  <a:lnTo>
                    <a:pt x="866248" y="561359"/>
                  </a:lnTo>
                  <a:lnTo>
                    <a:pt x="879325" y="530556"/>
                  </a:lnTo>
                  <a:lnTo>
                    <a:pt x="881703" y="522234"/>
                  </a:lnTo>
                  <a:lnTo>
                    <a:pt x="862789" y="542445"/>
                  </a:lnTo>
                  <a:lnTo>
                    <a:pt x="846145" y="563845"/>
                  </a:lnTo>
                  <a:lnTo>
                    <a:pt x="827123" y="572167"/>
                  </a:lnTo>
                  <a:lnTo>
                    <a:pt x="804535" y="572167"/>
                  </a:lnTo>
                  <a:lnTo>
                    <a:pt x="766599" y="587622"/>
                  </a:lnTo>
                  <a:lnTo>
                    <a:pt x="740553" y="597133"/>
                  </a:lnTo>
                  <a:lnTo>
                    <a:pt x="740553" y="598322"/>
                  </a:lnTo>
                  <a:lnTo>
                    <a:pt x="720342" y="613777"/>
                  </a:lnTo>
                  <a:lnTo>
                    <a:pt x="719153" y="614965"/>
                  </a:lnTo>
                  <a:lnTo>
                    <a:pt x="707264" y="631610"/>
                  </a:lnTo>
                  <a:lnTo>
                    <a:pt x="700131" y="656576"/>
                  </a:lnTo>
                  <a:lnTo>
                    <a:pt x="679921" y="701644"/>
                  </a:lnTo>
                  <a:lnTo>
                    <a:pt x="672787" y="723044"/>
                  </a:lnTo>
                  <a:lnTo>
                    <a:pt x="658521" y="736121"/>
                  </a:lnTo>
                  <a:lnTo>
                    <a:pt x="613452" y="756332"/>
                  </a:lnTo>
                  <a:lnTo>
                    <a:pt x="606320" y="770598"/>
                  </a:lnTo>
                  <a:lnTo>
                    <a:pt x="588486" y="797834"/>
                  </a:lnTo>
                  <a:lnTo>
                    <a:pt x="565898" y="818045"/>
                  </a:lnTo>
                  <a:lnTo>
                    <a:pt x="558765" y="832311"/>
                  </a:lnTo>
                  <a:lnTo>
                    <a:pt x="582542" y="837067"/>
                  </a:lnTo>
                  <a:lnTo>
                    <a:pt x="616911" y="832311"/>
                  </a:lnTo>
                  <a:lnTo>
                    <a:pt x="625233" y="840633"/>
                  </a:lnTo>
                  <a:lnTo>
                    <a:pt x="624044" y="858466"/>
                  </a:lnTo>
                  <a:lnTo>
                    <a:pt x="603833" y="869166"/>
                  </a:lnTo>
                  <a:lnTo>
                    <a:pt x="603833" y="870355"/>
                  </a:lnTo>
                  <a:lnTo>
                    <a:pt x="584811" y="877488"/>
                  </a:lnTo>
                  <a:lnTo>
                    <a:pt x="574112" y="884621"/>
                  </a:lnTo>
                  <a:lnTo>
                    <a:pt x="546877" y="879865"/>
                  </a:lnTo>
                  <a:lnTo>
                    <a:pt x="532610" y="884621"/>
                  </a:lnTo>
                  <a:lnTo>
                    <a:pt x="531421" y="884621"/>
                  </a:lnTo>
                  <a:lnTo>
                    <a:pt x="504185" y="875110"/>
                  </a:lnTo>
                  <a:lnTo>
                    <a:pt x="485164" y="875110"/>
                  </a:lnTo>
                  <a:lnTo>
                    <a:pt x="442473" y="896510"/>
                  </a:lnTo>
                  <a:lnTo>
                    <a:pt x="406915" y="914342"/>
                  </a:lnTo>
                  <a:lnTo>
                    <a:pt x="383246" y="917909"/>
                  </a:lnTo>
                  <a:lnTo>
                    <a:pt x="368979" y="903643"/>
                  </a:lnTo>
                  <a:lnTo>
                    <a:pt x="364224" y="886999"/>
                  </a:lnTo>
                  <a:lnTo>
                    <a:pt x="368979" y="882243"/>
                  </a:lnTo>
                  <a:lnTo>
                    <a:pt x="393837" y="877488"/>
                  </a:lnTo>
                  <a:lnTo>
                    <a:pt x="402160" y="869166"/>
                  </a:lnTo>
                  <a:lnTo>
                    <a:pt x="391460" y="858466"/>
                  </a:lnTo>
                  <a:lnTo>
                    <a:pt x="371249" y="844200"/>
                  </a:lnTo>
                  <a:lnTo>
                    <a:pt x="370060" y="826367"/>
                  </a:lnTo>
                  <a:lnTo>
                    <a:pt x="367683" y="808534"/>
                  </a:lnTo>
                  <a:lnTo>
                    <a:pt x="335691" y="827556"/>
                  </a:lnTo>
                  <a:lnTo>
                    <a:pt x="330936" y="807345"/>
                  </a:lnTo>
                  <a:lnTo>
                    <a:pt x="269223" y="809723"/>
                  </a:lnTo>
                  <a:lnTo>
                    <a:pt x="273979" y="818045"/>
                  </a:lnTo>
                  <a:lnTo>
                    <a:pt x="221777" y="840633"/>
                  </a:lnTo>
                  <a:lnTo>
                    <a:pt x="221777" y="846577"/>
                  </a:lnTo>
                  <a:lnTo>
                    <a:pt x="259712" y="853710"/>
                  </a:lnTo>
                  <a:lnTo>
                    <a:pt x="258523" y="860844"/>
                  </a:lnTo>
                  <a:lnTo>
                    <a:pt x="239502" y="871544"/>
                  </a:lnTo>
                  <a:lnTo>
                    <a:pt x="200378" y="862033"/>
                  </a:lnTo>
                  <a:lnTo>
                    <a:pt x="163631" y="857277"/>
                  </a:lnTo>
                  <a:lnTo>
                    <a:pt x="120940" y="856088"/>
                  </a:lnTo>
                  <a:lnTo>
                    <a:pt x="124506" y="770706"/>
                  </a:lnTo>
                  <a:lnTo>
                    <a:pt x="116184" y="758818"/>
                  </a:lnTo>
                  <a:lnTo>
                    <a:pt x="86571" y="729204"/>
                  </a:lnTo>
                  <a:lnTo>
                    <a:pt x="66360" y="716127"/>
                  </a:lnTo>
                  <a:lnTo>
                    <a:pt x="41502" y="699483"/>
                  </a:lnTo>
                  <a:lnTo>
                    <a:pt x="46258" y="669869"/>
                  </a:lnTo>
                  <a:lnTo>
                    <a:pt x="69927" y="656792"/>
                  </a:lnTo>
                  <a:lnTo>
                    <a:pt x="101918" y="633015"/>
                  </a:lnTo>
                  <a:lnTo>
                    <a:pt x="101918" y="602212"/>
                  </a:lnTo>
                  <a:lnTo>
                    <a:pt x="93596" y="580813"/>
                  </a:lnTo>
                  <a:lnTo>
                    <a:pt x="92407" y="580813"/>
                  </a:lnTo>
                  <a:lnTo>
                    <a:pt x="76952" y="555955"/>
                  </a:lnTo>
                  <a:lnTo>
                    <a:pt x="60308" y="529908"/>
                  </a:lnTo>
                  <a:lnTo>
                    <a:pt x="38909" y="515641"/>
                  </a:lnTo>
                  <a:lnTo>
                    <a:pt x="23453" y="519208"/>
                  </a:lnTo>
                  <a:lnTo>
                    <a:pt x="7134" y="52309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7" name="Полилиния: фигура 197"/>
            <p:cNvSpPr/>
            <p:nvPr/>
          </p:nvSpPr>
          <p:spPr bwMode="auto">
            <a:xfrm>
              <a:off x="7709793" y="3997743"/>
              <a:ext cx="879324" cy="1450086"/>
            </a:xfrm>
            <a:custGeom>
              <a:avLst/>
              <a:gdLst>
                <a:gd name="connsiteX0" fmla="*/ 877596 w 879324"/>
                <a:gd name="connsiteY0" fmla="*/ 385083 h 1450086"/>
                <a:gd name="connsiteX1" fmla="*/ 821827 w 879324"/>
                <a:gd name="connsiteY1" fmla="*/ 375572 h 1450086"/>
                <a:gd name="connsiteX2" fmla="*/ 741201 w 879324"/>
                <a:gd name="connsiteY2" fmla="*/ 364872 h 1450086"/>
                <a:gd name="connsiteX3" fmla="*/ 684244 w 879324"/>
                <a:gd name="connsiteY3" fmla="*/ 376761 h 1450086"/>
                <a:gd name="connsiteX4" fmla="*/ 646308 w 879324"/>
                <a:gd name="connsiteY4" fmla="*/ 396972 h 1450086"/>
                <a:gd name="connsiteX5" fmla="*/ 616695 w 879324"/>
                <a:gd name="connsiteY5" fmla="*/ 423019 h 1450086"/>
                <a:gd name="connsiteX6" fmla="*/ 581137 w 879324"/>
                <a:gd name="connsiteY6" fmla="*/ 484731 h 1450086"/>
                <a:gd name="connsiteX7" fmla="*/ 512291 w 879324"/>
                <a:gd name="connsiteY7" fmla="*/ 576057 h 1450086"/>
                <a:gd name="connsiteX8" fmla="*/ 429287 w 879324"/>
                <a:gd name="connsiteY8" fmla="*/ 643714 h 1450086"/>
                <a:gd name="connsiteX9" fmla="*/ 296459 w 879324"/>
                <a:gd name="connsiteY9" fmla="*/ 768220 h 1450086"/>
                <a:gd name="connsiteX10" fmla="*/ 286948 w 879324"/>
                <a:gd name="connsiteY10" fmla="*/ 810911 h 1450086"/>
                <a:gd name="connsiteX11" fmla="*/ 345094 w 879324"/>
                <a:gd name="connsiteY11" fmla="*/ 829933 h 1450086"/>
                <a:gd name="connsiteX12" fmla="*/ 367682 w 879324"/>
                <a:gd name="connsiteY12" fmla="*/ 832311 h 1450086"/>
                <a:gd name="connsiteX13" fmla="*/ 358172 w 879324"/>
                <a:gd name="connsiteY13" fmla="*/ 871435 h 1450086"/>
                <a:gd name="connsiteX14" fmla="*/ 412751 w 879324"/>
                <a:gd name="connsiteY14" fmla="*/ 859547 h 1450086"/>
                <a:gd name="connsiteX15" fmla="*/ 410373 w 879324"/>
                <a:gd name="connsiteY15" fmla="*/ 880946 h 1450086"/>
                <a:gd name="connsiteX16" fmla="*/ 460198 w 879324"/>
                <a:gd name="connsiteY16" fmla="*/ 863113 h 1450086"/>
                <a:gd name="connsiteX17" fmla="*/ 456631 w 879324"/>
                <a:gd name="connsiteY17" fmla="*/ 821611 h 1450086"/>
                <a:gd name="connsiteX18" fmla="*/ 531313 w 879324"/>
                <a:gd name="connsiteY18" fmla="*/ 845280 h 1450086"/>
                <a:gd name="connsiteX19" fmla="*/ 556170 w 879324"/>
                <a:gd name="connsiteY19" fmla="*/ 890349 h 1450086"/>
                <a:gd name="connsiteX20" fmla="*/ 608372 w 879324"/>
                <a:gd name="connsiteY20" fmla="*/ 935418 h 1450086"/>
                <a:gd name="connsiteX21" fmla="*/ 594106 w 879324"/>
                <a:gd name="connsiteY21" fmla="*/ 950873 h 1450086"/>
                <a:gd name="connsiteX22" fmla="*/ 620153 w 879324"/>
                <a:gd name="connsiteY22" fmla="*/ 1009019 h 1450086"/>
                <a:gd name="connsiteX23" fmla="*/ 636797 w 879324"/>
                <a:gd name="connsiteY23" fmla="*/ 1036255 h 1450086"/>
                <a:gd name="connsiteX24" fmla="*/ 594106 w 879324"/>
                <a:gd name="connsiteY24" fmla="*/ 1131148 h 1450086"/>
                <a:gd name="connsiteX25" fmla="*/ 592917 w 879324"/>
                <a:gd name="connsiteY25" fmla="*/ 1218907 h 1450086"/>
                <a:gd name="connsiteX26" fmla="*/ 566871 w 879324"/>
                <a:gd name="connsiteY26" fmla="*/ 1364813 h 1450086"/>
                <a:gd name="connsiteX27" fmla="*/ 526557 w 879324"/>
                <a:gd name="connsiteY27" fmla="*/ 1412259 h 1450086"/>
                <a:gd name="connsiteX28" fmla="*/ 507643 w 879324"/>
                <a:gd name="connsiteY28" fmla="*/ 1412259 h 1450086"/>
                <a:gd name="connsiteX29" fmla="*/ 489811 w 879324"/>
                <a:gd name="connsiteY29" fmla="*/ 1406315 h 1450086"/>
                <a:gd name="connsiteX30" fmla="*/ 477922 w 879324"/>
                <a:gd name="connsiteY30" fmla="*/ 1392048 h 1450086"/>
                <a:gd name="connsiteX31" fmla="*/ 493377 w 879324"/>
                <a:gd name="connsiteY31" fmla="*/ 1371838 h 1450086"/>
                <a:gd name="connsiteX32" fmla="*/ 498132 w 879324"/>
                <a:gd name="connsiteY32" fmla="*/ 1355194 h 1450086"/>
                <a:gd name="connsiteX33" fmla="*/ 480300 w 879324"/>
                <a:gd name="connsiteY33" fmla="*/ 1327958 h 1450086"/>
                <a:gd name="connsiteX34" fmla="*/ 456523 w 879324"/>
                <a:gd name="connsiteY34" fmla="*/ 1326769 h 1450086"/>
                <a:gd name="connsiteX35" fmla="*/ 430476 w 879324"/>
                <a:gd name="connsiteY35" fmla="*/ 1345683 h 1450086"/>
                <a:gd name="connsiteX36" fmla="*/ 424531 w 879324"/>
                <a:gd name="connsiteY36" fmla="*/ 1365894 h 1450086"/>
                <a:gd name="connsiteX37" fmla="*/ 426909 w 879324"/>
                <a:gd name="connsiteY37" fmla="*/ 1384807 h 1450086"/>
                <a:gd name="connsiteX38" fmla="*/ 442364 w 879324"/>
                <a:gd name="connsiteY38" fmla="*/ 1400262 h 1450086"/>
                <a:gd name="connsiteX39" fmla="*/ 390162 w 879324"/>
                <a:gd name="connsiteY39" fmla="*/ 1425121 h 1450086"/>
                <a:gd name="connsiteX40" fmla="*/ 352227 w 879324"/>
                <a:gd name="connsiteY40" fmla="*/ 1446520 h 1450086"/>
                <a:gd name="connsiteX41" fmla="*/ 322613 w 879324"/>
                <a:gd name="connsiteY41" fmla="*/ 1450087 h 1450086"/>
                <a:gd name="connsiteX42" fmla="*/ 288245 w 879324"/>
                <a:gd name="connsiteY42" fmla="*/ 1435820 h 1450086"/>
                <a:gd name="connsiteX43" fmla="*/ 273978 w 879324"/>
                <a:gd name="connsiteY43" fmla="*/ 1420365 h 1450086"/>
                <a:gd name="connsiteX44" fmla="*/ 263279 w 879324"/>
                <a:gd name="connsiteY44" fmla="*/ 1413232 h 1450086"/>
                <a:gd name="connsiteX45" fmla="*/ 275167 w 879324"/>
                <a:gd name="connsiteY45" fmla="*/ 1370541 h 1450086"/>
                <a:gd name="connsiteX46" fmla="*/ 282300 w 879324"/>
                <a:gd name="connsiteY46" fmla="*/ 1351519 h 1450086"/>
                <a:gd name="connsiteX47" fmla="*/ 279922 w 879324"/>
                <a:gd name="connsiteY47" fmla="*/ 1337253 h 1450086"/>
                <a:gd name="connsiteX48" fmla="*/ 277545 w 879324"/>
                <a:gd name="connsiteY48" fmla="*/ 1304073 h 1450086"/>
                <a:gd name="connsiteX49" fmla="*/ 260901 w 879324"/>
                <a:gd name="connsiteY49" fmla="*/ 1275648 h 1450086"/>
                <a:gd name="connsiteX50" fmla="*/ 224154 w 879324"/>
                <a:gd name="connsiteY50" fmla="*/ 1256626 h 1450086"/>
                <a:gd name="connsiteX51" fmla="*/ 166008 w 879324"/>
                <a:gd name="connsiteY51" fmla="*/ 1253060 h 1450086"/>
                <a:gd name="connsiteX52" fmla="*/ 151742 w 879324"/>
                <a:gd name="connsiteY52" fmla="*/ 1224527 h 1450086"/>
                <a:gd name="connsiteX53" fmla="*/ 125695 w 879324"/>
                <a:gd name="connsiteY53" fmla="*/ 1206802 h 1450086"/>
                <a:gd name="connsiteX54" fmla="*/ 99648 w 879324"/>
                <a:gd name="connsiteY54" fmla="*/ 1206802 h 1450086"/>
                <a:gd name="connsiteX55" fmla="*/ 68846 w 879324"/>
                <a:gd name="connsiteY55" fmla="*/ 1231660 h 1450086"/>
                <a:gd name="connsiteX56" fmla="*/ 64090 w 879324"/>
                <a:gd name="connsiteY56" fmla="*/ 1243549 h 1450086"/>
                <a:gd name="connsiteX57" fmla="*/ 56957 w 879324"/>
                <a:gd name="connsiteY57" fmla="*/ 1199669 h 1450086"/>
                <a:gd name="connsiteX58" fmla="*/ 47447 w 879324"/>
                <a:gd name="connsiteY58" fmla="*/ 1166489 h 1450086"/>
                <a:gd name="connsiteX59" fmla="*/ 22588 w 879324"/>
                <a:gd name="connsiteY59" fmla="*/ 1149845 h 1450086"/>
                <a:gd name="connsiteX60" fmla="*/ 21399 w 879324"/>
                <a:gd name="connsiteY60" fmla="*/ 1119043 h 1450086"/>
                <a:gd name="connsiteX61" fmla="*/ 35666 w 879324"/>
                <a:gd name="connsiteY61" fmla="*/ 1097643 h 1450086"/>
                <a:gd name="connsiteX62" fmla="*/ 39232 w 879324"/>
                <a:gd name="connsiteY62" fmla="*/ 1073866 h 1450086"/>
                <a:gd name="connsiteX63" fmla="*/ 48743 w 879324"/>
                <a:gd name="connsiteY63" fmla="*/ 1056033 h 1450086"/>
                <a:gd name="connsiteX64" fmla="*/ 80734 w 879324"/>
                <a:gd name="connsiteY64" fmla="*/ 1048900 h 1450086"/>
                <a:gd name="connsiteX65" fmla="*/ 109159 w 879324"/>
                <a:gd name="connsiteY65" fmla="*/ 1048900 h 1450086"/>
                <a:gd name="connsiteX66" fmla="*/ 124614 w 879324"/>
                <a:gd name="connsiteY66" fmla="*/ 1019286 h 1450086"/>
                <a:gd name="connsiteX67" fmla="*/ 140069 w 879324"/>
                <a:gd name="connsiteY67" fmla="*/ 996698 h 1450086"/>
                <a:gd name="connsiteX68" fmla="*/ 144825 w 879324"/>
                <a:gd name="connsiteY68" fmla="*/ 975298 h 1450086"/>
                <a:gd name="connsiteX69" fmla="*/ 169683 w 879324"/>
                <a:gd name="connsiteY69" fmla="*/ 970543 h 1450086"/>
                <a:gd name="connsiteX70" fmla="*/ 207618 w 879324"/>
                <a:gd name="connsiteY70" fmla="*/ 988376 h 1450086"/>
                <a:gd name="connsiteX71" fmla="*/ 215940 w 879324"/>
                <a:gd name="connsiteY71" fmla="*/ 991943 h 1450086"/>
                <a:gd name="connsiteX72" fmla="*/ 223074 w 879324"/>
                <a:gd name="connsiteY72" fmla="*/ 991943 h 1450086"/>
                <a:gd name="connsiteX73" fmla="*/ 230207 w 879324"/>
                <a:gd name="connsiteY73" fmla="*/ 980054 h 1450086"/>
                <a:gd name="connsiteX74" fmla="*/ 231395 w 879324"/>
                <a:gd name="connsiteY74" fmla="*/ 888728 h 1450086"/>
                <a:gd name="connsiteX75" fmla="*/ 205349 w 879324"/>
                <a:gd name="connsiteY75" fmla="*/ 892294 h 1450086"/>
                <a:gd name="connsiteX76" fmla="*/ 167413 w 879324"/>
                <a:gd name="connsiteY76" fmla="*/ 899428 h 1450086"/>
                <a:gd name="connsiteX77" fmla="*/ 150769 w 879324"/>
                <a:gd name="connsiteY77" fmla="*/ 897050 h 1450086"/>
                <a:gd name="connsiteX78" fmla="*/ 124722 w 879324"/>
                <a:gd name="connsiteY78" fmla="*/ 904183 h 1450086"/>
                <a:gd name="connsiteX79" fmla="*/ 123533 w 879324"/>
                <a:gd name="connsiteY79" fmla="*/ 907750 h 1450086"/>
                <a:gd name="connsiteX80" fmla="*/ 109267 w 879324"/>
                <a:gd name="connsiteY80" fmla="*/ 923205 h 1450086"/>
                <a:gd name="connsiteX81" fmla="*/ 86678 w 879324"/>
                <a:gd name="connsiteY81" fmla="*/ 930338 h 1450086"/>
                <a:gd name="connsiteX82" fmla="*/ 45177 w 879324"/>
                <a:gd name="connsiteY82" fmla="*/ 884080 h 1450086"/>
                <a:gd name="connsiteX83" fmla="*/ 21399 w 879324"/>
                <a:gd name="connsiteY83" fmla="*/ 882892 h 1450086"/>
                <a:gd name="connsiteX84" fmla="*/ 0 w 879324"/>
                <a:gd name="connsiteY84" fmla="*/ 861492 h 1450086"/>
                <a:gd name="connsiteX85" fmla="*/ 9511 w 879324"/>
                <a:gd name="connsiteY85" fmla="*/ 835445 h 1450086"/>
                <a:gd name="connsiteX86" fmla="*/ 36746 w 879324"/>
                <a:gd name="connsiteY86" fmla="*/ 805724 h 1450086"/>
                <a:gd name="connsiteX87" fmla="*/ 85381 w 879324"/>
                <a:gd name="connsiteY87" fmla="*/ 771355 h 1450086"/>
                <a:gd name="connsiteX88" fmla="*/ 103215 w 879324"/>
                <a:gd name="connsiteY88" fmla="*/ 752441 h 1450086"/>
                <a:gd name="connsiteX89" fmla="*/ 118670 w 879324"/>
                <a:gd name="connsiteY89" fmla="*/ 732230 h 1450086"/>
                <a:gd name="connsiteX90" fmla="*/ 119858 w 879324"/>
                <a:gd name="connsiteY90" fmla="*/ 712020 h 1450086"/>
                <a:gd name="connsiteX91" fmla="*/ 100945 w 879324"/>
                <a:gd name="connsiteY91" fmla="*/ 697753 h 1450086"/>
                <a:gd name="connsiteX92" fmla="*/ 68954 w 879324"/>
                <a:gd name="connsiteY92" fmla="*/ 696565 h 1450086"/>
                <a:gd name="connsiteX93" fmla="*/ 28640 w 879324"/>
                <a:gd name="connsiteY93" fmla="*/ 688243 h 1450086"/>
                <a:gd name="connsiteX94" fmla="*/ 26263 w 879324"/>
                <a:gd name="connsiteY94" fmla="*/ 659710 h 1450086"/>
                <a:gd name="connsiteX95" fmla="*/ 36963 w 879324"/>
                <a:gd name="connsiteY95" fmla="*/ 636041 h 1450086"/>
                <a:gd name="connsiteX96" fmla="*/ 61820 w 879324"/>
                <a:gd name="connsiteY96" fmla="*/ 614641 h 1450086"/>
                <a:gd name="connsiteX97" fmla="*/ 73709 w 879324"/>
                <a:gd name="connsiteY97" fmla="*/ 584920 h 1450086"/>
                <a:gd name="connsiteX98" fmla="*/ 47662 w 879324"/>
                <a:gd name="connsiteY98" fmla="*/ 545795 h 1450086"/>
                <a:gd name="connsiteX99" fmla="*/ 61929 w 879324"/>
                <a:gd name="connsiteY99" fmla="*/ 525585 h 1450086"/>
                <a:gd name="connsiteX100" fmla="*/ 76195 w 879324"/>
                <a:gd name="connsiteY100" fmla="*/ 511318 h 1450086"/>
                <a:gd name="connsiteX101" fmla="*/ 63117 w 879324"/>
                <a:gd name="connsiteY101" fmla="*/ 474572 h 1450086"/>
                <a:gd name="connsiteX102" fmla="*/ 59551 w 879324"/>
                <a:gd name="connsiteY102" fmla="*/ 450794 h 1450086"/>
                <a:gd name="connsiteX103" fmla="*/ 78572 w 879324"/>
                <a:gd name="connsiteY103" fmla="*/ 451984 h 1450086"/>
                <a:gd name="connsiteX104" fmla="*/ 86895 w 879324"/>
                <a:gd name="connsiteY104" fmla="*/ 462683 h 1450086"/>
                <a:gd name="connsiteX105" fmla="*/ 98784 w 879324"/>
                <a:gd name="connsiteY105" fmla="*/ 446039 h 1450086"/>
                <a:gd name="connsiteX106" fmla="*/ 114239 w 879324"/>
                <a:gd name="connsiteY106" fmla="*/ 403348 h 1450086"/>
                <a:gd name="connsiteX107" fmla="*/ 132071 w 879324"/>
                <a:gd name="connsiteY107" fmla="*/ 368979 h 1450086"/>
                <a:gd name="connsiteX108" fmla="*/ 145149 w 879324"/>
                <a:gd name="connsiteY108" fmla="*/ 363035 h 1450086"/>
                <a:gd name="connsiteX109" fmla="*/ 161793 w 879324"/>
                <a:gd name="connsiteY109" fmla="*/ 355902 h 1450086"/>
                <a:gd name="connsiteX110" fmla="*/ 260253 w 879324"/>
                <a:gd name="connsiteY110" fmla="*/ 353524 h 1450086"/>
                <a:gd name="connsiteX111" fmla="*/ 284029 w 879324"/>
                <a:gd name="connsiteY111" fmla="*/ 333313 h 1450086"/>
                <a:gd name="connsiteX112" fmla="*/ 326720 w 879324"/>
                <a:gd name="connsiteY112" fmla="*/ 326180 h 1450086"/>
                <a:gd name="connsiteX113" fmla="*/ 348120 w 879324"/>
                <a:gd name="connsiteY113" fmla="*/ 326180 h 1450086"/>
                <a:gd name="connsiteX114" fmla="*/ 383678 w 879324"/>
                <a:gd name="connsiteY114" fmla="*/ 301322 h 1450086"/>
                <a:gd name="connsiteX115" fmla="*/ 395566 w 879324"/>
                <a:gd name="connsiteY115" fmla="*/ 285867 h 1450086"/>
                <a:gd name="connsiteX116" fmla="*/ 395566 w 879324"/>
                <a:gd name="connsiteY116" fmla="*/ 277545 h 1450086"/>
                <a:gd name="connsiteX117" fmla="*/ 403889 w 879324"/>
                <a:gd name="connsiteY117" fmla="*/ 254957 h 1450086"/>
                <a:gd name="connsiteX118" fmla="*/ 414588 w 879324"/>
                <a:gd name="connsiteY118" fmla="*/ 215832 h 1450086"/>
                <a:gd name="connsiteX119" fmla="*/ 416966 w 879324"/>
                <a:gd name="connsiteY119" fmla="*/ 158875 h 1450086"/>
                <a:gd name="connsiteX120" fmla="*/ 443013 w 879324"/>
                <a:gd name="connsiteY120" fmla="*/ 132828 h 1450086"/>
                <a:gd name="connsiteX121" fmla="*/ 470249 w 879324"/>
                <a:gd name="connsiteY121" fmla="*/ 114995 h 1450086"/>
                <a:gd name="connsiteX122" fmla="*/ 491648 w 879324"/>
                <a:gd name="connsiteY122" fmla="*/ 91326 h 1450086"/>
                <a:gd name="connsiteX123" fmla="*/ 508292 w 879324"/>
                <a:gd name="connsiteY123" fmla="*/ 49824 h 1450086"/>
                <a:gd name="connsiteX124" fmla="*/ 516614 w 879324"/>
                <a:gd name="connsiteY124" fmla="*/ 0 h 1450086"/>
                <a:gd name="connsiteX125" fmla="*/ 546227 w 879324"/>
                <a:gd name="connsiteY125" fmla="*/ 1189 h 1450086"/>
                <a:gd name="connsiteX126" fmla="*/ 580596 w 879324"/>
                <a:gd name="connsiteY126" fmla="*/ 22588 h 1450086"/>
                <a:gd name="connsiteX127" fmla="*/ 613776 w 879324"/>
                <a:gd name="connsiteY127" fmla="*/ 52202 h 1450086"/>
                <a:gd name="connsiteX128" fmla="*/ 639824 w 879324"/>
                <a:gd name="connsiteY128" fmla="*/ 58146 h 1450086"/>
                <a:gd name="connsiteX129" fmla="*/ 652901 w 879324"/>
                <a:gd name="connsiteY129" fmla="*/ 43880 h 1450086"/>
                <a:gd name="connsiteX130" fmla="*/ 683703 w 879324"/>
                <a:gd name="connsiteY130" fmla="*/ 37936 h 1450086"/>
                <a:gd name="connsiteX131" fmla="*/ 707373 w 879324"/>
                <a:gd name="connsiteY131" fmla="*/ 47447 h 1450086"/>
                <a:gd name="connsiteX132" fmla="*/ 709750 w 879324"/>
                <a:gd name="connsiteY132" fmla="*/ 66360 h 1450086"/>
                <a:gd name="connsiteX133" fmla="*/ 735797 w 879324"/>
                <a:gd name="connsiteY133" fmla="*/ 69927 h 1450086"/>
                <a:gd name="connsiteX134" fmla="*/ 761844 w 879324"/>
                <a:gd name="connsiteY134" fmla="*/ 48527 h 1450086"/>
                <a:gd name="connsiteX135" fmla="*/ 797401 w 879324"/>
                <a:gd name="connsiteY135" fmla="*/ 40205 h 1450086"/>
                <a:gd name="connsiteX136" fmla="*/ 814046 w 879324"/>
                <a:gd name="connsiteY136" fmla="*/ 56849 h 1450086"/>
                <a:gd name="connsiteX137" fmla="*/ 831878 w 879324"/>
                <a:gd name="connsiteY137" fmla="*/ 79329 h 1450086"/>
                <a:gd name="connsiteX138" fmla="*/ 852089 w 879324"/>
                <a:gd name="connsiteY138" fmla="*/ 112510 h 1450086"/>
                <a:gd name="connsiteX139" fmla="*/ 859222 w 879324"/>
                <a:gd name="connsiteY139" fmla="*/ 139745 h 1450086"/>
                <a:gd name="connsiteX140" fmla="*/ 859222 w 879324"/>
                <a:gd name="connsiteY140" fmla="*/ 157578 h 1450086"/>
                <a:gd name="connsiteX141" fmla="*/ 835553 w 879324"/>
                <a:gd name="connsiteY141" fmla="*/ 174222 h 1450086"/>
                <a:gd name="connsiteX142" fmla="*/ 822476 w 879324"/>
                <a:gd name="connsiteY142" fmla="*/ 184922 h 1450086"/>
                <a:gd name="connsiteX143" fmla="*/ 801076 w 879324"/>
                <a:gd name="connsiteY143" fmla="*/ 194433 h 1450086"/>
                <a:gd name="connsiteX144" fmla="*/ 797509 w 879324"/>
                <a:gd name="connsiteY144" fmla="*/ 222857 h 1450086"/>
                <a:gd name="connsiteX145" fmla="*/ 843767 w 879324"/>
                <a:gd name="connsiteY145" fmla="*/ 253660 h 1450086"/>
                <a:gd name="connsiteX146" fmla="*/ 879325 w 879324"/>
                <a:gd name="connsiteY146" fmla="*/ 293973 h 1450086"/>
                <a:gd name="connsiteX147" fmla="*/ 877596 w 879324"/>
                <a:gd name="connsiteY147" fmla="*/ 385083 h 145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879324" h="1450086" extrusionOk="0">
                  <a:moveTo>
                    <a:pt x="877596" y="385083"/>
                  </a:moveTo>
                  <a:lnTo>
                    <a:pt x="821827" y="375572"/>
                  </a:lnTo>
                  <a:lnTo>
                    <a:pt x="741201" y="364872"/>
                  </a:lnTo>
                  <a:lnTo>
                    <a:pt x="684244" y="376761"/>
                  </a:lnTo>
                  <a:lnTo>
                    <a:pt x="646308" y="396972"/>
                  </a:lnTo>
                  <a:cubicBezTo>
                    <a:pt x="630853" y="404105"/>
                    <a:pt x="623828" y="415993"/>
                    <a:pt x="616695" y="423019"/>
                  </a:cubicBezTo>
                  <a:cubicBezTo>
                    <a:pt x="596484" y="445607"/>
                    <a:pt x="598970" y="464521"/>
                    <a:pt x="581137" y="484731"/>
                  </a:cubicBezTo>
                  <a:cubicBezTo>
                    <a:pt x="557360" y="513156"/>
                    <a:pt x="531313" y="561791"/>
                    <a:pt x="512291" y="576057"/>
                  </a:cubicBezTo>
                  <a:cubicBezTo>
                    <a:pt x="494458" y="590324"/>
                    <a:pt x="441067" y="622315"/>
                    <a:pt x="429287" y="643714"/>
                  </a:cubicBezTo>
                  <a:cubicBezTo>
                    <a:pt x="418587" y="665114"/>
                    <a:pt x="334394" y="742174"/>
                    <a:pt x="296459" y="768220"/>
                  </a:cubicBezTo>
                  <a:cubicBezTo>
                    <a:pt x="258523" y="795456"/>
                    <a:pt x="270411" y="813289"/>
                    <a:pt x="286948" y="810911"/>
                  </a:cubicBezTo>
                  <a:cubicBezTo>
                    <a:pt x="303592" y="807345"/>
                    <a:pt x="335583" y="833500"/>
                    <a:pt x="345094" y="829933"/>
                  </a:cubicBezTo>
                  <a:cubicBezTo>
                    <a:pt x="355794" y="827556"/>
                    <a:pt x="367682" y="822800"/>
                    <a:pt x="367682" y="832311"/>
                  </a:cubicBezTo>
                  <a:cubicBezTo>
                    <a:pt x="367682" y="840633"/>
                    <a:pt x="345094" y="872624"/>
                    <a:pt x="358172" y="871435"/>
                  </a:cubicBezTo>
                  <a:cubicBezTo>
                    <a:pt x="371249" y="869058"/>
                    <a:pt x="411562" y="851225"/>
                    <a:pt x="412751" y="859547"/>
                  </a:cubicBezTo>
                  <a:cubicBezTo>
                    <a:pt x="413940" y="867869"/>
                    <a:pt x="381948" y="878569"/>
                    <a:pt x="410373" y="880946"/>
                  </a:cubicBezTo>
                  <a:cubicBezTo>
                    <a:pt x="438906" y="883324"/>
                    <a:pt x="447120" y="863113"/>
                    <a:pt x="460198" y="863113"/>
                  </a:cubicBezTo>
                  <a:cubicBezTo>
                    <a:pt x="474463" y="863113"/>
                    <a:pt x="439986" y="822800"/>
                    <a:pt x="456631" y="821611"/>
                  </a:cubicBezTo>
                  <a:cubicBezTo>
                    <a:pt x="473275" y="820422"/>
                    <a:pt x="512399" y="837067"/>
                    <a:pt x="531313" y="845280"/>
                  </a:cubicBezTo>
                  <a:cubicBezTo>
                    <a:pt x="549146" y="853603"/>
                    <a:pt x="538446" y="884405"/>
                    <a:pt x="556170" y="890349"/>
                  </a:cubicBezTo>
                  <a:cubicBezTo>
                    <a:pt x="574004" y="896293"/>
                    <a:pt x="616695" y="928285"/>
                    <a:pt x="608372" y="935418"/>
                  </a:cubicBezTo>
                  <a:cubicBezTo>
                    <a:pt x="600050" y="942551"/>
                    <a:pt x="588162" y="941362"/>
                    <a:pt x="594106" y="950873"/>
                  </a:cubicBezTo>
                  <a:cubicBezTo>
                    <a:pt x="600050" y="960384"/>
                    <a:pt x="611831" y="1013774"/>
                    <a:pt x="620153" y="1009019"/>
                  </a:cubicBezTo>
                  <a:cubicBezTo>
                    <a:pt x="628475" y="1003075"/>
                    <a:pt x="642741" y="1019719"/>
                    <a:pt x="636797" y="1036255"/>
                  </a:cubicBezTo>
                  <a:cubicBezTo>
                    <a:pt x="632042" y="1052899"/>
                    <a:pt x="600050" y="1103912"/>
                    <a:pt x="594106" y="1131148"/>
                  </a:cubicBezTo>
                  <a:cubicBezTo>
                    <a:pt x="588162" y="1157194"/>
                    <a:pt x="603617" y="1167894"/>
                    <a:pt x="592917" y="1218907"/>
                  </a:cubicBezTo>
                  <a:cubicBezTo>
                    <a:pt x="581029" y="1269920"/>
                    <a:pt x="579840" y="1349358"/>
                    <a:pt x="566871" y="1364813"/>
                  </a:cubicBezTo>
                  <a:lnTo>
                    <a:pt x="526557" y="1412259"/>
                  </a:lnTo>
                  <a:lnTo>
                    <a:pt x="507643" y="1412259"/>
                  </a:lnTo>
                  <a:lnTo>
                    <a:pt x="489811" y="1406315"/>
                  </a:lnTo>
                  <a:lnTo>
                    <a:pt x="477922" y="1392048"/>
                  </a:lnTo>
                  <a:lnTo>
                    <a:pt x="493377" y="1371838"/>
                  </a:lnTo>
                  <a:lnTo>
                    <a:pt x="498132" y="1355194"/>
                  </a:lnTo>
                  <a:lnTo>
                    <a:pt x="480300" y="1327958"/>
                  </a:lnTo>
                  <a:lnTo>
                    <a:pt x="456523" y="1326769"/>
                  </a:lnTo>
                  <a:lnTo>
                    <a:pt x="430476" y="1345683"/>
                  </a:lnTo>
                  <a:lnTo>
                    <a:pt x="424531" y="1365894"/>
                  </a:lnTo>
                  <a:lnTo>
                    <a:pt x="426909" y="1384807"/>
                  </a:lnTo>
                  <a:lnTo>
                    <a:pt x="442364" y="1400262"/>
                  </a:lnTo>
                  <a:lnTo>
                    <a:pt x="390162" y="1425121"/>
                  </a:lnTo>
                  <a:lnTo>
                    <a:pt x="352227" y="1446520"/>
                  </a:lnTo>
                  <a:lnTo>
                    <a:pt x="322613" y="1450087"/>
                  </a:lnTo>
                  <a:lnTo>
                    <a:pt x="288245" y="1435820"/>
                  </a:lnTo>
                  <a:lnTo>
                    <a:pt x="273978" y="1420365"/>
                  </a:lnTo>
                  <a:lnTo>
                    <a:pt x="263279" y="1413232"/>
                  </a:lnTo>
                  <a:lnTo>
                    <a:pt x="275167" y="1370541"/>
                  </a:lnTo>
                  <a:lnTo>
                    <a:pt x="282300" y="1351519"/>
                  </a:lnTo>
                  <a:lnTo>
                    <a:pt x="279922" y="1337253"/>
                  </a:lnTo>
                  <a:lnTo>
                    <a:pt x="277545" y="1304073"/>
                  </a:lnTo>
                  <a:lnTo>
                    <a:pt x="260901" y="1275648"/>
                  </a:lnTo>
                  <a:lnTo>
                    <a:pt x="224154" y="1256626"/>
                  </a:lnTo>
                  <a:lnTo>
                    <a:pt x="166008" y="1253060"/>
                  </a:lnTo>
                  <a:lnTo>
                    <a:pt x="151742" y="1224527"/>
                  </a:lnTo>
                  <a:lnTo>
                    <a:pt x="125695" y="1206802"/>
                  </a:lnTo>
                  <a:lnTo>
                    <a:pt x="99648" y="1206802"/>
                  </a:lnTo>
                  <a:lnTo>
                    <a:pt x="68846" y="1231660"/>
                  </a:lnTo>
                  <a:lnTo>
                    <a:pt x="64090" y="1243549"/>
                  </a:lnTo>
                  <a:lnTo>
                    <a:pt x="56957" y="1199669"/>
                  </a:lnTo>
                  <a:lnTo>
                    <a:pt x="47447" y="1166489"/>
                  </a:lnTo>
                  <a:lnTo>
                    <a:pt x="22588" y="1149845"/>
                  </a:lnTo>
                  <a:lnTo>
                    <a:pt x="21399" y="1119043"/>
                  </a:lnTo>
                  <a:lnTo>
                    <a:pt x="35666" y="1097643"/>
                  </a:lnTo>
                  <a:lnTo>
                    <a:pt x="39232" y="1073866"/>
                  </a:lnTo>
                  <a:lnTo>
                    <a:pt x="48743" y="1056033"/>
                  </a:lnTo>
                  <a:lnTo>
                    <a:pt x="80734" y="1048900"/>
                  </a:lnTo>
                  <a:lnTo>
                    <a:pt x="109159" y="1048900"/>
                  </a:lnTo>
                  <a:lnTo>
                    <a:pt x="124614" y="1019286"/>
                  </a:lnTo>
                  <a:lnTo>
                    <a:pt x="140069" y="996698"/>
                  </a:lnTo>
                  <a:lnTo>
                    <a:pt x="144825" y="975298"/>
                  </a:lnTo>
                  <a:lnTo>
                    <a:pt x="169683" y="970543"/>
                  </a:lnTo>
                  <a:lnTo>
                    <a:pt x="207618" y="988376"/>
                  </a:lnTo>
                  <a:lnTo>
                    <a:pt x="215940" y="991943"/>
                  </a:lnTo>
                  <a:lnTo>
                    <a:pt x="223074" y="991943"/>
                  </a:lnTo>
                  <a:lnTo>
                    <a:pt x="230207" y="980054"/>
                  </a:lnTo>
                  <a:lnTo>
                    <a:pt x="231395" y="888728"/>
                  </a:lnTo>
                  <a:lnTo>
                    <a:pt x="205349" y="892294"/>
                  </a:lnTo>
                  <a:lnTo>
                    <a:pt x="167413" y="899428"/>
                  </a:lnTo>
                  <a:lnTo>
                    <a:pt x="150769" y="897050"/>
                  </a:lnTo>
                  <a:lnTo>
                    <a:pt x="124722" y="904183"/>
                  </a:lnTo>
                  <a:lnTo>
                    <a:pt x="123533" y="907750"/>
                  </a:lnTo>
                  <a:lnTo>
                    <a:pt x="109267" y="923205"/>
                  </a:lnTo>
                  <a:lnTo>
                    <a:pt x="86678" y="930338"/>
                  </a:lnTo>
                  <a:lnTo>
                    <a:pt x="45177" y="884080"/>
                  </a:lnTo>
                  <a:lnTo>
                    <a:pt x="21399" y="882892"/>
                  </a:lnTo>
                  <a:lnTo>
                    <a:pt x="0" y="861492"/>
                  </a:lnTo>
                  <a:lnTo>
                    <a:pt x="9511" y="835445"/>
                  </a:lnTo>
                  <a:lnTo>
                    <a:pt x="36746" y="805724"/>
                  </a:lnTo>
                  <a:lnTo>
                    <a:pt x="85381" y="771355"/>
                  </a:lnTo>
                  <a:lnTo>
                    <a:pt x="103215" y="752441"/>
                  </a:lnTo>
                  <a:lnTo>
                    <a:pt x="118670" y="732230"/>
                  </a:lnTo>
                  <a:lnTo>
                    <a:pt x="119858" y="712020"/>
                  </a:lnTo>
                  <a:lnTo>
                    <a:pt x="100945" y="697753"/>
                  </a:lnTo>
                  <a:lnTo>
                    <a:pt x="68954" y="696565"/>
                  </a:lnTo>
                  <a:lnTo>
                    <a:pt x="28640" y="688243"/>
                  </a:lnTo>
                  <a:lnTo>
                    <a:pt x="26263" y="659710"/>
                  </a:lnTo>
                  <a:lnTo>
                    <a:pt x="36963" y="636041"/>
                  </a:lnTo>
                  <a:lnTo>
                    <a:pt x="61820" y="614641"/>
                  </a:lnTo>
                  <a:lnTo>
                    <a:pt x="73709" y="584920"/>
                  </a:lnTo>
                  <a:lnTo>
                    <a:pt x="47662" y="545795"/>
                  </a:lnTo>
                  <a:lnTo>
                    <a:pt x="61929" y="525585"/>
                  </a:lnTo>
                  <a:lnTo>
                    <a:pt x="76195" y="511318"/>
                  </a:lnTo>
                  <a:lnTo>
                    <a:pt x="63117" y="474572"/>
                  </a:lnTo>
                  <a:lnTo>
                    <a:pt x="59551" y="450794"/>
                  </a:lnTo>
                  <a:lnTo>
                    <a:pt x="78572" y="451984"/>
                  </a:lnTo>
                  <a:lnTo>
                    <a:pt x="86895" y="462683"/>
                  </a:lnTo>
                  <a:lnTo>
                    <a:pt x="98784" y="446039"/>
                  </a:lnTo>
                  <a:lnTo>
                    <a:pt x="114239" y="403348"/>
                  </a:lnTo>
                  <a:lnTo>
                    <a:pt x="132071" y="368979"/>
                  </a:lnTo>
                  <a:lnTo>
                    <a:pt x="145149" y="363035"/>
                  </a:lnTo>
                  <a:lnTo>
                    <a:pt x="161793" y="355902"/>
                  </a:lnTo>
                  <a:lnTo>
                    <a:pt x="260253" y="353524"/>
                  </a:lnTo>
                  <a:lnTo>
                    <a:pt x="284029" y="333313"/>
                  </a:lnTo>
                  <a:lnTo>
                    <a:pt x="326720" y="326180"/>
                  </a:lnTo>
                  <a:lnTo>
                    <a:pt x="348120" y="326180"/>
                  </a:lnTo>
                  <a:lnTo>
                    <a:pt x="383678" y="301322"/>
                  </a:lnTo>
                  <a:lnTo>
                    <a:pt x="395566" y="285867"/>
                  </a:lnTo>
                  <a:lnTo>
                    <a:pt x="395566" y="277545"/>
                  </a:lnTo>
                  <a:lnTo>
                    <a:pt x="403889" y="254957"/>
                  </a:lnTo>
                  <a:lnTo>
                    <a:pt x="414588" y="215832"/>
                  </a:lnTo>
                  <a:lnTo>
                    <a:pt x="416966" y="158875"/>
                  </a:lnTo>
                  <a:lnTo>
                    <a:pt x="443013" y="132828"/>
                  </a:lnTo>
                  <a:lnTo>
                    <a:pt x="470249" y="114995"/>
                  </a:lnTo>
                  <a:lnTo>
                    <a:pt x="491648" y="91326"/>
                  </a:lnTo>
                  <a:lnTo>
                    <a:pt x="508292" y="49824"/>
                  </a:lnTo>
                  <a:lnTo>
                    <a:pt x="516614" y="0"/>
                  </a:lnTo>
                  <a:lnTo>
                    <a:pt x="546227" y="1189"/>
                  </a:lnTo>
                  <a:lnTo>
                    <a:pt x="580596" y="22588"/>
                  </a:lnTo>
                  <a:lnTo>
                    <a:pt x="613776" y="52202"/>
                  </a:lnTo>
                  <a:lnTo>
                    <a:pt x="639824" y="58146"/>
                  </a:lnTo>
                  <a:lnTo>
                    <a:pt x="652901" y="43880"/>
                  </a:lnTo>
                  <a:lnTo>
                    <a:pt x="683703" y="37936"/>
                  </a:lnTo>
                  <a:lnTo>
                    <a:pt x="707373" y="47447"/>
                  </a:lnTo>
                  <a:lnTo>
                    <a:pt x="709750" y="66360"/>
                  </a:lnTo>
                  <a:lnTo>
                    <a:pt x="735797" y="69927"/>
                  </a:lnTo>
                  <a:lnTo>
                    <a:pt x="761844" y="48527"/>
                  </a:lnTo>
                  <a:lnTo>
                    <a:pt x="797401" y="40205"/>
                  </a:lnTo>
                  <a:lnTo>
                    <a:pt x="814046" y="56849"/>
                  </a:lnTo>
                  <a:lnTo>
                    <a:pt x="831878" y="79329"/>
                  </a:lnTo>
                  <a:lnTo>
                    <a:pt x="852089" y="112510"/>
                  </a:lnTo>
                  <a:lnTo>
                    <a:pt x="859222" y="139745"/>
                  </a:lnTo>
                  <a:lnTo>
                    <a:pt x="859222" y="157578"/>
                  </a:lnTo>
                  <a:lnTo>
                    <a:pt x="835553" y="174222"/>
                  </a:lnTo>
                  <a:lnTo>
                    <a:pt x="822476" y="184922"/>
                  </a:lnTo>
                  <a:lnTo>
                    <a:pt x="801076" y="194433"/>
                  </a:lnTo>
                  <a:lnTo>
                    <a:pt x="797509" y="222857"/>
                  </a:lnTo>
                  <a:lnTo>
                    <a:pt x="843767" y="253660"/>
                  </a:lnTo>
                  <a:lnTo>
                    <a:pt x="879325" y="293973"/>
                  </a:lnTo>
                  <a:lnTo>
                    <a:pt x="877596" y="385083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8" name="Полилиния: фигура 198"/>
            <p:cNvSpPr/>
            <p:nvPr/>
          </p:nvSpPr>
          <p:spPr bwMode="auto">
            <a:xfrm>
              <a:off x="8544458" y="2031480"/>
              <a:ext cx="235024" cy="157260"/>
            </a:xfrm>
            <a:custGeom>
              <a:avLst/>
              <a:gdLst>
                <a:gd name="connsiteX0" fmla="*/ 147334 w 235025"/>
                <a:gd name="connsiteY0" fmla="*/ 157032 h 157260"/>
                <a:gd name="connsiteX1" fmla="*/ 115343 w 235025"/>
                <a:gd name="connsiteY1" fmla="*/ 133363 h 157260"/>
                <a:gd name="connsiteX2" fmla="*/ 56008 w 235025"/>
                <a:gd name="connsiteY2" fmla="*/ 91861 h 157260"/>
                <a:gd name="connsiteX3" fmla="*/ 27475 w 235025"/>
                <a:gd name="connsiteY3" fmla="*/ 50359 h 157260"/>
                <a:gd name="connsiteX4" fmla="*/ 1429 w 235025"/>
                <a:gd name="connsiteY4" fmla="*/ 535 h 157260"/>
                <a:gd name="connsiteX5" fmla="*/ 41741 w 235025"/>
                <a:gd name="connsiteY5" fmla="*/ 24312 h 157260"/>
                <a:gd name="connsiteX6" fmla="*/ 89188 w 235025"/>
                <a:gd name="connsiteY6" fmla="*/ 21934 h 157260"/>
                <a:gd name="connsiteX7" fmla="*/ 118801 w 235025"/>
                <a:gd name="connsiteY7" fmla="*/ 30256 h 157260"/>
                <a:gd name="connsiteX8" fmla="*/ 121179 w 235025"/>
                <a:gd name="connsiteY8" fmla="*/ 52845 h 157260"/>
                <a:gd name="connsiteX9" fmla="*/ 157926 w 235025"/>
                <a:gd name="connsiteY9" fmla="*/ 48089 h 157260"/>
                <a:gd name="connsiteX10" fmla="*/ 219639 w 235025"/>
                <a:gd name="connsiteY10" fmla="*/ 78891 h 157260"/>
                <a:gd name="connsiteX11" fmla="*/ 232716 w 235025"/>
                <a:gd name="connsiteY11" fmla="*/ 101480 h 157260"/>
                <a:gd name="connsiteX12" fmla="*/ 188837 w 235025"/>
                <a:gd name="connsiteY12" fmla="*/ 152493 h 157260"/>
                <a:gd name="connsiteX13" fmla="*/ 160412 w 235025"/>
                <a:gd name="connsiteY13" fmla="*/ 141793 h 157260"/>
                <a:gd name="connsiteX14" fmla="*/ 147334 w 235025"/>
                <a:gd name="connsiteY14" fmla="*/ 157032 h 157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5025" h="157260" extrusionOk="0">
                  <a:moveTo>
                    <a:pt x="147334" y="157032"/>
                  </a:moveTo>
                  <a:cubicBezTo>
                    <a:pt x="131879" y="155843"/>
                    <a:pt x="136635" y="138010"/>
                    <a:pt x="115343" y="133363"/>
                  </a:cubicBezTo>
                  <a:cubicBezTo>
                    <a:pt x="93943" y="129796"/>
                    <a:pt x="64330" y="95427"/>
                    <a:pt x="56008" y="91861"/>
                  </a:cubicBezTo>
                  <a:cubicBezTo>
                    <a:pt x="46497" y="89483"/>
                    <a:pt x="38175" y="61059"/>
                    <a:pt x="27475" y="50359"/>
                  </a:cubicBezTo>
                  <a:cubicBezTo>
                    <a:pt x="15587" y="38470"/>
                    <a:pt x="-5704" y="4101"/>
                    <a:pt x="1429" y="535"/>
                  </a:cubicBezTo>
                  <a:cubicBezTo>
                    <a:pt x="8561" y="-4221"/>
                    <a:pt x="20450" y="24312"/>
                    <a:pt x="41741" y="24312"/>
                  </a:cubicBezTo>
                  <a:cubicBezTo>
                    <a:pt x="63141" y="24312"/>
                    <a:pt x="65519" y="21934"/>
                    <a:pt x="89188" y="21934"/>
                  </a:cubicBezTo>
                  <a:cubicBezTo>
                    <a:pt x="114046" y="21934"/>
                    <a:pt x="129501" y="17179"/>
                    <a:pt x="118801" y="30256"/>
                  </a:cubicBezTo>
                  <a:cubicBezTo>
                    <a:pt x="109290" y="43334"/>
                    <a:pt x="102158" y="51656"/>
                    <a:pt x="121179" y="52845"/>
                  </a:cubicBezTo>
                  <a:cubicBezTo>
                    <a:pt x="139012" y="54033"/>
                    <a:pt x="125935" y="33931"/>
                    <a:pt x="157926" y="48089"/>
                  </a:cubicBezTo>
                  <a:cubicBezTo>
                    <a:pt x="188728" y="62355"/>
                    <a:pt x="206561" y="78891"/>
                    <a:pt x="219639" y="78891"/>
                  </a:cubicBezTo>
                  <a:cubicBezTo>
                    <a:pt x="232716" y="78891"/>
                    <a:pt x="238660" y="89591"/>
                    <a:pt x="232716" y="101480"/>
                  </a:cubicBezTo>
                  <a:cubicBezTo>
                    <a:pt x="226771" y="112180"/>
                    <a:pt x="204292" y="151304"/>
                    <a:pt x="188837" y="152493"/>
                  </a:cubicBezTo>
                  <a:cubicBezTo>
                    <a:pt x="173381" y="153682"/>
                    <a:pt x="166248" y="140604"/>
                    <a:pt x="160412" y="141793"/>
                  </a:cubicBezTo>
                  <a:cubicBezTo>
                    <a:pt x="154467" y="143955"/>
                    <a:pt x="159223" y="159302"/>
                    <a:pt x="147334" y="157032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29" name="Полилиния: фигура 199"/>
            <p:cNvSpPr/>
            <p:nvPr/>
          </p:nvSpPr>
          <p:spPr bwMode="auto">
            <a:xfrm>
              <a:off x="8207034" y="2341897"/>
              <a:ext cx="185732" cy="131371"/>
            </a:xfrm>
            <a:custGeom>
              <a:avLst/>
              <a:gdLst>
                <a:gd name="connsiteX0" fmla="*/ 178679 w 185732"/>
                <a:gd name="connsiteY0" fmla="*/ 131185 h 131371"/>
                <a:gd name="connsiteX1" fmla="*/ 33962 w 185732"/>
                <a:gd name="connsiteY1" fmla="*/ 96816 h 131371"/>
                <a:gd name="connsiteX2" fmla="*/ 1971 w 185732"/>
                <a:gd name="connsiteY2" fmla="*/ 96816 h 131371"/>
                <a:gd name="connsiteX3" fmla="*/ 41096 w 185732"/>
                <a:gd name="connsiteY3" fmla="*/ 51748 h 131371"/>
                <a:gd name="connsiteX4" fmla="*/ 61306 w 185732"/>
                <a:gd name="connsiteY4" fmla="*/ 7868 h 131371"/>
                <a:gd name="connsiteX5" fmla="*/ 101619 w 185732"/>
                <a:gd name="connsiteY5" fmla="*/ 1924 h 131371"/>
                <a:gd name="connsiteX6" fmla="*/ 157388 w 185732"/>
                <a:gd name="connsiteY6" fmla="*/ 26782 h 131371"/>
                <a:gd name="connsiteX7" fmla="*/ 178679 w 185732"/>
                <a:gd name="connsiteY7" fmla="*/ 131185 h 131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5732" h="131371" extrusionOk="0">
                  <a:moveTo>
                    <a:pt x="178679" y="131185"/>
                  </a:moveTo>
                  <a:cubicBezTo>
                    <a:pt x="151443" y="121675"/>
                    <a:pt x="48228" y="96816"/>
                    <a:pt x="33962" y="96816"/>
                  </a:cubicBezTo>
                  <a:cubicBezTo>
                    <a:pt x="19696" y="96816"/>
                    <a:pt x="-7540" y="113461"/>
                    <a:pt x="1971" y="96816"/>
                  </a:cubicBezTo>
                  <a:cubicBezTo>
                    <a:pt x="10293" y="80172"/>
                    <a:pt x="41096" y="67203"/>
                    <a:pt x="41096" y="51748"/>
                  </a:cubicBezTo>
                  <a:cubicBezTo>
                    <a:pt x="41096" y="35104"/>
                    <a:pt x="49418" y="9057"/>
                    <a:pt x="61306" y="7868"/>
                  </a:cubicBezTo>
                  <a:cubicBezTo>
                    <a:pt x="72006" y="5490"/>
                    <a:pt x="86164" y="-4021"/>
                    <a:pt x="101619" y="1924"/>
                  </a:cubicBezTo>
                  <a:cubicBezTo>
                    <a:pt x="118264" y="7868"/>
                    <a:pt x="140743" y="5490"/>
                    <a:pt x="157388" y="26782"/>
                  </a:cubicBezTo>
                  <a:cubicBezTo>
                    <a:pt x="174032" y="48181"/>
                    <a:pt x="197701" y="135941"/>
                    <a:pt x="178679" y="131185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0" name="Полилиния: фигура 200"/>
            <p:cNvSpPr/>
            <p:nvPr/>
          </p:nvSpPr>
          <p:spPr bwMode="auto">
            <a:xfrm>
              <a:off x="8033614" y="1883697"/>
              <a:ext cx="462429" cy="308225"/>
            </a:xfrm>
            <a:custGeom>
              <a:avLst/>
              <a:gdLst>
                <a:gd name="connsiteX0" fmla="*/ 300007 w 462429"/>
                <a:gd name="connsiteY0" fmla="*/ 270338 h 308225"/>
                <a:gd name="connsiteX1" fmla="*/ 282174 w 462429"/>
                <a:gd name="connsiteY1" fmla="*/ 250127 h 308225"/>
                <a:gd name="connsiteX2" fmla="*/ 264341 w 462429"/>
                <a:gd name="connsiteY2" fmla="*/ 250127 h 308225"/>
                <a:gd name="connsiteX3" fmla="*/ 183715 w 462429"/>
                <a:gd name="connsiteY3" fmla="*/ 260827 h 308225"/>
                <a:gd name="connsiteX4" fmla="*/ 155182 w 462429"/>
                <a:gd name="connsiteY4" fmla="*/ 242994 h 308225"/>
                <a:gd name="connsiteX5" fmla="*/ 143293 w 462429"/>
                <a:gd name="connsiteY5" fmla="*/ 273796 h 308225"/>
                <a:gd name="connsiteX6" fmla="*/ 121894 w 462429"/>
                <a:gd name="connsiteY6" fmla="*/ 308165 h 308225"/>
                <a:gd name="connsiteX7" fmla="*/ 70881 w 462429"/>
                <a:gd name="connsiteY7" fmla="*/ 277363 h 308225"/>
                <a:gd name="connsiteX8" fmla="*/ 30568 w 462429"/>
                <a:gd name="connsiteY8" fmla="*/ 227539 h 308225"/>
                <a:gd name="connsiteX9" fmla="*/ 4521 w 462429"/>
                <a:gd name="connsiteY9" fmla="*/ 169393 h 308225"/>
                <a:gd name="connsiteX10" fmla="*/ 33053 w 462429"/>
                <a:gd name="connsiteY10" fmla="*/ 169393 h 308225"/>
                <a:gd name="connsiteX11" fmla="*/ 24732 w 462429"/>
                <a:gd name="connsiteY11" fmla="*/ 99466 h 308225"/>
                <a:gd name="connsiteX12" fmla="*/ 35431 w 462429"/>
                <a:gd name="connsiteY12" fmla="*/ 88766 h 308225"/>
                <a:gd name="connsiteX13" fmla="*/ 37809 w 462429"/>
                <a:gd name="connsiteY13" fmla="*/ 44886 h 308225"/>
                <a:gd name="connsiteX14" fmla="*/ 91200 w 462429"/>
                <a:gd name="connsiteY14" fmla="*/ 11706 h 308225"/>
                <a:gd name="connsiteX15" fmla="*/ 129135 w 462429"/>
                <a:gd name="connsiteY15" fmla="*/ 11706 h 308225"/>
                <a:gd name="connsiteX16" fmla="*/ 158749 w 462429"/>
                <a:gd name="connsiteY16" fmla="*/ 52020 h 308225"/>
                <a:gd name="connsiteX17" fmla="*/ 180148 w 462429"/>
                <a:gd name="connsiteY17" fmla="*/ 79255 h 308225"/>
                <a:gd name="connsiteX18" fmla="*/ 206195 w 462429"/>
                <a:gd name="connsiteY18" fmla="*/ 81633 h 308225"/>
                <a:gd name="connsiteX19" fmla="*/ 220461 w 462429"/>
                <a:gd name="connsiteY19" fmla="*/ 112435 h 308225"/>
                <a:gd name="connsiteX20" fmla="*/ 231161 w 462429"/>
                <a:gd name="connsiteY20" fmla="*/ 82714 h 308225"/>
                <a:gd name="connsiteX21" fmla="*/ 245428 w 462429"/>
                <a:gd name="connsiteY21" fmla="*/ 30512 h 308225"/>
                <a:gd name="connsiteX22" fmla="*/ 252561 w 462429"/>
                <a:gd name="connsiteY22" fmla="*/ 5654 h 308225"/>
                <a:gd name="connsiteX23" fmla="*/ 286930 w 462429"/>
                <a:gd name="connsiteY23" fmla="*/ 40023 h 308225"/>
                <a:gd name="connsiteX24" fmla="*/ 333187 w 462429"/>
                <a:gd name="connsiteY24" fmla="*/ 75581 h 308225"/>
                <a:gd name="connsiteX25" fmla="*/ 397277 w 462429"/>
                <a:gd name="connsiteY25" fmla="*/ 82714 h 308225"/>
                <a:gd name="connsiteX26" fmla="*/ 461368 w 462429"/>
                <a:gd name="connsiteY26" fmla="*/ 133727 h 308225"/>
                <a:gd name="connsiteX27" fmla="*/ 431754 w 462429"/>
                <a:gd name="connsiteY27" fmla="*/ 155126 h 308225"/>
                <a:gd name="connsiteX28" fmla="*/ 429377 w 462429"/>
                <a:gd name="connsiteY28" fmla="*/ 207328 h 308225"/>
                <a:gd name="connsiteX29" fmla="*/ 387875 w 462429"/>
                <a:gd name="connsiteY29" fmla="*/ 238130 h 308225"/>
                <a:gd name="connsiteX30" fmla="*/ 336862 w 462429"/>
                <a:gd name="connsiteY30" fmla="*/ 219217 h 308225"/>
                <a:gd name="connsiteX31" fmla="*/ 314273 w 462429"/>
                <a:gd name="connsiteY31" fmla="*/ 149182 h 308225"/>
                <a:gd name="connsiteX32" fmla="*/ 330918 w 462429"/>
                <a:gd name="connsiteY32" fmla="*/ 107680 h 308225"/>
                <a:gd name="connsiteX33" fmla="*/ 291793 w 462429"/>
                <a:gd name="connsiteY33" fmla="*/ 112435 h 308225"/>
                <a:gd name="connsiteX34" fmla="*/ 287037 w 462429"/>
                <a:gd name="connsiteY34" fmla="*/ 155126 h 308225"/>
                <a:gd name="connsiteX35" fmla="*/ 335673 w 462429"/>
                <a:gd name="connsiteY35" fmla="*/ 241697 h 308225"/>
                <a:gd name="connsiteX36" fmla="*/ 365287 w 462429"/>
                <a:gd name="connsiteY36" fmla="*/ 259422 h 308225"/>
                <a:gd name="connsiteX37" fmla="*/ 300007 w 462429"/>
                <a:gd name="connsiteY37" fmla="*/ 270338 h 308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62429" h="308225" extrusionOk="0">
                  <a:moveTo>
                    <a:pt x="300007" y="270338"/>
                  </a:moveTo>
                  <a:cubicBezTo>
                    <a:pt x="286930" y="273904"/>
                    <a:pt x="280985" y="258449"/>
                    <a:pt x="282174" y="250127"/>
                  </a:cubicBezTo>
                  <a:cubicBezTo>
                    <a:pt x="284552" y="241805"/>
                    <a:pt x="285741" y="239427"/>
                    <a:pt x="264341" y="250127"/>
                  </a:cubicBezTo>
                  <a:cubicBezTo>
                    <a:pt x="242942" y="259638"/>
                    <a:pt x="199062" y="266771"/>
                    <a:pt x="183715" y="260827"/>
                  </a:cubicBezTo>
                  <a:cubicBezTo>
                    <a:pt x="168259" y="256071"/>
                    <a:pt x="165882" y="238238"/>
                    <a:pt x="155182" y="242994"/>
                  </a:cubicBezTo>
                  <a:cubicBezTo>
                    <a:pt x="143293" y="246561"/>
                    <a:pt x="143293" y="256071"/>
                    <a:pt x="143293" y="273796"/>
                  </a:cubicBezTo>
                  <a:cubicBezTo>
                    <a:pt x="143293" y="292818"/>
                    <a:pt x="146860" y="309354"/>
                    <a:pt x="121894" y="308165"/>
                  </a:cubicBezTo>
                  <a:cubicBezTo>
                    <a:pt x="98117" y="306976"/>
                    <a:pt x="80392" y="301032"/>
                    <a:pt x="70881" y="277363"/>
                  </a:cubicBezTo>
                  <a:cubicBezTo>
                    <a:pt x="62559" y="252505"/>
                    <a:pt x="47104" y="248938"/>
                    <a:pt x="30568" y="227539"/>
                  </a:cubicBezTo>
                  <a:cubicBezTo>
                    <a:pt x="12735" y="206139"/>
                    <a:pt x="-9745" y="174148"/>
                    <a:pt x="4521" y="169393"/>
                  </a:cubicBezTo>
                  <a:cubicBezTo>
                    <a:pt x="18788" y="163448"/>
                    <a:pt x="31757" y="181281"/>
                    <a:pt x="33053" y="169393"/>
                  </a:cubicBezTo>
                  <a:cubicBezTo>
                    <a:pt x="34243" y="156315"/>
                    <a:pt x="12843" y="111246"/>
                    <a:pt x="24732" y="99466"/>
                  </a:cubicBezTo>
                  <a:cubicBezTo>
                    <a:pt x="35431" y="88766"/>
                    <a:pt x="37809" y="107788"/>
                    <a:pt x="35431" y="88766"/>
                  </a:cubicBezTo>
                  <a:cubicBezTo>
                    <a:pt x="34243" y="68556"/>
                    <a:pt x="30676" y="49642"/>
                    <a:pt x="37809" y="44886"/>
                  </a:cubicBezTo>
                  <a:cubicBezTo>
                    <a:pt x="44942" y="38942"/>
                    <a:pt x="76934" y="23487"/>
                    <a:pt x="91200" y="11706"/>
                  </a:cubicBezTo>
                  <a:cubicBezTo>
                    <a:pt x="105466" y="-74"/>
                    <a:pt x="114977" y="-7315"/>
                    <a:pt x="129135" y="11706"/>
                  </a:cubicBezTo>
                  <a:cubicBezTo>
                    <a:pt x="143402" y="30620"/>
                    <a:pt x="157668" y="41320"/>
                    <a:pt x="158749" y="52020"/>
                  </a:cubicBezTo>
                  <a:cubicBezTo>
                    <a:pt x="161127" y="61530"/>
                    <a:pt x="165882" y="84011"/>
                    <a:pt x="180148" y="79255"/>
                  </a:cubicBezTo>
                  <a:cubicBezTo>
                    <a:pt x="194415" y="75689"/>
                    <a:pt x="206195" y="68556"/>
                    <a:pt x="206195" y="81633"/>
                  </a:cubicBezTo>
                  <a:cubicBezTo>
                    <a:pt x="206195" y="93522"/>
                    <a:pt x="206195" y="116002"/>
                    <a:pt x="220461" y="112435"/>
                  </a:cubicBezTo>
                  <a:cubicBezTo>
                    <a:pt x="234728" y="107680"/>
                    <a:pt x="231161" y="105302"/>
                    <a:pt x="231161" y="82714"/>
                  </a:cubicBezTo>
                  <a:cubicBezTo>
                    <a:pt x="231161" y="60233"/>
                    <a:pt x="233539" y="35267"/>
                    <a:pt x="245428" y="30512"/>
                  </a:cubicBezTo>
                  <a:cubicBezTo>
                    <a:pt x="258505" y="24568"/>
                    <a:pt x="238295" y="2087"/>
                    <a:pt x="252561" y="5654"/>
                  </a:cubicBezTo>
                  <a:cubicBezTo>
                    <a:pt x="266827" y="10409"/>
                    <a:pt x="266827" y="23487"/>
                    <a:pt x="286930" y="40023"/>
                  </a:cubicBezTo>
                  <a:cubicBezTo>
                    <a:pt x="307140" y="56667"/>
                    <a:pt x="314165" y="75581"/>
                    <a:pt x="333187" y="75581"/>
                  </a:cubicBezTo>
                  <a:cubicBezTo>
                    <a:pt x="353398" y="75581"/>
                    <a:pt x="380634" y="67259"/>
                    <a:pt x="397277" y="82714"/>
                  </a:cubicBezTo>
                  <a:cubicBezTo>
                    <a:pt x="415111" y="98169"/>
                    <a:pt x="470770" y="128971"/>
                    <a:pt x="461368" y="133727"/>
                  </a:cubicBezTo>
                  <a:cubicBezTo>
                    <a:pt x="451857" y="137293"/>
                    <a:pt x="431754" y="143238"/>
                    <a:pt x="431754" y="155126"/>
                  </a:cubicBezTo>
                  <a:cubicBezTo>
                    <a:pt x="431754" y="165826"/>
                    <a:pt x="440077" y="197817"/>
                    <a:pt x="429377" y="207328"/>
                  </a:cubicBezTo>
                  <a:cubicBezTo>
                    <a:pt x="417488" y="216839"/>
                    <a:pt x="398574" y="245263"/>
                    <a:pt x="387875" y="238130"/>
                  </a:cubicBezTo>
                  <a:cubicBezTo>
                    <a:pt x="375986" y="230997"/>
                    <a:pt x="349939" y="230997"/>
                    <a:pt x="336862" y="219217"/>
                  </a:cubicBezTo>
                  <a:cubicBezTo>
                    <a:pt x="323784" y="206139"/>
                    <a:pt x="308437" y="158693"/>
                    <a:pt x="314273" y="149182"/>
                  </a:cubicBezTo>
                  <a:cubicBezTo>
                    <a:pt x="320218" y="139671"/>
                    <a:pt x="338051" y="112435"/>
                    <a:pt x="330918" y="107680"/>
                  </a:cubicBezTo>
                  <a:cubicBezTo>
                    <a:pt x="323784" y="104113"/>
                    <a:pt x="298926" y="105302"/>
                    <a:pt x="291793" y="112435"/>
                  </a:cubicBezTo>
                  <a:cubicBezTo>
                    <a:pt x="284660" y="119569"/>
                    <a:pt x="282283" y="147993"/>
                    <a:pt x="287037" y="155126"/>
                  </a:cubicBezTo>
                  <a:cubicBezTo>
                    <a:pt x="291793" y="162259"/>
                    <a:pt x="302493" y="228619"/>
                    <a:pt x="335673" y="241697"/>
                  </a:cubicBezTo>
                  <a:cubicBezTo>
                    <a:pt x="367664" y="253586"/>
                    <a:pt x="372419" y="252397"/>
                    <a:pt x="365287" y="259422"/>
                  </a:cubicBezTo>
                  <a:cubicBezTo>
                    <a:pt x="358045" y="266771"/>
                    <a:pt x="312976" y="265582"/>
                    <a:pt x="300007" y="270338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1" name="Полилиния: фигура 201"/>
            <p:cNvSpPr/>
            <p:nvPr/>
          </p:nvSpPr>
          <p:spPr bwMode="auto">
            <a:xfrm>
              <a:off x="6402370" y="2323826"/>
              <a:ext cx="3018734" cy="2391340"/>
            </a:xfrm>
            <a:custGeom>
              <a:avLst/>
              <a:gdLst>
                <a:gd name="connsiteX0" fmla="*/ 141258 w 3018734"/>
                <a:gd name="connsiteY0" fmla="*/ 1464785 h 2391340"/>
                <a:gd name="connsiteX1" fmla="*/ 97378 w 3018734"/>
                <a:gd name="connsiteY1" fmla="*/ 1444575 h 2391340"/>
                <a:gd name="connsiteX2" fmla="*/ 61821 w 3018734"/>
                <a:gd name="connsiteY2" fmla="*/ 1432686 h 2391340"/>
                <a:gd name="connsiteX3" fmla="*/ 8430 w 3018734"/>
                <a:gd name="connsiteY3" fmla="*/ 1430308 h 2391340"/>
                <a:gd name="connsiteX4" fmla="*/ 9619 w 3018734"/>
                <a:gd name="connsiteY4" fmla="*/ 1405450 h 2391340"/>
                <a:gd name="connsiteX5" fmla="*/ 28532 w 3018734"/>
                <a:gd name="connsiteY5" fmla="*/ 1354437 h 2391340"/>
                <a:gd name="connsiteX6" fmla="*/ 29722 w 3018734"/>
                <a:gd name="connsiteY6" fmla="*/ 1354437 h 2391340"/>
                <a:gd name="connsiteX7" fmla="*/ 42799 w 3018734"/>
                <a:gd name="connsiteY7" fmla="*/ 1323635 h 2391340"/>
                <a:gd name="connsiteX8" fmla="*/ 66576 w 3018734"/>
                <a:gd name="connsiteY8" fmla="*/ 1299966 h 2391340"/>
                <a:gd name="connsiteX9" fmla="*/ 59443 w 3018734"/>
                <a:gd name="connsiteY9" fmla="*/ 1284511 h 2391340"/>
                <a:gd name="connsiteX10" fmla="*/ 58254 w 3018734"/>
                <a:gd name="connsiteY10" fmla="*/ 1282133 h 2391340"/>
                <a:gd name="connsiteX11" fmla="*/ 33396 w 3018734"/>
                <a:gd name="connsiteY11" fmla="*/ 1241820 h 2391340"/>
                <a:gd name="connsiteX12" fmla="*/ 17941 w 3018734"/>
                <a:gd name="connsiteY12" fmla="*/ 1232309 h 2391340"/>
                <a:gd name="connsiteX13" fmla="*/ 36855 w 3018734"/>
                <a:gd name="connsiteY13" fmla="*/ 1209829 h 2391340"/>
                <a:gd name="connsiteX14" fmla="*/ 36855 w 3018734"/>
                <a:gd name="connsiteY14" fmla="*/ 1207451 h 2391340"/>
                <a:gd name="connsiteX15" fmla="*/ 19022 w 3018734"/>
                <a:gd name="connsiteY15" fmla="*/ 1170704 h 2391340"/>
                <a:gd name="connsiteX16" fmla="*/ 9511 w 3018734"/>
                <a:gd name="connsiteY16" fmla="*/ 1131580 h 2391340"/>
                <a:gd name="connsiteX17" fmla="*/ 0 w 3018734"/>
                <a:gd name="connsiteY17" fmla="*/ 1106614 h 2391340"/>
                <a:gd name="connsiteX18" fmla="*/ 17833 w 3018734"/>
                <a:gd name="connsiteY18" fmla="*/ 1081756 h 2391340"/>
                <a:gd name="connsiteX19" fmla="*/ 17833 w 3018734"/>
                <a:gd name="connsiteY19" fmla="*/ 1079378 h 2391340"/>
                <a:gd name="connsiteX20" fmla="*/ 54579 w 3018734"/>
                <a:gd name="connsiteY20" fmla="*/ 1063923 h 2391340"/>
                <a:gd name="connsiteX21" fmla="*/ 74790 w 3018734"/>
                <a:gd name="connsiteY21" fmla="*/ 1043712 h 2391340"/>
                <a:gd name="connsiteX22" fmla="*/ 64090 w 3018734"/>
                <a:gd name="connsiteY22" fmla="*/ 940498 h 2391340"/>
                <a:gd name="connsiteX23" fmla="*/ 62901 w 3018734"/>
                <a:gd name="connsiteY23" fmla="*/ 828961 h 2391340"/>
                <a:gd name="connsiteX24" fmla="*/ 48635 w 3018734"/>
                <a:gd name="connsiteY24" fmla="*/ 800428 h 2391340"/>
                <a:gd name="connsiteX25" fmla="*/ 39124 w 3018734"/>
                <a:gd name="connsiteY25" fmla="*/ 776759 h 2391340"/>
                <a:gd name="connsiteX26" fmla="*/ 39124 w 3018734"/>
                <a:gd name="connsiteY26" fmla="*/ 773192 h 2391340"/>
                <a:gd name="connsiteX27" fmla="*/ 42691 w 3018734"/>
                <a:gd name="connsiteY27" fmla="*/ 740012 h 2391340"/>
                <a:gd name="connsiteX28" fmla="*/ 68738 w 3018734"/>
                <a:gd name="connsiteY28" fmla="*/ 728124 h 2391340"/>
                <a:gd name="connsiteX29" fmla="*/ 104295 w 3018734"/>
                <a:gd name="connsiteY29" fmla="*/ 723368 h 2391340"/>
                <a:gd name="connsiteX30" fmla="*/ 120940 w 3018734"/>
                <a:gd name="connsiteY30" fmla="*/ 696132 h 2391340"/>
                <a:gd name="connsiteX31" fmla="*/ 155308 w 3018734"/>
                <a:gd name="connsiteY31" fmla="*/ 696132 h 2391340"/>
                <a:gd name="connsiteX32" fmla="*/ 170764 w 3018734"/>
                <a:gd name="connsiteY32" fmla="*/ 703266 h 2391340"/>
                <a:gd name="connsiteX33" fmla="*/ 192163 w 3018734"/>
                <a:gd name="connsiteY33" fmla="*/ 687810 h 2391340"/>
                <a:gd name="connsiteX34" fmla="*/ 196919 w 3018734"/>
                <a:gd name="connsiteY34" fmla="*/ 641553 h 2391340"/>
                <a:gd name="connsiteX35" fmla="*/ 193352 w 3018734"/>
                <a:gd name="connsiteY35" fmla="*/ 591729 h 2391340"/>
                <a:gd name="connsiteX36" fmla="*/ 230098 w 3018734"/>
                <a:gd name="connsiteY36" fmla="*/ 583407 h 2391340"/>
                <a:gd name="connsiteX37" fmla="*/ 247932 w 3018734"/>
                <a:gd name="connsiteY37" fmla="*/ 575085 h 2391340"/>
                <a:gd name="connsiteX38" fmla="*/ 261009 w 3018734"/>
                <a:gd name="connsiteY38" fmla="*/ 545471 h 2391340"/>
                <a:gd name="connsiteX39" fmla="*/ 295378 w 3018734"/>
                <a:gd name="connsiteY39" fmla="*/ 533583 h 2391340"/>
                <a:gd name="connsiteX40" fmla="*/ 335691 w 3018734"/>
                <a:gd name="connsiteY40" fmla="*/ 494458 h 2391340"/>
                <a:gd name="connsiteX41" fmla="*/ 355902 w 3018734"/>
                <a:gd name="connsiteY41" fmla="*/ 486136 h 2391340"/>
                <a:gd name="connsiteX42" fmla="*/ 358279 w 3018734"/>
                <a:gd name="connsiteY42" fmla="*/ 486136 h 2391340"/>
                <a:gd name="connsiteX43" fmla="*/ 363035 w 3018734"/>
                <a:gd name="connsiteY43" fmla="*/ 469492 h 2391340"/>
                <a:gd name="connsiteX44" fmla="*/ 351146 w 3018734"/>
                <a:gd name="connsiteY44" fmla="*/ 449282 h 2391340"/>
                <a:gd name="connsiteX45" fmla="*/ 335691 w 3018734"/>
                <a:gd name="connsiteY45" fmla="*/ 431449 h 2391340"/>
                <a:gd name="connsiteX46" fmla="*/ 329747 w 3018734"/>
                <a:gd name="connsiteY46" fmla="*/ 350822 h 2391340"/>
                <a:gd name="connsiteX47" fmla="*/ 329747 w 3018734"/>
                <a:gd name="connsiteY47" fmla="*/ 349633 h 2391340"/>
                <a:gd name="connsiteX48" fmla="*/ 320236 w 3018734"/>
                <a:gd name="connsiteY48" fmla="*/ 303376 h 2391340"/>
                <a:gd name="connsiteX49" fmla="*/ 285867 w 3018734"/>
                <a:gd name="connsiteY49" fmla="*/ 266629 h 2391340"/>
                <a:gd name="connsiteX50" fmla="*/ 285867 w 3018734"/>
                <a:gd name="connsiteY50" fmla="*/ 238205 h 2391340"/>
                <a:gd name="connsiteX51" fmla="*/ 269223 w 3018734"/>
                <a:gd name="connsiteY51" fmla="*/ 194325 h 2391340"/>
                <a:gd name="connsiteX52" fmla="*/ 265656 w 3018734"/>
                <a:gd name="connsiteY52" fmla="*/ 162334 h 2391340"/>
                <a:gd name="connsiteX53" fmla="*/ 254957 w 3018734"/>
                <a:gd name="connsiteY53" fmla="*/ 108943 h 2391340"/>
                <a:gd name="connsiteX54" fmla="*/ 252579 w 3018734"/>
                <a:gd name="connsiteY54" fmla="*/ 108943 h 2391340"/>
                <a:gd name="connsiteX55" fmla="*/ 247823 w 3018734"/>
                <a:gd name="connsiteY55" fmla="*/ 82896 h 2391340"/>
                <a:gd name="connsiteX56" fmla="*/ 284570 w 3018734"/>
                <a:gd name="connsiteY56" fmla="*/ 60416 h 2391340"/>
                <a:gd name="connsiteX57" fmla="*/ 316561 w 3018734"/>
                <a:gd name="connsiteY57" fmla="*/ 27236 h 2391340"/>
                <a:gd name="connsiteX58" fmla="*/ 346175 w 3018734"/>
                <a:gd name="connsiteY58" fmla="*/ 0 h 2391340"/>
                <a:gd name="connsiteX59" fmla="*/ 367574 w 3018734"/>
                <a:gd name="connsiteY59" fmla="*/ 3567 h 2391340"/>
                <a:gd name="connsiteX60" fmla="*/ 386488 w 3018734"/>
                <a:gd name="connsiteY60" fmla="*/ 0 h 2391340"/>
                <a:gd name="connsiteX61" fmla="*/ 392432 w 3018734"/>
                <a:gd name="connsiteY61" fmla="*/ 5944 h 2391340"/>
                <a:gd name="connsiteX62" fmla="*/ 399565 w 3018734"/>
                <a:gd name="connsiteY62" fmla="*/ 40313 h 2391340"/>
                <a:gd name="connsiteX63" fmla="*/ 410265 w 3018734"/>
                <a:gd name="connsiteY63" fmla="*/ 103215 h 2391340"/>
                <a:gd name="connsiteX64" fmla="*/ 419776 w 3018734"/>
                <a:gd name="connsiteY64" fmla="*/ 145906 h 2391340"/>
                <a:gd name="connsiteX65" fmla="*/ 422154 w 3018734"/>
                <a:gd name="connsiteY65" fmla="*/ 163739 h 2391340"/>
                <a:gd name="connsiteX66" fmla="*/ 407887 w 3018734"/>
                <a:gd name="connsiteY66" fmla="*/ 196919 h 2391340"/>
                <a:gd name="connsiteX67" fmla="*/ 411454 w 3018734"/>
                <a:gd name="connsiteY67" fmla="*/ 204052 h 2391340"/>
                <a:gd name="connsiteX68" fmla="*/ 445823 w 3018734"/>
                <a:gd name="connsiteY68" fmla="*/ 174438 h 2391340"/>
                <a:gd name="connsiteX69" fmla="*/ 460089 w 3018734"/>
                <a:gd name="connsiteY69" fmla="*/ 156606 h 2391340"/>
                <a:gd name="connsiteX70" fmla="*/ 448201 w 3018734"/>
                <a:gd name="connsiteY70" fmla="*/ 128181 h 2391340"/>
                <a:gd name="connsiteX71" fmla="*/ 432745 w 3018734"/>
                <a:gd name="connsiteY71" fmla="*/ 96190 h 2391340"/>
                <a:gd name="connsiteX72" fmla="*/ 427125 w 3018734"/>
                <a:gd name="connsiteY72" fmla="*/ 68630 h 2391340"/>
                <a:gd name="connsiteX73" fmla="*/ 440203 w 3018734"/>
                <a:gd name="connsiteY73" fmla="*/ 59119 h 2391340"/>
                <a:gd name="connsiteX74" fmla="*/ 463980 w 3018734"/>
                <a:gd name="connsiteY74" fmla="*/ 57930 h 2391340"/>
                <a:gd name="connsiteX75" fmla="*/ 493593 w 3018734"/>
                <a:gd name="connsiteY75" fmla="*/ 57930 h 2391340"/>
                <a:gd name="connsiteX76" fmla="*/ 532718 w 3018734"/>
                <a:gd name="connsiteY76" fmla="*/ 79330 h 2391340"/>
                <a:gd name="connsiteX77" fmla="*/ 568276 w 3018734"/>
                <a:gd name="connsiteY77" fmla="*/ 97162 h 2391340"/>
                <a:gd name="connsiteX78" fmla="*/ 576597 w 3018734"/>
                <a:gd name="connsiteY78" fmla="*/ 91218 h 2391340"/>
                <a:gd name="connsiteX79" fmla="*/ 581353 w 3018734"/>
                <a:gd name="connsiteY79" fmla="*/ 81707 h 2391340"/>
                <a:gd name="connsiteX80" fmla="*/ 587297 w 3018734"/>
                <a:gd name="connsiteY80" fmla="*/ 80518 h 2391340"/>
                <a:gd name="connsiteX81" fmla="*/ 627610 w 3018734"/>
                <a:gd name="connsiteY81" fmla="*/ 100729 h 2391340"/>
                <a:gd name="connsiteX82" fmla="*/ 656035 w 3018734"/>
                <a:gd name="connsiteY82" fmla="*/ 113806 h 2391340"/>
                <a:gd name="connsiteX83" fmla="*/ 702293 w 3018734"/>
                <a:gd name="connsiteY83" fmla="*/ 113806 h 2391340"/>
                <a:gd name="connsiteX84" fmla="*/ 737850 w 3018734"/>
                <a:gd name="connsiteY84" fmla="*/ 122129 h 2391340"/>
                <a:gd name="connsiteX85" fmla="*/ 742606 w 3018734"/>
                <a:gd name="connsiteY85" fmla="*/ 149364 h 2391340"/>
                <a:gd name="connsiteX86" fmla="*/ 754495 w 3018734"/>
                <a:gd name="connsiteY86" fmla="*/ 183733 h 2391340"/>
                <a:gd name="connsiteX87" fmla="*/ 760439 w 3018734"/>
                <a:gd name="connsiteY87" fmla="*/ 192055 h 2391340"/>
                <a:gd name="connsiteX88" fmla="*/ 798374 w 3018734"/>
                <a:gd name="connsiteY88" fmla="*/ 186111 h 2391340"/>
                <a:gd name="connsiteX89" fmla="*/ 833932 w 3018734"/>
                <a:gd name="connsiteY89" fmla="*/ 184922 h 2391340"/>
                <a:gd name="connsiteX90" fmla="*/ 862356 w 3018734"/>
                <a:gd name="connsiteY90" fmla="*/ 196811 h 2391340"/>
                <a:gd name="connsiteX91" fmla="*/ 899103 w 3018734"/>
                <a:gd name="connsiteY91" fmla="*/ 202755 h 2391340"/>
                <a:gd name="connsiteX92" fmla="*/ 913369 w 3018734"/>
                <a:gd name="connsiteY92" fmla="*/ 201566 h 2391340"/>
                <a:gd name="connsiteX93" fmla="*/ 922880 w 3018734"/>
                <a:gd name="connsiteY93" fmla="*/ 194433 h 2391340"/>
                <a:gd name="connsiteX94" fmla="*/ 918125 w 3018734"/>
                <a:gd name="connsiteY94" fmla="*/ 183733 h 2391340"/>
                <a:gd name="connsiteX95" fmla="*/ 926447 w 3018734"/>
                <a:gd name="connsiteY95" fmla="*/ 181355 h 2391340"/>
                <a:gd name="connsiteX96" fmla="*/ 939524 w 3018734"/>
                <a:gd name="connsiteY96" fmla="*/ 175411 h 2391340"/>
                <a:gd name="connsiteX97" fmla="*/ 925258 w 3018734"/>
                <a:gd name="connsiteY97" fmla="*/ 152823 h 2391340"/>
                <a:gd name="connsiteX98" fmla="*/ 922880 w 3018734"/>
                <a:gd name="connsiteY98" fmla="*/ 139745 h 2391340"/>
                <a:gd name="connsiteX99" fmla="*/ 941902 w 3018734"/>
                <a:gd name="connsiteY99" fmla="*/ 131423 h 2391340"/>
                <a:gd name="connsiteX100" fmla="*/ 939524 w 3018734"/>
                <a:gd name="connsiteY100" fmla="*/ 120724 h 2391340"/>
                <a:gd name="connsiteX101" fmla="*/ 918125 w 3018734"/>
                <a:gd name="connsiteY101" fmla="*/ 98135 h 2391340"/>
                <a:gd name="connsiteX102" fmla="*/ 905047 w 3018734"/>
                <a:gd name="connsiteY102" fmla="*/ 79113 h 2391340"/>
                <a:gd name="connsiteX103" fmla="*/ 908614 w 3018734"/>
                <a:gd name="connsiteY103" fmla="*/ 62469 h 2391340"/>
                <a:gd name="connsiteX104" fmla="*/ 921692 w 3018734"/>
                <a:gd name="connsiteY104" fmla="*/ 42259 h 2391340"/>
                <a:gd name="connsiteX105" fmla="*/ 934769 w 3018734"/>
                <a:gd name="connsiteY105" fmla="*/ 31559 h 2391340"/>
                <a:gd name="connsiteX106" fmla="*/ 945469 w 3018734"/>
                <a:gd name="connsiteY106" fmla="*/ 31559 h 2391340"/>
                <a:gd name="connsiteX107" fmla="*/ 963302 w 3018734"/>
                <a:gd name="connsiteY107" fmla="*/ 41070 h 2391340"/>
                <a:gd name="connsiteX108" fmla="*/ 978757 w 3018734"/>
                <a:gd name="connsiteY108" fmla="*/ 49392 h 2391340"/>
                <a:gd name="connsiteX109" fmla="*/ 996590 w 3018734"/>
                <a:gd name="connsiteY109" fmla="*/ 51770 h 2391340"/>
                <a:gd name="connsiteX110" fmla="*/ 1009667 w 3018734"/>
                <a:gd name="connsiteY110" fmla="*/ 61281 h 2391340"/>
                <a:gd name="connsiteX111" fmla="*/ 1019178 w 3018734"/>
                <a:gd name="connsiteY111" fmla="*/ 76736 h 2391340"/>
                <a:gd name="connsiteX112" fmla="*/ 1031067 w 3018734"/>
                <a:gd name="connsiteY112" fmla="*/ 82680 h 2391340"/>
                <a:gd name="connsiteX113" fmla="*/ 1086835 w 3018734"/>
                <a:gd name="connsiteY113" fmla="*/ 96946 h 2391340"/>
                <a:gd name="connsiteX114" fmla="*/ 1112882 w 3018734"/>
                <a:gd name="connsiteY114" fmla="*/ 94569 h 2391340"/>
                <a:gd name="connsiteX115" fmla="*/ 1123582 w 3018734"/>
                <a:gd name="connsiteY115" fmla="*/ 91002 h 2391340"/>
                <a:gd name="connsiteX116" fmla="*/ 1153195 w 3018734"/>
                <a:gd name="connsiteY116" fmla="*/ 100513 h 2391340"/>
                <a:gd name="connsiteX117" fmla="*/ 1171028 w 3018734"/>
                <a:gd name="connsiteY117" fmla="*/ 102891 h 2391340"/>
                <a:gd name="connsiteX118" fmla="*/ 1180539 w 3018734"/>
                <a:gd name="connsiteY118" fmla="*/ 114779 h 2391340"/>
                <a:gd name="connsiteX119" fmla="*/ 1200750 w 3018734"/>
                <a:gd name="connsiteY119" fmla="*/ 124290 h 2391340"/>
                <a:gd name="connsiteX120" fmla="*/ 1204316 w 3018734"/>
                <a:gd name="connsiteY120" fmla="*/ 150337 h 2391340"/>
                <a:gd name="connsiteX121" fmla="*/ 1217394 w 3018734"/>
                <a:gd name="connsiteY121" fmla="*/ 170548 h 2391340"/>
                <a:gd name="connsiteX122" fmla="*/ 1248196 w 3018734"/>
                <a:gd name="connsiteY122" fmla="*/ 190758 h 2391340"/>
                <a:gd name="connsiteX123" fmla="*/ 1257707 w 3018734"/>
                <a:gd name="connsiteY123" fmla="*/ 201458 h 2391340"/>
                <a:gd name="connsiteX124" fmla="*/ 1260085 w 3018734"/>
                <a:gd name="connsiteY124" fmla="*/ 224046 h 2391340"/>
                <a:gd name="connsiteX125" fmla="*/ 1260085 w 3018734"/>
                <a:gd name="connsiteY125" fmla="*/ 225343 h 2391340"/>
                <a:gd name="connsiteX126" fmla="*/ 1250574 w 3018734"/>
                <a:gd name="connsiteY126" fmla="*/ 345094 h 2391340"/>
                <a:gd name="connsiteX127" fmla="*/ 1245818 w 3018734"/>
                <a:gd name="connsiteY127" fmla="*/ 348661 h 2391340"/>
                <a:gd name="connsiteX128" fmla="*/ 1225608 w 3018734"/>
                <a:gd name="connsiteY128" fmla="*/ 343905 h 2391340"/>
                <a:gd name="connsiteX129" fmla="*/ 1200750 w 3018734"/>
                <a:gd name="connsiteY129" fmla="*/ 319047 h 2391340"/>
                <a:gd name="connsiteX130" fmla="*/ 1188861 w 3018734"/>
                <a:gd name="connsiteY130" fmla="*/ 288245 h 2391340"/>
                <a:gd name="connsiteX131" fmla="*/ 1107046 w 3018734"/>
                <a:gd name="connsiteY131" fmla="*/ 257443 h 2391340"/>
                <a:gd name="connsiteX132" fmla="*/ 1098724 w 3018734"/>
                <a:gd name="connsiteY132" fmla="*/ 262198 h 2391340"/>
                <a:gd name="connsiteX133" fmla="*/ 1110612 w 3018734"/>
                <a:gd name="connsiteY133" fmla="*/ 288245 h 2391340"/>
                <a:gd name="connsiteX134" fmla="*/ 1121312 w 3018734"/>
                <a:gd name="connsiteY134" fmla="*/ 296567 h 2391340"/>
                <a:gd name="connsiteX135" fmla="*/ 1153303 w 3018734"/>
                <a:gd name="connsiteY135" fmla="*/ 298945 h 2391340"/>
                <a:gd name="connsiteX136" fmla="*/ 1171137 w 3018734"/>
                <a:gd name="connsiteY136" fmla="*/ 306078 h 2391340"/>
                <a:gd name="connsiteX137" fmla="*/ 1181836 w 3018734"/>
                <a:gd name="connsiteY137" fmla="*/ 317966 h 2391340"/>
                <a:gd name="connsiteX138" fmla="*/ 1192536 w 3018734"/>
                <a:gd name="connsiteY138" fmla="*/ 347580 h 2391340"/>
                <a:gd name="connsiteX139" fmla="*/ 1198480 w 3018734"/>
                <a:gd name="connsiteY139" fmla="*/ 360657 h 2391340"/>
                <a:gd name="connsiteX140" fmla="*/ 1216205 w 3018734"/>
                <a:gd name="connsiteY140" fmla="*/ 354713 h 2391340"/>
                <a:gd name="connsiteX141" fmla="*/ 1223338 w 3018734"/>
                <a:gd name="connsiteY141" fmla="*/ 359469 h 2391340"/>
                <a:gd name="connsiteX142" fmla="*/ 1222149 w 3018734"/>
                <a:gd name="connsiteY142" fmla="*/ 371357 h 2391340"/>
                <a:gd name="connsiteX143" fmla="*/ 1222149 w 3018734"/>
                <a:gd name="connsiteY143" fmla="*/ 372546 h 2391340"/>
                <a:gd name="connsiteX144" fmla="*/ 1229282 w 3018734"/>
                <a:gd name="connsiteY144" fmla="*/ 385623 h 2391340"/>
                <a:gd name="connsiteX145" fmla="*/ 1243548 w 3018734"/>
                <a:gd name="connsiteY145" fmla="*/ 378490 h 2391340"/>
                <a:gd name="connsiteX146" fmla="*/ 1250682 w 3018734"/>
                <a:gd name="connsiteY146" fmla="*/ 384435 h 2391340"/>
                <a:gd name="connsiteX147" fmla="*/ 1256626 w 3018734"/>
                <a:gd name="connsiteY147" fmla="*/ 403348 h 2391340"/>
                <a:gd name="connsiteX148" fmla="*/ 1256626 w 3018734"/>
                <a:gd name="connsiteY148" fmla="*/ 415237 h 2391340"/>
                <a:gd name="connsiteX149" fmla="*/ 1278025 w 3018734"/>
                <a:gd name="connsiteY149" fmla="*/ 429503 h 2391340"/>
                <a:gd name="connsiteX150" fmla="*/ 1299425 w 3018734"/>
                <a:gd name="connsiteY150" fmla="*/ 463872 h 2391340"/>
                <a:gd name="connsiteX151" fmla="*/ 1311314 w 3018734"/>
                <a:gd name="connsiteY151" fmla="*/ 487649 h 2391340"/>
                <a:gd name="connsiteX152" fmla="*/ 1313692 w 3018734"/>
                <a:gd name="connsiteY152" fmla="*/ 517263 h 2391340"/>
                <a:gd name="connsiteX153" fmla="*/ 1324391 w 3018734"/>
                <a:gd name="connsiteY153" fmla="*/ 529151 h 2391340"/>
                <a:gd name="connsiteX154" fmla="*/ 1346979 w 3018734"/>
                <a:gd name="connsiteY154" fmla="*/ 527963 h 2391340"/>
                <a:gd name="connsiteX155" fmla="*/ 1351735 w 3018734"/>
                <a:gd name="connsiteY155" fmla="*/ 533907 h 2391340"/>
                <a:gd name="connsiteX156" fmla="*/ 1356490 w 3018734"/>
                <a:gd name="connsiteY156" fmla="*/ 548173 h 2391340"/>
                <a:gd name="connsiteX157" fmla="*/ 1361246 w 3018734"/>
                <a:gd name="connsiteY157" fmla="*/ 566006 h 2391340"/>
                <a:gd name="connsiteX158" fmla="*/ 1379079 w 3018734"/>
                <a:gd name="connsiteY158" fmla="*/ 555306 h 2391340"/>
                <a:gd name="connsiteX159" fmla="*/ 1400478 w 3018734"/>
                <a:gd name="connsiteY159" fmla="*/ 522126 h 2391340"/>
                <a:gd name="connsiteX160" fmla="*/ 1411178 w 3018734"/>
                <a:gd name="connsiteY160" fmla="*/ 501916 h 2391340"/>
                <a:gd name="connsiteX161" fmla="*/ 1411178 w 3018734"/>
                <a:gd name="connsiteY161" fmla="*/ 475869 h 2391340"/>
                <a:gd name="connsiteX162" fmla="*/ 1413556 w 3018734"/>
                <a:gd name="connsiteY162" fmla="*/ 431989 h 2391340"/>
                <a:gd name="connsiteX163" fmla="*/ 1426633 w 3018734"/>
                <a:gd name="connsiteY163" fmla="*/ 399998 h 2391340"/>
                <a:gd name="connsiteX164" fmla="*/ 1446844 w 3018734"/>
                <a:gd name="connsiteY164" fmla="*/ 365629 h 2391340"/>
                <a:gd name="connsiteX165" fmla="*/ 1455166 w 3018734"/>
                <a:gd name="connsiteY165" fmla="*/ 369196 h 2391340"/>
                <a:gd name="connsiteX166" fmla="*/ 1469432 w 3018734"/>
                <a:gd name="connsiteY166" fmla="*/ 404753 h 2391340"/>
                <a:gd name="connsiteX167" fmla="*/ 1484887 w 3018734"/>
                <a:gd name="connsiteY167" fmla="*/ 437933 h 2391340"/>
                <a:gd name="connsiteX168" fmla="*/ 1495587 w 3018734"/>
                <a:gd name="connsiteY168" fmla="*/ 442689 h 2391340"/>
                <a:gd name="connsiteX169" fmla="*/ 1511042 w 3018734"/>
                <a:gd name="connsiteY169" fmla="*/ 445067 h 2391340"/>
                <a:gd name="connsiteX170" fmla="*/ 1530064 w 3018734"/>
                <a:gd name="connsiteY170" fmla="*/ 441500 h 2391340"/>
                <a:gd name="connsiteX171" fmla="*/ 1552653 w 3018734"/>
                <a:gd name="connsiteY171" fmla="*/ 418912 h 2391340"/>
                <a:gd name="connsiteX172" fmla="*/ 1570485 w 3018734"/>
                <a:gd name="connsiteY172" fmla="*/ 412967 h 2391340"/>
                <a:gd name="connsiteX173" fmla="*/ 1592966 w 3018734"/>
                <a:gd name="connsiteY173" fmla="*/ 417723 h 2391340"/>
                <a:gd name="connsiteX174" fmla="*/ 1613176 w 3018734"/>
                <a:gd name="connsiteY174" fmla="*/ 428422 h 2391340"/>
                <a:gd name="connsiteX175" fmla="*/ 1647545 w 3018734"/>
                <a:gd name="connsiteY175" fmla="*/ 434367 h 2391340"/>
                <a:gd name="connsiteX176" fmla="*/ 1679537 w 3018734"/>
                <a:gd name="connsiteY176" fmla="*/ 459225 h 2391340"/>
                <a:gd name="connsiteX177" fmla="*/ 1698558 w 3018734"/>
                <a:gd name="connsiteY177" fmla="*/ 485272 h 2391340"/>
                <a:gd name="connsiteX178" fmla="*/ 1715202 w 3018734"/>
                <a:gd name="connsiteY178" fmla="*/ 506671 h 2391340"/>
                <a:gd name="connsiteX179" fmla="*/ 1724713 w 3018734"/>
                <a:gd name="connsiteY179" fmla="*/ 498349 h 2391340"/>
                <a:gd name="connsiteX180" fmla="*/ 1728280 w 3018734"/>
                <a:gd name="connsiteY180" fmla="*/ 472302 h 2391340"/>
                <a:gd name="connsiteX181" fmla="*/ 1733035 w 3018734"/>
                <a:gd name="connsiteY181" fmla="*/ 468736 h 2391340"/>
                <a:gd name="connsiteX182" fmla="*/ 1749679 w 3018734"/>
                <a:gd name="connsiteY182" fmla="*/ 472302 h 2391340"/>
                <a:gd name="connsiteX183" fmla="*/ 1754435 w 3018734"/>
                <a:gd name="connsiteY183" fmla="*/ 465169 h 2391340"/>
                <a:gd name="connsiteX184" fmla="*/ 1731846 w 3018734"/>
                <a:gd name="connsiteY184" fmla="*/ 427233 h 2391340"/>
                <a:gd name="connsiteX185" fmla="*/ 1738980 w 3018734"/>
                <a:gd name="connsiteY185" fmla="*/ 414156 h 2391340"/>
                <a:gd name="connsiteX186" fmla="*/ 1773348 w 3018734"/>
                <a:gd name="connsiteY186" fmla="*/ 409401 h 2391340"/>
                <a:gd name="connsiteX187" fmla="*/ 1780481 w 3018734"/>
                <a:gd name="connsiteY187" fmla="*/ 415345 h 2391340"/>
                <a:gd name="connsiteX188" fmla="*/ 1779293 w 3018734"/>
                <a:gd name="connsiteY188" fmla="*/ 434259 h 2391340"/>
                <a:gd name="connsiteX189" fmla="*/ 1799503 w 3018734"/>
                <a:gd name="connsiteY189" fmla="*/ 454469 h 2391340"/>
                <a:gd name="connsiteX190" fmla="*/ 1806637 w 3018734"/>
                <a:gd name="connsiteY190" fmla="*/ 444958 h 2391340"/>
                <a:gd name="connsiteX191" fmla="*/ 1818525 w 3018734"/>
                <a:gd name="connsiteY191" fmla="*/ 437825 h 2391340"/>
                <a:gd name="connsiteX192" fmla="*/ 1837547 w 3018734"/>
                <a:gd name="connsiteY192" fmla="*/ 437825 h 2391340"/>
                <a:gd name="connsiteX193" fmla="*/ 1847058 w 3018734"/>
                <a:gd name="connsiteY193" fmla="*/ 437825 h 2391340"/>
                <a:gd name="connsiteX194" fmla="*/ 1843491 w 3018734"/>
                <a:gd name="connsiteY194" fmla="*/ 425937 h 2391340"/>
                <a:gd name="connsiteX195" fmla="*/ 1819822 w 3018734"/>
                <a:gd name="connsiteY195" fmla="*/ 398701 h 2391340"/>
                <a:gd name="connsiteX196" fmla="*/ 1819822 w 3018734"/>
                <a:gd name="connsiteY196" fmla="*/ 397512 h 2391340"/>
                <a:gd name="connsiteX197" fmla="*/ 1807934 w 3018734"/>
                <a:gd name="connsiteY197" fmla="*/ 367899 h 2391340"/>
                <a:gd name="connsiteX198" fmla="*/ 1830414 w 3018734"/>
                <a:gd name="connsiteY198" fmla="*/ 345310 h 2391340"/>
                <a:gd name="connsiteX199" fmla="*/ 1836358 w 3018734"/>
                <a:gd name="connsiteY199" fmla="*/ 336988 h 2391340"/>
                <a:gd name="connsiteX200" fmla="*/ 1851813 w 3018734"/>
                <a:gd name="connsiteY200" fmla="*/ 336988 h 2391340"/>
                <a:gd name="connsiteX201" fmla="*/ 1836358 w 3018734"/>
                <a:gd name="connsiteY201" fmla="*/ 329855 h 2391340"/>
                <a:gd name="connsiteX202" fmla="*/ 1823281 w 3018734"/>
                <a:gd name="connsiteY202" fmla="*/ 319155 h 2391340"/>
                <a:gd name="connsiteX203" fmla="*/ 1817336 w 3018734"/>
                <a:gd name="connsiteY203" fmla="*/ 319155 h 2391340"/>
                <a:gd name="connsiteX204" fmla="*/ 1805448 w 3018734"/>
                <a:gd name="connsiteY204" fmla="*/ 334610 h 2391340"/>
                <a:gd name="connsiteX205" fmla="*/ 1801881 w 3018734"/>
                <a:gd name="connsiteY205" fmla="*/ 336988 h 2391340"/>
                <a:gd name="connsiteX206" fmla="*/ 1798314 w 3018734"/>
                <a:gd name="connsiteY206" fmla="*/ 322722 h 2391340"/>
                <a:gd name="connsiteX207" fmla="*/ 1799503 w 3018734"/>
                <a:gd name="connsiteY207" fmla="*/ 290731 h 2391340"/>
                <a:gd name="connsiteX208" fmla="*/ 1809014 w 3018734"/>
                <a:gd name="connsiteY208" fmla="*/ 271817 h 2391340"/>
                <a:gd name="connsiteX209" fmla="*/ 1849328 w 3018734"/>
                <a:gd name="connsiteY209" fmla="*/ 262306 h 2391340"/>
                <a:gd name="connsiteX210" fmla="*/ 1920443 w 3018734"/>
                <a:gd name="connsiteY210" fmla="*/ 240907 h 2391340"/>
                <a:gd name="connsiteX211" fmla="*/ 1933521 w 3018734"/>
                <a:gd name="connsiteY211" fmla="*/ 239718 h 2391340"/>
                <a:gd name="connsiteX212" fmla="*/ 1979778 w 3018734"/>
                <a:gd name="connsiteY212" fmla="*/ 245662 h 2391340"/>
                <a:gd name="connsiteX213" fmla="*/ 2077048 w 3018734"/>
                <a:gd name="connsiteY213" fmla="*/ 253984 h 2391340"/>
                <a:gd name="connsiteX214" fmla="*/ 2123306 w 3018734"/>
                <a:gd name="connsiteY214" fmla="*/ 261117 h 2391340"/>
                <a:gd name="connsiteX215" fmla="*/ 2161242 w 3018734"/>
                <a:gd name="connsiteY215" fmla="*/ 276572 h 2391340"/>
                <a:gd name="connsiteX216" fmla="*/ 2187288 w 3018734"/>
                <a:gd name="connsiteY216" fmla="*/ 288461 h 2391340"/>
                <a:gd name="connsiteX217" fmla="*/ 2190855 w 3018734"/>
                <a:gd name="connsiteY217" fmla="*/ 294405 h 2391340"/>
                <a:gd name="connsiteX218" fmla="*/ 2182533 w 3018734"/>
                <a:gd name="connsiteY218" fmla="*/ 294405 h 2391340"/>
                <a:gd name="connsiteX219" fmla="*/ 2125576 w 3018734"/>
                <a:gd name="connsiteY219" fmla="*/ 282517 h 2391340"/>
                <a:gd name="connsiteX220" fmla="*/ 2124387 w 3018734"/>
                <a:gd name="connsiteY220" fmla="*/ 282517 h 2391340"/>
                <a:gd name="connsiteX221" fmla="*/ 2084073 w 3018734"/>
                <a:gd name="connsiteY221" fmla="*/ 274195 h 2391340"/>
                <a:gd name="connsiteX222" fmla="*/ 2066240 w 3018734"/>
                <a:gd name="connsiteY222" fmla="*/ 278950 h 2391340"/>
                <a:gd name="connsiteX223" fmla="*/ 2063863 w 3018734"/>
                <a:gd name="connsiteY223" fmla="*/ 288461 h 2391340"/>
                <a:gd name="connsiteX224" fmla="*/ 2067430 w 3018734"/>
                <a:gd name="connsiteY224" fmla="*/ 297972 h 2391340"/>
                <a:gd name="connsiteX225" fmla="*/ 2062674 w 3018734"/>
                <a:gd name="connsiteY225" fmla="*/ 308672 h 2391340"/>
                <a:gd name="connsiteX226" fmla="*/ 2049596 w 3018734"/>
                <a:gd name="connsiteY226" fmla="*/ 325316 h 2391340"/>
                <a:gd name="connsiteX227" fmla="*/ 2042464 w 3018734"/>
                <a:gd name="connsiteY227" fmla="*/ 333638 h 2391340"/>
                <a:gd name="connsiteX228" fmla="*/ 2054352 w 3018734"/>
                <a:gd name="connsiteY228" fmla="*/ 337204 h 2391340"/>
                <a:gd name="connsiteX229" fmla="*/ 2092288 w 3018734"/>
                <a:gd name="connsiteY229" fmla="*/ 338393 h 2391340"/>
                <a:gd name="connsiteX230" fmla="*/ 2115957 w 3018734"/>
                <a:gd name="connsiteY230" fmla="*/ 332449 h 2391340"/>
                <a:gd name="connsiteX231" fmla="*/ 2132601 w 3018734"/>
                <a:gd name="connsiteY231" fmla="*/ 325316 h 2391340"/>
                <a:gd name="connsiteX232" fmla="*/ 2148056 w 3018734"/>
                <a:gd name="connsiteY232" fmla="*/ 309861 h 2391340"/>
                <a:gd name="connsiteX233" fmla="*/ 2176480 w 3018734"/>
                <a:gd name="connsiteY233" fmla="*/ 306294 h 2391340"/>
                <a:gd name="connsiteX234" fmla="*/ 2202528 w 3018734"/>
                <a:gd name="connsiteY234" fmla="*/ 314616 h 2391340"/>
                <a:gd name="connsiteX235" fmla="*/ 2210849 w 3018734"/>
                <a:gd name="connsiteY235" fmla="*/ 302727 h 2391340"/>
                <a:gd name="connsiteX236" fmla="*/ 2234627 w 3018734"/>
                <a:gd name="connsiteY236" fmla="*/ 296783 h 2391340"/>
                <a:gd name="connsiteX237" fmla="*/ 2265429 w 3018734"/>
                <a:gd name="connsiteY237" fmla="*/ 309861 h 2391340"/>
                <a:gd name="connsiteX238" fmla="*/ 2286829 w 3018734"/>
                <a:gd name="connsiteY238" fmla="*/ 315805 h 2391340"/>
                <a:gd name="connsiteX239" fmla="*/ 2302284 w 3018734"/>
                <a:gd name="connsiteY239" fmla="*/ 314616 h 2391340"/>
                <a:gd name="connsiteX240" fmla="*/ 2327142 w 3018734"/>
                <a:gd name="connsiteY240" fmla="*/ 322938 h 2391340"/>
                <a:gd name="connsiteX241" fmla="*/ 2328330 w 3018734"/>
                <a:gd name="connsiteY241" fmla="*/ 322938 h 2391340"/>
                <a:gd name="connsiteX242" fmla="*/ 2339031 w 3018734"/>
                <a:gd name="connsiteY242" fmla="*/ 331260 h 2391340"/>
                <a:gd name="connsiteX243" fmla="*/ 2340219 w 3018734"/>
                <a:gd name="connsiteY243" fmla="*/ 332449 h 2391340"/>
                <a:gd name="connsiteX244" fmla="*/ 2353296 w 3018734"/>
                <a:gd name="connsiteY244" fmla="*/ 347904 h 2391340"/>
                <a:gd name="connsiteX245" fmla="*/ 2361619 w 3018734"/>
                <a:gd name="connsiteY245" fmla="*/ 368115 h 2391340"/>
                <a:gd name="connsiteX246" fmla="*/ 2361619 w 3018734"/>
                <a:gd name="connsiteY246" fmla="*/ 369304 h 2391340"/>
                <a:gd name="connsiteX247" fmla="*/ 2365185 w 3018734"/>
                <a:gd name="connsiteY247" fmla="*/ 393081 h 2391340"/>
                <a:gd name="connsiteX248" fmla="*/ 2365185 w 3018734"/>
                <a:gd name="connsiteY248" fmla="*/ 404969 h 2391340"/>
                <a:gd name="connsiteX249" fmla="*/ 2344975 w 3018734"/>
                <a:gd name="connsiteY249" fmla="*/ 399025 h 2391340"/>
                <a:gd name="connsiteX250" fmla="*/ 2343786 w 3018734"/>
                <a:gd name="connsiteY250" fmla="*/ 399025 h 2391340"/>
                <a:gd name="connsiteX251" fmla="*/ 2330708 w 3018734"/>
                <a:gd name="connsiteY251" fmla="*/ 400214 h 2391340"/>
                <a:gd name="connsiteX252" fmla="*/ 2327142 w 3018734"/>
                <a:gd name="connsiteY252" fmla="*/ 406158 h 2391340"/>
                <a:gd name="connsiteX253" fmla="*/ 2347352 w 3018734"/>
                <a:gd name="connsiteY253" fmla="*/ 420425 h 2391340"/>
                <a:gd name="connsiteX254" fmla="*/ 2363997 w 3018734"/>
                <a:gd name="connsiteY254" fmla="*/ 431124 h 2391340"/>
                <a:gd name="connsiteX255" fmla="*/ 2388854 w 3018734"/>
                <a:gd name="connsiteY255" fmla="*/ 473815 h 2391340"/>
                <a:gd name="connsiteX256" fmla="*/ 2412524 w 3018734"/>
                <a:gd name="connsiteY256" fmla="*/ 506995 h 2391340"/>
                <a:gd name="connsiteX257" fmla="*/ 2435112 w 3018734"/>
                <a:gd name="connsiteY257" fmla="*/ 528395 h 2391340"/>
                <a:gd name="connsiteX258" fmla="*/ 2477803 w 3018734"/>
                <a:gd name="connsiteY258" fmla="*/ 553361 h 2391340"/>
                <a:gd name="connsiteX259" fmla="*/ 2508605 w 3018734"/>
                <a:gd name="connsiteY259" fmla="*/ 554550 h 2391340"/>
                <a:gd name="connsiteX260" fmla="*/ 2590420 w 3018734"/>
                <a:gd name="connsiteY260" fmla="*/ 536825 h 2391340"/>
                <a:gd name="connsiteX261" fmla="*/ 2669858 w 3018734"/>
                <a:gd name="connsiteY261" fmla="*/ 523747 h 2391340"/>
                <a:gd name="connsiteX262" fmla="*/ 2730382 w 3018734"/>
                <a:gd name="connsiteY262" fmla="*/ 517803 h 2391340"/>
                <a:gd name="connsiteX263" fmla="*/ 2786150 w 3018734"/>
                <a:gd name="connsiteY263" fmla="*/ 521370 h 2391340"/>
                <a:gd name="connsiteX264" fmla="*/ 2813386 w 3018734"/>
                <a:gd name="connsiteY264" fmla="*/ 532070 h 2391340"/>
                <a:gd name="connsiteX265" fmla="*/ 2835866 w 3018734"/>
                <a:gd name="connsiteY265" fmla="*/ 562872 h 2391340"/>
                <a:gd name="connsiteX266" fmla="*/ 2858455 w 3018734"/>
                <a:gd name="connsiteY266" fmla="*/ 612696 h 2391340"/>
                <a:gd name="connsiteX267" fmla="*/ 2876287 w 3018734"/>
                <a:gd name="connsiteY267" fmla="*/ 656576 h 2391340"/>
                <a:gd name="connsiteX268" fmla="*/ 2877476 w 3018734"/>
                <a:gd name="connsiteY268" fmla="*/ 674409 h 2391340"/>
                <a:gd name="connsiteX269" fmla="*/ 2871532 w 3018734"/>
                <a:gd name="connsiteY269" fmla="*/ 688675 h 2391340"/>
                <a:gd name="connsiteX270" fmla="*/ 2902334 w 3018734"/>
                <a:gd name="connsiteY270" fmla="*/ 732555 h 2391340"/>
                <a:gd name="connsiteX271" fmla="*/ 2945025 w 3018734"/>
                <a:gd name="connsiteY271" fmla="*/ 770490 h 2391340"/>
                <a:gd name="connsiteX272" fmla="*/ 2942647 w 3018734"/>
                <a:gd name="connsiteY272" fmla="*/ 789512 h 2391340"/>
                <a:gd name="connsiteX273" fmla="*/ 2950970 w 3018734"/>
                <a:gd name="connsiteY273" fmla="*/ 839336 h 2391340"/>
                <a:gd name="connsiteX274" fmla="*/ 2960481 w 3018734"/>
                <a:gd name="connsiteY274" fmla="*/ 834581 h 2391340"/>
                <a:gd name="connsiteX275" fmla="*/ 2965236 w 3018734"/>
                <a:gd name="connsiteY275" fmla="*/ 790701 h 2391340"/>
                <a:gd name="connsiteX276" fmla="*/ 2967614 w 3018734"/>
                <a:gd name="connsiteY276" fmla="*/ 764654 h 2391340"/>
                <a:gd name="connsiteX277" fmla="*/ 2989013 w 3018734"/>
                <a:gd name="connsiteY277" fmla="*/ 735041 h 2391340"/>
                <a:gd name="connsiteX278" fmla="*/ 3008035 w 3018734"/>
                <a:gd name="connsiteY278" fmla="*/ 793187 h 2391340"/>
                <a:gd name="connsiteX279" fmla="*/ 3018734 w 3018734"/>
                <a:gd name="connsiteY279" fmla="*/ 847766 h 2391340"/>
                <a:gd name="connsiteX280" fmla="*/ 3010413 w 3018734"/>
                <a:gd name="connsiteY280" fmla="*/ 880946 h 2391340"/>
                <a:gd name="connsiteX281" fmla="*/ 2991391 w 3018734"/>
                <a:gd name="connsiteY281" fmla="*/ 905804 h 2391340"/>
                <a:gd name="connsiteX282" fmla="*/ 2986635 w 3018734"/>
                <a:gd name="connsiteY282" fmla="*/ 924826 h 2391340"/>
                <a:gd name="connsiteX283" fmla="*/ 2939189 w 3018734"/>
                <a:gd name="connsiteY283" fmla="*/ 927204 h 2391340"/>
                <a:gd name="connsiteX284" fmla="*/ 2890554 w 3018734"/>
                <a:gd name="connsiteY284" fmla="*/ 929582 h 2391340"/>
                <a:gd name="connsiteX285" fmla="*/ 2841918 w 3018734"/>
                <a:gd name="connsiteY285" fmla="*/ 946226 h 2391340"/>
                <a:gd name="connsiteX286" fmla="*/ 2795661 w 3018734"/>
                <a:gd name="connsiteY286" fmla="*/ 949792 h 2391340"/>
                <a:gd name="connsiteX287" fmla="*/ 2764859 w 3018734"/>
                <a:gd name="connsiteY287" fmla="*/ 978217 h 2391340"/>
                <a:gd name="connsiteX288" fmla="*/ 2743459 w 3018734"/>
                <a:gd name="connsiteY288" fmla="*/ 996050 h 2391340"/>
                <a:gd name="connsiteX289" fmla="*/ 2739893 w 3018734"/>
                <a:gd name="connsiteY289" fmla="*/ 1013882 h 2391340"/>
                <a:gd name="connsiteX290" fmla="*/ 2756537 w 3018734"/>
                <a:gd name="connsiteY290" fmla="*/ 1032904 h 2391340"/>
                <a:gd name="connsiteX291" fmla="*/ 2770803 w 3018734"/>
                <a:gd name="connsiteY291" fmla="*/ 1063707 h 2391340"/>
                <a:gd name="connsiteX292" fmla="*/ 2774370 w 3018734"/>
                <a:gd name="connsiteY292" fmla="*/ 1087376 h 2391340"/>
                <a:gd name="connsiteX293" fmla="*/ 2788636 w 3018734"/>
                <a:gd name="connsiteY293" fmla="*/ 1101642 h 2391340"/>
                <a:gd name="connsiteX294" fmla="*/ 2804091 w 3018734"/>
                <a:gd name="connsiteY294" fmla="*/ 1127689 h 2391340"/>
                <a:gd name="connsiteX295" fmla="*/ 2794580 w 3018734"/>
                <a:gd name="connsiteY295" fmla="*/ 1147900 h 2391340"/>
                <a:gd name="connsiteX296" fmla="*/ 2794580 w 3018734"/>
                <a:gd name="connsiteY296" fmla="*/ 1149089 h 2391340"/>
                <a:gd name="connsiteX297" fmla="*/ 2779125 w 3018734"/>
                <a:gd name="connsiteY297" fmla="*/ 1164544 h 2391340"/>
                <a:gd name="connsiteX298" fmla="*/ 2776748 w 3018734"/>
                <a:gd name="connsiteY298" fmla="*/ 1207235 h 2391340"/>
                <a:gd name="connsiteX299" fmla="*/ 2764859 w 3018734"/>
                <a:gd name="connsiteY299" fmla="*/ 1222690 h 2391340"/>
                <a:gd name="connsiteX300" fmla="*/ 2736434 w 3018734"/>
                <a:gd name="connsiteY300" fmla="*/ 1248737 h 2391340"/>
                <a:gd name="connsiteX301" fmla="*/ 2735245 w 3018734"/>
                <a:gd name="connsiteY301" fmla="*/ 1248737 h 2391340"/>
                <a:gd name="connsiteX302" fmla="*/ 2705632 w 3018734"/>
                <a:gd name="connsiteY302" fmla="*/ 1248737 h 2391340"/>
                <a:gd name="connsiteX303" fmla="*/ 2693743 w 3018734"/>
                <a:gd name="connsiteY303" fmla="*/ 1241604 h 2391340"/>
                <a:gd name="connsiteX304" fmla="*/ 2677099 w 3018734"/>
                <a:gd name="connsiteY304" fmla="*/ 1221393 h 2391340"/>
                <a:gd name="connsiteX305" fmla="*/ 2666399 w 3018734"/>
                <a:gd name="connsiteY305" fmla="*/ 1223771 h 2391340"/>
                <a:gd name="connsiteX306" fmla="*/ 2649756 w 3018734"/>
                <a:gd name="connsiteY306" fmla="*/ 1234470 h 2391340"/>
                <a:gd name="connsiteX307" fmla="*/ 2625978 w 3018734"/>
                <a:gd name="connsiteY307" fmla="*/ 1240415 h 2391340"/>
                <a:gd name="connsiteX308" fmla="*/ 2624790 w 3018734"/>
                <a:gd name="connsiteY308" fmla="*/ 1240415 h 2391340"/>
                <a:gd name="connsiteX309" fmla="*/ 2599931 w 3018734"/>
                <a:gd name="connsiteY309" fmla="*/ 1226148 h 2391340"/>
                <a:gd name="connsiteX310" fmla="*/ 2567940 w 3018734"/>
                <a:gd name="connsiteY310" fmla="*/ 1224959 h 2391340"/>
                <a:gd name="connsiteX311" fmla="*/ 2541893 w 3018734"/>
                <a:gd name="connsiteY311" fmla="*/ 1248737 h 2391340"/>
                <a:gd name="connsiteX312" fmla="*/ 2513468 w 3018734"/>
                <a:gd name="connsiteY312" fmla="*/ 1279539 h 2391340"/>
                <a:gd name="connsiteX313" fmla="*/ 2502769 w 3018734"/>
                <a:gd name="connsiteY313" fmla="*/ 1331741 h 2391340"/>
                <a:gd name="connsiteX314" fmla="*/ 2492069 w 3018734"/>
                <a:gd name="connsiteY314" fmla="*/ 1351951 h 2391340"/>
                <a:gd name="connsiteX315" fmla="*/ 2470670 w 3018734"/>
                <a:gd name="connsiteY315" fmla="*/ 1372162 h 2391340"/>
                <a:gd name="connsiteX316" fmla="*/ 2471858 w 3018734"/>
                <a:gd name="connsiteY316" fmla="*/ 1417231 h 2391340"/>
                <a:gd name="connsiteX317" fmla="*/ 2451648 w 3018734"/>
                <a:gd name="connsiteY317" fmla="*/ 1435064 h 2391340"/>
                <a:gd name="connsiteX318" fmla="*/ 2437381 w 3018734"/>
                <a:gd name="connsiteY318" fmla="*/ 1441008 h 2391340"/>
                <a:gd name="connsiteX319" fmla="*/ 2397069 w 3018734"/>
                <a:gd name="connsiteY319" fmla="*/ 1441008 h 2391340"/>
                <a:gd name="connsiteX320" fmla="*/ 2350811 w 3018734"/>
                <a:gd name="connsiteY320" fmla="*/ 1455274 h 2391340"/>
                <a:gd name="connsiteX321" fmla="*/ 2338922 w 3018734"/>
                <a:gd name="connsiteY321" fmla="*/ 1449330 h 2391340"/>
                <a:gd name="connsiteX322" fmla="*/ 2340111 w 3018734"/>
                <a:gd name="connsiteY322" fmla="*/ 1432686 h 2391340"/>
                <a:gd name="connsiteX323" fmla="*/ 2324656 w 3018734"/>
                <a:gd name="connsiteY323" fmla="*/ 1427930 h 2391340"/>
                <a:gd name="connsiteX324" fmla="*/ 2293853 w 3018734"/>
                <a:gd name="connsiteY324" fmla="*/ 1430308 h 2391340"/>
                <a:gd name="connsiteX325" fmla="*/ 2276021 w 3018734"/>
                <a:gd name="connsiteY325" fmla="*/ 1443386 h 2391340"/>
                <a:gd name="connsiteX326" fmla="*/ 2262943 w 3018734"/>
                <a:gd name="connsiteY326" fmla="*/ 1430308 h 2391340"/>
                <a:gd name="connsiteX327" fmla="*/ 2248677 w 3018734"/>
                <a:gd name="connsiteY327" fmla="*/ 1432686 h 2391340"/>
                <a:gd name="connsiteX328" fmla="*/ 2232033 w 3018734"/>
                <a:gd name="connsiteY328" fmla="*/ 1451708 h 2391340"/>
                <a:gd name="connsiteX329" fmla="*/ 2228466 w 3018734"/>
                <a:gd name="connsiteY329" fmla="*/ 1500343 h 2391340"/>
                <a:gd name="connsiteX330" fmla="*/ 2226089 w 3018734"/>
                <a:gd name="connsiteY330" fmla="*/ 1500343 h 2391340"/>
                <a:gd name="connsiteX331" fmla="*/ 2216578 w 3018734"/>
                <a:gd name="connsiteY331" fmla="*/ 1490832 h 2391340"/>
                <a:gd name="connsiteX332" fmla="*/ 2179831 w 3018734"/>
                <a:gd name="connsiteY332" fmla="*/ 1477755 h 2391340"/>
                <a:gd name="connsiteX333" fmla="*/ 2153784 w 3018734"/>
                <a:gd name="connsiteY333" fmla="*/ 1471810 h 2391340"/>
                <a:gd name="connsiteX334" fmla="*/ 2141895 w 3018734"/>
                <a:gd name="connsiteY334" fmla="*/ 1467055 h 2391340"/>
                <a:gd name="connsiteX335" fmla="*/ 2124063 w 3018734"/>
                <a:gd name="connsiteY335" fmla="*/ 1496668 h 2391340"/>
                <a:gd name="connsiteX336" fmla="*/ 2116929 w 3018734"/>
                <a:gd name="connsiteY336" fmla="*/ 1509746 h 2391340"/>
                <a:gd name="connsiteX337" fmla="*/ 2109796 w 3018734"/>
                <a:gd name="connsiteY337" fmla="*/ 1520445 h 2391340"/>
                <a:gd name="connsiteX338" fmla="*/ 2093152 w 3018734"/>
                <a:gd name="connsiteY338" fmla="*/ 1547681 h 2391340"/>
                <a:gd name="connsiteX339" fmla="*/ 2087208 w 3018734"/>
                <a:gd name="connsiteY339" fmla="*/ 1573728 h 2391340"/>
                <a:gd name="connsiteX340" fmla="*/ 2088397 w 3018734"/>
                <a:gd name="connsiteY340" fmla="*/ 1599775 h 2391340"/>
                <a:gd name="connsiteX341" fmla="*/ 2088397 w 3018734"/>
                <a:gd name="connsiteY341" fmla="*/ 1600964 h 2391340"/>
                <a:gd name="connsiteX342" fmla="*/ 2096718 w 3018734"/>
                <a:gd name="connsiteY342" fmla="*/ 1629497 h 2391340"/>
                <a:gd name="connsiteX343" fmla="*/ 2100285 w 3018734"/>
                <a:gd name="connsiteY343" fmla="*/ 1648410 h 2391340"/>
                <a:gd name="connsiteX344" fmla="*/ 2095530 w 3018734"/>
                <a:gd name="connsiteY344" fmla="*/ 1660299 h 2391340"/>
                <a:gd name="connsiteX345" fmla="*/ 2093152 w 3018734"/>
                <a:gd name="connsiteY345" fmla="*/ 1661488 h 2391340"/>
                <a:gd name="connsiteX346" fmla="*/ 2074239 w 3018734"/>
                <a:gd name="connsiteY346" fmla="*/ 1676943 h 2391340"/>
                <a:gd name="connsiteX347" fmla="*/ 2063538 w 3018734"/>
                <a:gd name="connsiteY347" fmla="*/ 1693587 h 2391340"/>
                <a:gd name="connsiteX348" fmla="*/ 2070672 w 3018734"/>
                <a:gd name="connsiteY348" fmla="*/ 1726767 h 2391340"/>
                <a:gd name="connsiteX349" fmla="*/ 2043436 w 3018734"/>
                <a:gd name="connsiteY349" fmla="*/ 1745789 h 2391340"/>
                <a:gd name="connsiteX350" fmla="*/ 2042247 w 3018734"/>
                <a:gd name="connsiteY350" fmla="*/ 1745789 h 2391340"/>
                <a:gd name="connsiteX351" fmla="*/ 2016201 w 3018734"/>
                <a:gd name="connsiteY351" fmla="*/ 1743411 h 2391340"/>
                <a:gd name="connsiteX352" fmla="*/ 2013823 w 3018734"/>
                <a:gd name="connsiteY352" fmla="*/ 1724497 h 2391340"/>
                <a:gd name="connsiteX353" fmla="*/ 1988857 w 3018734"/>
                <a:gd name="connsiteY353" fmla="*/ 1716175 h 2391340"/>
                <a:gd name="connsiteX354" fmla="*/ 1958055 w 3018734"/>
                <a:gd name="connsiteY354" fmla="*/ 1720931 h 2391340"/>
                <a:gd name="connsiteX355" fmla="*/ 1946165 w 3018734"/>
                <a:gd name="connsiteY355" fmla="*/ 1735197 h 2391340"/>
                <a:gd name="connsiteX356" fmla="*/ 1922496 w 3018734"/>
                <a:gd name="connsiteY356" fmla="*/ 1731630 h 2391340"/>
                <a:gd name="connsiteX357" fmla="*/ 1892883 w 3018734"/>
                <a:gd name="connsiteY357" fmla="*/ 1704395 h 2391340"/>
                <a:gd name="connsiteX358" fmla="*/ 1852570 w 3018734"/>
                <a:gd name="connsiteY358" fmla="*/ 1678348 h 2391340"/>
                <a:gd name="connsiteX359" fmla="*/ 1824145 w 3018734"/>
                <a:gd name="connsiteY359" fmla="*/ 1677159 h 2391340"/>
                <a:gd name="connsiteX360" fmla="*/ 1818201 w 3018734"/>
                <a:gd name="connsiteY360" fmla="*/ 1704395 h 2391340"/>
                <a:gd name="connsiteX361" fmla="*/ 1809879 w 3018734"/>
                <a:gd name="connsiteY361" fmla="*/ 1737575 h 2391340"/>
                <a:gd name="connsiteX362" fmla="*/ 1809879 w 3018734"/>
                <a:gd name="connsiteY362" fmla="*/ 1738764 h 2391340"/>
                <a:gd name="connsiteX363" fmla="*/ 1795613 w 3018734"/>
                <a:gd name="connsiteY363" fmla="*/ 1770755 h 2391340"/>
                <a:gd name="connsiteX364" fmla="*/ 1773132 w 3018734"/>
                <a:gd name="connsiteY364" fmla="*/ 1794424 h 2391340"/>
                <a:gd name="connsiteX365" fmla="*/ 1744600 w 3018734"/>
                <a:gd name="connsiteY365" fmla="*/ 1814635 h 2391340"/>
                <a:gd name="connsiteX366" fmla="*/ 1724389 w 3018734"/>
                <a:gd name="connsiteY366" fmla="*/ 1834845 h 2391340"/>
                <a:gd name="connsiteX367" fmla="*/ 1723200 w 3018734"/>
                <a:gd name="connsiteY367" fmla="*/ 1890614 h 2391340"/>
                <a:gd name="connsiteX368" fmla="*/ 1713689 w 3018734"/>
                <a:gd name="connsiteY368" fmla="*/ 1926171 h 2391340"/>
                <a:gd name="connsiteX369" fmla="*/ 1702989 w 3018734"/>
                <a:gd name="connsiteY369" fmla="*/ 1952218 h 2391340"/>
                <a:gd name="connsiteX370" fmla="*/ 1701801 w 3018734"/>
                <a:gd name="connsiteY370" fmla="*/ 1965296 h 2391340"/>
                <a:gd name="connsiteX371" fmla="*/ 1700612 w 3018734"/>
                <a:gd name="connsiteY371" fmla="*/ 1965296 h 2391340"/>
                <a:gd name="connsiteX372" fmla="*/ 1688723 w 3018734"/>
                <a:gd name="connsiteY372" fmla="*/ 1978373 h 2391340"/>
                <a:gd name="connsiteX373" fmla="*/ 1687534 w 3018734"/>
                <a:gd name="connsiteY373" fmla="*/ 1979562 h 2391340"/>
                <a:gd name="connsiteX374" fmla="*/ 1654354 w 3018734"/>
                <a:gd name="connsiteY374" fmla="*/ 2002043 h 2391340"/>
                <a:gd name="connsiteX375" fmla="*/ 1623552 w 3018734"/>
                <a:gd name="connsiteY375" fmla="*/ 2004420 h 2391340"/>
                <a:gd name="connsiteX376" fmla="*/ 1589183 w 3018734"/>
                <a:gd name="connsiteY376" fmla="*/ 2010364 h 2391340"/>
                <a:gd name="connsiteX377" fmla="*/ 1566595 w 3018734"/>
                <a:gd name="connsiteY377" fmla="*/ 2030575 h 2391340"/>
                <a:gd name="connsiteX378" fmla="*/ 1513204 w 3018734"/>
                <a:gd name="connsiteY378" fmla="*/ 2030575 h 2391340"/>
                <a:gd name="connsiteX379" fmla="*/ 1464569 w 3018734"/>
                <a:gd name="connsiteY379" fmla="*/ 2032953 h 2391340"/>
                <a:gd name="connsiteX380" fmla="*/ 1439711 w 3018734"/>
                <a:gd name="connsiteY380" fmla="*/ 2046030 h 2391340"/>
                <a:gd name="connsiteX381" fmla="*/ 1421878 w 3018734"/>
                <a:gd name="connsiteY381" fmla="*/ 2076833 h 2391340"/>
                <a:gd name="connsiteX382" fmla="*/ 1402856 w 3018734"/>
                <a:gd name="connsiteY382" fmla="*/ 2124279 h 2391340"/>
                <a:gd name="connsiteX383" fmla="*/ 1393345 w 3018734"/>
                <a:gd name="connsiteY383" fmla="*/ 2137357 h 2391340"/>
                <a:gd name="connsiteX384" fmla="*/ 1385023 w 3018734"/>
                <a:gd name="connsiteY384" fmla="*/ 2127846 h 2391340"/>
                <a:gd name="connsiteX385" fmla="*/ 1367190 w 3018734"/>
                <a:gd name="connsiteY385" fmla="*/ 2129035 h 2391340"/>
                <a:gd name="connsiteX386" fmla="*/ 1367190 w 3018734"/>
                <a:gd name="connsiteY386" fmla="*/ 2131412 h 2391340"/>
                <a:gd name="connsiteX387" fmla="*/ 1370757 w 3018734"/>
                <a:gd name="connsiteY387" fmla="*/ 2151623 h 2391340"/>
                <a:gd name="connsiteX388" fmla="*/ 1370757 w 3018734"/>
                <a:gd name="connsiteY388" fmla="*/ 2152812 h 2391340"/>
                <a:gd name="connsiteX389" fmla="*/ 1376701 w 3018734"/>
                <a:gd name="connsiteY389" fmla="*/ 2168267 h 2391340"/>
                <a:gd name="connsiteX390" fmla="*/ 1382645 w 3018734"/>
                <a:gd name="connsiteY390" fmla="*/ 2190855 h 2391340"/>
                <a:gd name="connsiteX391" fmla="*/ 1368379 w 3018734"/>
                <a:gd name="connsiteY391" fmla="*/ 2202744 h 2391340"/>
                <a:gd name="connsiteX392" fmla="*/ 1355302 w 3018734"/>
                <a:gd name="connsiteY392" fmla="*/ 2225332 h 2391340"/>
                <a:gd name="connsiteX393" fmla="*/ 1366001 w 3018734"/>
                <a:gd name="connsiteY393" fmla="*/ 2239599 h 2391340"/>
                <a:gd name="connsiteX394" fmla="*/ 1381456 w 3018734"/>
                <a:gd name="connsiteY394" fmla="*/ 2264565 h 2391340"/>
                <a:gd name="connsiteX395" fmla="*/ 1366001 w 3018734"/>
                <a:gd name="connsiteY395" fmla="*/ 2295367 h 2391340"/>
                <a:gd name="connsiteX396" fmla="*/ 1343413 w 3018734"/>
                <a:gd name="connsiteY396" fmla="*/ 2314281 h 2391340"/>
                <a:gd name="connsiteX397" fmla="*/ 1333902 w 3018734"/>
                <a:gd name="connsiteY397" fmla="*/ 2336869 h 2391340"/>
                <a:gd name="connsiteX398" fmla="*/ 1333902 w 3018734"/>
                <a:gd name="connsiteY398" fmla="*/ 2365294 h 2391340"/>
                <a:gd name="connsiteX399" fmla="*/ 1312502 w 3018734"/>
                <a:gd name="connsiteY399" fmla="*/ 2374805 h 2391340"/>
                <a:gd name="connsiteX400" fmla="*/ 1287645 w 3018734"/>
                <a:gd name="connsiteY400" fmla="*/ 2365294 h 2391340"/>
                <a:gd name="connsiteX401" fmla="*/ 1263867 w 3018734"/>
                <a:gd name="connsiteY401" fmla="*/ 2360538 h 2391340"/>
                <a:gd name="connsiteX402" fmla="*/ 1255546 w 3018734"/>
                <a:gd name="connsiteY402" fmla="*/ 2360538 h 2391340"/>
                <a:gd name="connsiteX403" fmla="*/ 1229498 w 3018734"/>
                <a:gd name="connsiteY403" fmla="*/ 2365294 h 2391340"/>
                <a:gd name="connsiteX404" fmla="*/ 1212855 w 3018734"/>
                <a:gd name="connsiteY404" fmla="*/ 2391341 h 2391340"/>
                <a:gd name="connsiteX405" fmla="*/ 1191455 w 3018734"/>
                <a:gd name="connsiteY405" fmla="*/ 2391341 h 2391340"/>
                <a:gd name="connsiteX406" fmla="*/ 1179566 w 3018734"/>
                <a:gd name="connsiteY406" fmla="*/ 2383019 h 2391340"/>
                <a:gd name="connsiteX407" fmla="*/ 1152330 w 3018734"/>
                <a:gd name="connsiteY407" fmla="*/ 2366374 h 2391340"/>
                <a:gd name="connsiteX408" fmla="*/ 1104884 w 3018734"/>
                <a:gd name="connsiteY408" fmla="*/ 2381830 h 2391340"/>
                <a:gd name="connsiteX409" fmla="*/ 1038524 w 3018734"/>
                <a:gd name="connsiteY409" fmla="*/ 2366374 h 2391340"/>
                <a:gd name="connsiteX410" fmla="*/ 1004155 w 3018734"/>
                <a:gd name="connsiteY410" fmla="*/ 2348542 h 2391340"/>
                <a:gd name="connsiteX411" fmla="*/ 976919 w 3018734"/>
                <a:gd name="connsiteY411" fmla="*/ 2330708 h 2391340"/>
                <a:gd name="connsiteX412" fmla="*/ 953142 w 3018734"/>
                <a:gd name="connsiteY412" fmla="*/ 2314065 h 2391340"/>
                <a:gd name="connsiteX413" fmla="*/ 921151 w 3018734"/>
                <a:gd name="connsiteY413" fmla="*/ 2300987 h 2391340"/>
                <a:gd name="connsiteX414" fmla="*/ 858250 w 3018734"/>
                <a:gd name="connsiteY414" fmla="*/ 2272563 h 2391340"/>
                <a:gd name="connsiteX415" fmla="*/ 833392 w 3018734"/>
                <a:gd name="connsiteY415" fmla="*/ 2252352 h 2391340"/>
                <a:gd name="connsiteX416" fmla="*/ 799023 w 3018734"/>
                <a:gd name="connsiteY416" fmla="*/ 2241652 h 2391340"/>
                <a:gd name="connsiteX417" fmla="*/ 767032 w 3018734"/>
                <a:gd name="connsiteY417" fmla="*/ 2251163 h 2391340"/>
                <a:gd name="connsiteX418" fmla="*/ 752765 w 3018734"/>
                <a:gd name="connsiteY418" fmla="*/ 2259485 h 2391340"/>
                <a:gd name="connsiteX419" fmla="*/ 738499 w 3018734"/>
                <a:gd name="connsiteY419" fmla="*/ 2233438 h 2391340"/>
                <a:gd name="connsiteX420" fmla="*/ 715910 w 3018734"/>
                <a:gd name="connsiteY420" fmla="*/ 2195503 h 2391340"/>
                <a:gd name="connsiteX421" fmla="*/ 687486 w 3018734"/>
                <a:gd name="connsiteY421" fmla="*/ 2155189 h 2391340"/>
                <a:gd name="connsiteX422" fmla="*/ 673219 w 3018734"/>
                <a:gd name="connsiteY422" fmla="*/ 2132601 h 2391340"/>
                <a:gd name="connsiteX423" fmla="*/ 688675 w 3018734"/>
                <a:gd name="connsiteY423" fmla="*/ 2126657 h 2391340"/>
                <a:gd name="connsiteX424" fmla="*/ 708885 w 3018734"/>
                <a:gd name="connsiteY424" fmla="*/ 2118335 h 2391340"/>
                <a:gd name="connsiteX425" fmla="*/ 716019 w 3018734"/>
                <a:gd name="connsiteY425" fmla="*/ 2099421 h 2391340"/>
                <a:gd name="connsiteX426" fmla="*/ 699375 w 3018734"/>
                <a:gd name="connsiteY426" fmla="*/ 2074563 h 2391340"/>
                <a:gd name="connsiteX427" fmla="*/ 674517 w 3018734"/>
                <a:gd name="connsiteY427" fmla="*/ 2018795 h 2391340"/>
                <a:gd name="connsiteX428" fmla="*/ 661439 w 3018734"/>
                <a:gd name="connsiteY428" fmla="*/ 1980859 h 2391340"/>
                <a:gd name="connsiteX429" fmla="*/ 660250 w 3018734"/>
                <a:gd name="connsiteY429" fmla="*/ 1980859 h 2391340"/>
                <a:gd name="connsiteX430" fmla="*/ 627070 w 3018734"/>
                <a:gd name="connsiteY430" fmla="*/ 1986804 h 2391340"/>
                <a:gd name="connsiteX431" fmla="*/ 627070 w 3018734"/>
                <a:gd name="connsiteY431" fmla="*/ 1987992 h 2391340"/>
                <a:gd name="connsiteX432" fmla="*/ 613993 w 3018734"/>
                <a:gd name="connsiteY432" fmla="*/ 1996314 h 2391340"/>
                <a:gd name="connsiteX433" fmla="*/ 609237 w 3018734"/>
                <a:gd name="connsiteY433" fmla="*/ 1979670 h 2391340"/>
                <a:gd name="connsiteX434" fmla="*/ 608048 w 3018734"/>
                <a:gd name="connsiteY434" fmla="*/ 1929846 h 2391340"/>
                <a:gd name="connsiteX435" fmla="*/ 592593 w 3018734"/>
                <a:gd name="connsiteY435" fmla="*/ 1908447 h 2391340"/>
                <a:gd name="connsiteX436" fmla="*/ 549902 w 3018734"/>
                <a:gd name="connsiteY436" fmla="*/ 1892991 h 2391340"/>
                <a:gd name="connsiteX437" fmla="*/ 489378 w 3018734"/>
                <a:gd name="connsiteY437" fmla="*/ 1882292 h 2391340"/>
                <a:gd name="connsiteX438" fmla="*/ 481056 w 3018734"/>
                <a:gd name="connsiteY438" fmla="*/ 1928549 h 2391340"/>
                <a:gd name="connsiteX439" fmla="*/ 458468 w 3018734"/>
                <a:gd name="connsiteY439" fmla="*/ 1966485 h 2391340"/>
                <a:gd name="connsiteX440" fmla="*/ 427666 w 3018734"/>
                <a:gd name="connsiteY440" fmla="*/ 2003231 h 2391340"/>
                <a:gd name="connsiteX441" fmla="*/ 395674 w 3018734"/>
                <a:gd name="connsiteY441" fmla="*/ 2028089 h 2391340"/>
                <a:gd name="connsiteX442" fmla="*/ 374275 w 3018734"/>
                <a:gd name="connsiteY442" fmla="*/ 2037600 h 2391340"/>
                <a:gd name="connsiteX443" fmla="*/ 363575 w 3018734"/>
                <a:gd name="connsiteY443" fmla="*/ 2028089 h 2391340"/>
                <a:gd name="connsiteX444" fmla="*/ 351687 w 3018734"/>
                <a:gd name="connsiteY444" fmla="*/ 2009175 h 2391340"/>
                <a:gd name="connsiteX445" fmla="*/ 287596 w 3018734"/>
                <a:gd name="connsiteY445" fmla="*/ 2021064 h 2391340"/>
                <a:gd name="connsiteX446" fmla="*/ 259172 w 3018734"/>
                <a:gd name="connsiteY446" fmla="*/ 2043652 h 2391340"/>
                <a:gd name="connsiteX447" fmla="*/ 228369 w 3018734"/>
                <a:gd name="connsiteY447" fmla="*/ 2047219 h 2391340"/>
                <a:gd name="connsiteX448" fmla="*/ 211725 w 3018734"/>
                <a:gd name="connsiteY448" fmla="*/ 2038897 h 2391340"/>
                <a:gd name="connsiteX449" fmla="*/ 196270 w 3018734"/>
                <a:gd name="connsiteY449" fmla="*/ 2017498 h 2391340"/>
                <a:gd name="connsiteX450" fmla="*/ 196270 w 3018734"/>
                <a:gd name="connsiteY450" fmla="*/ 2016309 h 2391340"/>
                <a:gd name="connsiteX451" fmla="*/ 187948 w 3018734"/>
                <a:gd name="connsiteY451" fmla="*/ 1975996 h 2391340"/>
                <a:gd name="connsiteX452" fmla="*/ 191515 w 3018734"/>
                <a:gd name="connsiteY452" fmla="*/ 1941627 h 2391340"/>
                <a:gd name="connsiteX453" fmla="*/ 208159 w 3018734"/>
                <a:gd name="connsiteY453" fmla="*/ 1928549 h 2391340"/>
                <a:gd name="connsiteX454" fmla="*/ 228369 w 3018734"/>
                <a:gd name="connsiteY454" fmla="*/ 1911905 h 2391340"/>
                <a:gd name="connsiteX455" fmla="*/ 236691 w 3018734"/>
                <a:gd name="connsiteY455" fmla="*/ 1853759 h 2391340"/>
                <a:gd name="connsiteX456" fmla="*/ 252147 w 3018734"/>
                <a:gd name="connsiteY456" fmla="*/ 1822957 h 2391340"/>
                <a:gd name="connsiteX457" fmla="*/ 256902 w 3018734"/>
                <a:gd name="connsiteY457" fmla="*/ 1811068 h 2391340"/>
                <a:gd name="connsiteX458" fmla="*/ 207078 w 3018734"/>
                <a:gd name="connsiteY458" fmla="*/ 1776699 h 2391340"/>
                <a:gd name="connsiteX459" fmla="*/ 218966 w 3018734"/>
                <a:gd name="connsiteY459" fmla="*/ 1731630 h 2391340"/>
                <a:gd name="connsiteX460" fmla="*/ 218966 w 3018734"/>
                <a:gd name="connsiteY460" fmla="*/ 1730442 h 2391340"/>
                <a:gd name="connsiteX461" fmla="*/ 232044 w 3018734"/>
                <a:gd name="connsiteY461" fmla="*/ 1710231 h 2391340"/>
                <a:gd name="connsiteX462" fmla="*/ 229666 w 3018734"/>
                <a:gd name="connsiteY462" fmla="*/ 1686454 h 2391340"/>
                <a:gd name="connsiteX463" fmla="*/ 204808 w 3018734"/>
                <a:gd name="connsiteY463" fmla="*/ 1663973 h 2391340"/>
                <a:gd name="connsiteX464" fmla="*/ 191731 w 3018734"/>
                <a:gd name="connsiteY464" fmla="*/ 1647330 h 2391340"/>
                <a:gd name="connsiteX465" fmla="*/ 221344 w 3018734"/>
                <a:gd name="connsiteY465" fmla="*/ 1629605 h 2391340"/>
                <a:gd name="connsiteX466" fmla="*/ 220155 w 3018734"/>
                <a:gd name="connsiteY466" fmla="*/ 1582158 h 2391340"/>
                <a:gd name="connsiteX467" fmla="*/ 220155 w 3018734"/>
                <a:gd name="connsiteY467" fmla="*/ 1580969 h 2391340"/>
                <a:gd name="connsiteX468" fmla="*/ 203511 w 3018734"/>
                <a:gd name="connsiteY468" fmla="*/ 1559570 h 2391340"/>
                <a:gd name="connsiteX469" fmla="*/ 165576 w 3018734"/>
                <a:gd name="connsiteY469" fmla="*/ 1534712 h 2391340"/>
                <a:gd name="connsiteX470" fmla="*/ 153687 w 3018734"/>
                <a:gd name="connsiteY470" fmla="*/ 1531145 h 2391340"/>
                <a:gd name="connsiteX471" fmla="*/ 153687 w 3018734"/>
                <a:gd name="connsiteY471" fmla="*/ 1509746 h 2391340"/>
                <a:gd name="connsiteX472" fmla="*/ 167953 w 3018734"/>
                <a:gd name="connsiteY472" fmla="*/ 1487266 h 2391340"/>
                <a:gd name="connsiteX473" fmla="*/ 163198 w 3018734"/>
                <a:gd name="connsiteY473" fmla="*/ 1474188 h 2391340"/>
                <a:gd name="connsiteX474" fmla="*/ 141258 w 3018734"/>
                <a:gd name="connsiteY474" fmla="*/ 1464785 h 2391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</a:cxnLst>
              <a:rect l="l" t="t" r="r" b="b"/>
              <a:pathLst>
                <a:path w="3018734" h="2391340" extrusionOk="0">
                  <a:moveTo>
                    <a:pt x="141258" y="1464785"/>
                  </a:moveTo>
                  <a:lnTo>
                    <a:pt x="97378" y="1444575"/>
                  </a:lnTo>
                  <a:lnTo>
                    <a:pt x="61821" y="1432686"/>
                  </a:lnTo>
                  <a:lnTo>
                    <a:pt x="8430" y="1430308"/>
                  </a:lnTo>
                  <a:lnTo>
                    <a:pt x="9619" y="1405450"/>
                  </a:lnTo>
                  <a:lnTo>
                    <a:pt x="28532" y="1354437"/>
                  </a:lnTo>
                  <a:lnTo>
                    <a:pt x="29722" y="1354437"/>
                  </a:lnTo>
                  <a:lnTo>
                    <a:pt x="42799" y="1323635"/>
                  </a:lnTo>
                  <a:lnTo>
                    <a:pt x="66576" y="1299966"/>
                  </a:lnTo>
                  <a:lnTo>
                    <a:pt x="59443" y="1284511"/>
                  </a:lnTo>
                  <a:lnTo>
                    <a:pt x="58254" y="1282133"/>
                  </a:lnTo>
                  <a:lnTo>
                    <a:pt x="33396" y="1241820"/>
                  </a:lnTo>
                  <a:lnTo>
                    <a:pt x="17941" y="1232309"/>
                  </a:lnTo>
                  <a:lnTo>
                    <a:pt x="36855" y="1209829"/>
                  </a:lnTo>
                  <a:lnTo>
                    <a:pt x="36855" y="1207451"/>
                  </a:lnTo>
                  <a:lnTo>
                    <a:pt x="19022" y="1170704"/>
                  </a:lnTo>
                  <a:lnTo>
                    <a:pt x="9511" y="1131580"/>
                  </a:lnTo>
                  <a:lnTo>
                    <a:pt x="0" y="1106614"/>
                  </a:lnTo>
                  <a:lnTo>
                    <a:pt x="17833" y="1081756"/>
                  </a:lnTo>
                  <a:lnTo>
                    <a:pt x="17833" y="1079378"/>
                  </a:lnTo>
                  <a:lnTo>
                    <a:pt x="54579" y="1063923"/>
                  </a:lnTo>
                  <a:lnTo>
                    <a:pt x="74790" y="1043712"/>
                  </a:lnTo>
                  <a:lnTo>
                    <a:pt x="64090" y="940498"/>
                  </a:lnTo>
                  <a:lnTo>
                    <a:pt x="62901" y="828961"/>
                  </a:lnTo>
                  <a:lnTo>
                    <a:pt x="48635" y="800428"/>
                  </a:lnTo>
                  <a:lnTo>
                    <a:pt x="39124" y="776759"/>
                  </a:lnTo>
                  <a:lnTo>
                    <a:pt x="39124" y="773192"/>
                  </a:lnTo>
                  <a:lnTo>
                    <a:pt x="42691" y="740012"/>
                  </a:lnTo>
                  <a:lnTo>
                    <a:pt x="68738" y="728124"/>
                  </a:lnTo>
                  <a:lnTo>
                    <a:pt x="104295" y="723368"/>
                  </a:lnTo>
                  <a:lnTo>
                    <a:pt x="120940" y="696132"/>
                  </a:lnTo>
                  <a:lnTo>
                    <a:pt x="155308" y="696132"/>
                  </a:lnTo>
                  <a:lnTo>
                    <a:pt x="170764" y="703266"/>
                  </a:lnTo>
                  <a:lnTo>
                    <a:pt x="192163" y="687810"/>
                  </a:lnTo>
                  <a:lnTo>
                    <a:pt x="196919" y="641553"/>
                  </a:lnTo>
                  <a:lnTo>
                    <a:pt x="193352" y="591729"/>
                  </a:lnTo>
                  <a:lnTo>
                    <a:pt x="230098" y="583407"/>
                  </a:lnTo>
                  <a:lnTo>
                    <a:pt x="247932" y="575085"/>
                  </a:lnTo>
                  <a:lnTo>
                    <a:pt x="261009" y="545471"/>
                  </a:lnTo>
                  <a:lnTo>
                    <a:pt x="295378" y="533583"/>
                  </a:lnTo>
                  <a:lnTo>
                    <a:pt x="335691" y="494458"/>
                  </a:lnTo>
                  <a:lnTo>
                    <a:pt x="355902" y="486136"/>
                  </a:lnTo>
                  <a:lnTo>
                    <a:pt x="358279" y="486136"/>
                  </a:lnTo>
                  <a:lnTo>
                    <a:pt x="363035" y="469492"/>
                  </a:lnTo>
                  <a:lnTo>
                    <a:pt x="351146" y="449282"/>
                  </a:lnTo>
                  <a:lnTo>
                    <a:pt x="335691" y="431449"/>
                  </a:lnTo>
                  <a:lnTo>
                    <a:pt x="329747" y="350822"/>
                  </a:lnTo>
                  <a:lnTo>
                    <a:pt x="329747" y="349633"/>
                  </a:lnTo>
                  <a:lnTo>
                    <a:pt x="320236" y="303376"/>
                  </a:lnTo>
                  <a:lnTo>
                    <a:pt x="285867" y="266629"/>
                  </a:lnTo>
                  <a:lnTo>
                    <a:pt x="285867" y="238205"/>
                  </a:lnTo>
                  <a:lnTo>
                    <a:pt x="269223" y="194325"/>
                  </a:lnTo>
                  <a:lnTo>
                    <a:pt x="265656" y="162334"/>
                  </a:lnTo>
                  <a:lnTo>
                    <a:pt x="254957" y="108943"/>
                  </a:lnTo>
                  <a:lnTo>
                    <a:pt x="252579" y="108943"/>
                  </a:lnTo>
                  <a:lnTo>
                    <a:pt x="247823" y="82896"/>
                  </a:lnTo>
                  <a:lnTo>
                    <a:pt x="284570" y="60416"/>
                  </a:lnTo>
                  <a:lnTo>
                    <a:pt x="316561" y="27236"/>
                  </a:lnTo>
                  <a:lnTo>
                    <a:pt x="346175" y="0"/>
                  </a:lnTo>
                  <a:lnTo>
                    <a:pt x="367574" y="3567"/>
                  </a:lnTo>
                  <a:lnTo>
                    <a:pt x="386488" y="0"/>
                  </a:lnTo>
                  <a:lnTo>
                    <a:pt x="392432" y="5944"/>
                  </a:lnTo>
                  <a:lnTo>
                    <a:pt x="399565" y="40313"/>
                  </a:lnTo>
                  <a:lnTo>
                    <a:pt x="410265" y="103215"/>
                  </a:lnTo>
                  <a:lnTo>
                    <a:pt x="419776" y="145906"/>
                  </a:lnTo>
                  <a:lnTo>
                    <a:pt x="422154" y="163739"/>
                  </a:lnTo>
                  <a:lnTo>
                    <a:pt x="407887" y="196919"/>
                  </a:lnTo>
                  <a:lnTo>
                    <a:pt x="411454" y="204052"/>
                  </a:lnTo>
                  <a:lnTo>
                    <a:pt x="445823" y="174438"/>
                  </a:lnTo>
                  <a:lnTo>
                    <a:pt x="460089" y="156606"/>
                  </a:lnTo>
                  <a:lnTo>
                    <a:pt x="448201" y="128181"/>
                  </a:lnTo>
                  <a:lnTo>
                    <a:pt x="432745" y="96190"/>
                  </a:lnTo>
                  <a:lnTo>
                    <a:pt x="427125" y="68630"/>
                  </a:lnTo>
                  <a:lnTo>
                    <a:pt x="440203" y="59119"/>
                  </a:lnTo>
                  <a:lnTo>
                    <a:pt x="463980" y="57930"/>
                  </a:lnTo>
                  <a:lnTo>
                    <a:pt x="493593" y="57930"/>
                  </a:lnTo>
                  <a:lnTo>
                    <a:pt x="532718" y="79330"/>
                  </a:lnTo>
                  <a:lnTo>
                    <a:pt x="568276" y="97162"/>
                  </a:lnTo>
                  <a:lnTo>
                    <a:pt x="576597" y="91218"/>
                  </a:lnTo>
                  <a:lnTo>
                    <a:pt x="581353" y="81707"/>
                  </a:lnTo>
                  <a:lnTo>
                    <a:pt x="587297" y="80518"/>
                  </a:lnTo>
                  <a:lnTo>
                    <a:pt x="627610" y="100729"/>
                  </a:lnTo>
                  <a:lnTo>
                    <a:pt x="656035" y="113806"/>
                  </a:lnTo>
                  <a:lnTo>
                    <a:pt x="702293" y="113806"/>
                  </a:lnTo>
                  <a:lnTo>
                    <a:pt x="737850" y="122129"/>
                  </a:lnTo>
                  <a:lnTo>
                    <a:pt x="742606" y="149364"/>
                  </a:lnTo>
                  <a:lnTo>
                    <a:pt x="754495" y="183733"/>
                  </a:lnTo>
                  <a:lnTo>
                    <a:pt x="760439" y="192055"/>
                  </a:lnTo>
                  <a:lnTo>
                    <a:pt x="798374" y="186111"/>
                  </a:lnTo>
                  <a:lnTo>
                    <a:pt x="833932" y="184922"/>
                  </a:lnTo>
                  <a:lnTo>
                    <a:pt x="862356" y="196811"/>
                  </a:lnTo>
                  <a:lnTo>
                    <a:pt x="899103" y="202755"/>
                  </a:lnTo>
                  <a:lnTo>
                    <a:pt x="913369" y="201566"/>
                  </a:lnTo>
                  <a:lnTo>
                    <a:pt x="922880" y="194433"/>
                  </a:lnTo>
                  <a:lnTo>
                    <a:pt x="918125" y="183733"/>
                  </a:lnTo>
                  <a:lnTo>
                    <a:pt x="926447" y="181355"/>
                  </a:lnTo>
                  <a:lnTo>
                    <a:pt x="939524" y="175411"/>
                  </a:lnTo>
                  <a:lnTo>
                    <a:pt x="925258" y="152823"/>
                  </a:lnTo>
                  <a:lnTo>
                    <a:pt x="922880" y="139745"/>
                  </a:lnTo>
                  <a:lnTo>
                    <a:pt x="941902" y="131423"/>
                  </a:lnTo>
                  <a:lnTo>
                    <a:pt x="939524" y="120724"/>
                  </a:lnTo>
                  <a:lnTo>
                    <a:pt x="918125" y="98135"/>
                  </a:lnTo>
                  <a:lnTo>
                    <a:pt x="905047" y="79113"/>
                  </a:lnTo>
                  <a:lnTo>
                    <a:pt x="908614" y="62469"/>
                  </a:lnTo>
                  <a:lnTo>
                    <a:pt x="921692" y="42259"/>
                  </a:lnTo>
                  <a:lnTo>
                    <a:pt x="934769" y="31559"/>
                  </a:lnTo>
                  <a:lnTo>
                    <a:pt x="945469" y="31559"/>
                  </a:lnTo>
                  <a:lnTo>
                    <a:pt x="963302" y="41070"/>
                  </a:lnTo>
                  <a:lnTo>
                    <a:pt x="978757" y="49392"/>
                  </a:lnTo>
                  <a:lnTo>
                    <a:pt x="996590" y="51770"/>
                  </a:lnTo>
                  <a:lnTo>
                    <a:pt x="1009667" y="61281"/>
                  </a:lnTo>
                  <a:lnTo>
                    <a:pt x="1019178" y="76736"/>
                  </a:lnTo>
                  <a:lnTo>
                    <a:pt x="1031067" y="82680"/>
                  </a:lnTo>
                  <a:lnTo>
                    <a:pt x="1086835" y="96946"/>
                  </a:lnTo>
                  <a:lnTo>
                    <a:pt x="1112882" y="94569"/>
                  </a:lnTo>
                  <a:lnTo>
                    <a:pt x="1123582" y="91002"/>
                  </a:lnTo>
                  <a:lnTo>
                    <a:pt x="1153195" y="100513"/>
                  </a:lnTo>
                  <a:lnTo>
                    <a:pt x="1171028" y="102891"/>
                  </a:lnTo>
                  <a:lnTo>
                    <a:pt x="1180539" y="114779"/>
                  </a:lnTo>
                  <a:lnTo>
                    <a:pt x="1200750" y="124290"/>
                  </a:lnTo>
                  <a:lnTo>
                    <a:pt x="1204316" y="150337"/>
                  </a:lnTo>
                  <a:lnTo>
                    <a:pt x="1217394" y="170548"/>
                  </a:lnTo>
                  <a:lnTo>
                    <a:pt x="1248196" y="190758"/>
                  </a:lnTo>
                  <a:lnTo>
                    <a:pt x="1257707" y="201458"/>
                  </a:lnTo>
                  <a:lnTo>
                    <a:pt x="1260085" y="224046"/>
                  </a:lnTo>
                  <a:lnTo>
                    <a:pt x="1260085" y="225343"/>
                  </a:lnTo>
                  <a:lnTo>
                    <a:pt x="1250574" y="345094"/>
                  </a:lnTo>
                  <a:lnTo>
                    <a:pt x="1245818" y="348661"/>
                  </a:lnTo>
                  <a:lnTo>
                    <a:pt x="1225608" y="343905"/>
                  </a:lnTo>
                  <a:lnTo>
                    <a:pt x="1200750" y="319047"/>
                  </a:lnTo>
                  <a:lnTo>
                    <a:pt x="1188861" y="288245"/>
                  </a:lnTo>
                  <a:lnTo>
                    <a:pt x="1107046" y="257443"/>
                  </a:lnTo>
                  <a:lnTo>
                    <a:pt x="1098724" y="262198"/>
                  </a:lnTo>
                  <a:lnTo>
                    <a:pt x="1110612" y="288245"/>
                  </a:lnTo>
                  <a:lnTo>
                    <a:pt x="1121312" y="296567"/>
                  </a:lnTo>
                  <a:lnTo>
                    <a:pt x="1153303" y="298945"/>
                  </a:lnTo>
                  <a:lnTo>
                    <a:pt x="1171137" y="306078"/>
                  </a:lnTo>
                  <a:lnTo>
                    <a:pt x="1181836" y="317966"/>
                  </a:lnTo>
                  <a:lnTo>
                    <a:pt x="1192536" y="347580"/>
                  </a:lnTo>
                  <a:lnTo>
                    <a:pt x="1198480" y="360657"/>
                  </a:lnTo>
                  <a:lnTo>
                    <a:pt x="1216205" y="354713"/>
                  </a:lnTo>
                  <a:lnTo>
                    <a:pt x="1223338" y="359469"/>
                  </a:lnTo>
                  <a:lnTo>
                    <a:pt x="1222149" y="371357"/>
                  </a:lnTo>
                  <a:lnTo>
                    <a:pt x="1222149" y="372546"/>
                  </a:lnTo>
                  <a:lnTo>
                    <a:pt x="1229282" y="385623"/>
                  </a:lnTo>
                  <a:lnTo>
                    <a:pt x="1243548" y="378490"/>
                  </a:lnTo>
                  <a:lnTo>
                    <a:pt x="1250682" y="384435"/>
                  </a:lnTo>
                  <a:lnTo>
                    <a:pt x="1256626" y="403348"/>
                  </a:lnTo>
                  <a:lnTo>
                    <a:pt x="1256626" y="415237"/>
                  </a:lnTo>
                  <a:lnTo>
                    <a:pt x="1278025" y="429503"/>
                  </a:lnTo>
                  <a:lnTo>
                    <a:pt x="1299425" y="463872"/>
                  </a:lnTo>
                  <a:lnTo>
                    <a:pt x="1311314" y="487649"/>
                  </a:lnTo>
                  <a:lnTo>
                    <a:pt x="1313692" y="517263"/>
                  </a:lnTo>
                  <a:lnTo>
                    <a:pt x="1324391" y="529151"/>
                  </a:lnTo>
                  <a:lnTo>
                    <a:pt x="1346979" y="527963"/>
                  </a:lnTo>
                  <a:lnTo>
                    <a:pt x="1351735" y="533907"/>
                  </a:lnTo>
                  <a:lnTo>
                    <a:pt x="1356490" y="548173"/>
                  </a:lnTo>
                  <a:lnTo>
                    <a:pt x="1361246" y="566006"/>
                  </a:lnTo>
                  <a:lnTo>
                    <a:pt x="1379079" y="555306"/>
                  </a:lnTo>
                  <a:lnTo>
                    <a:pt x="1400478" y="522126"/>
                  </a:lnTo>
                  <a:lnTo>
                    <a:pt x="1411178" y="501916"/>
                  </a:lnTo>
                  <a:lnTo>
                    <a:pt x="1411178" y="475869"/>
                  </a:lnTo>
                  <a:lnTo>
                    <a:pt x="1413556" y="431989"/>
                  </a:lnTo>
                  <a:lnTo>
                    <a:pt x="1426633" y="399998"/>
                  </a:lnTo>
                  <a:lnTo>
                    <a:pt x="1446844" y="365629"/>
                  </a:lnTo>
                  <a:lnTo>
                    <a:pt x="1455166" y="369196"/>
                  </a:lnTo>
                  <a:lnTo>
                    <a:pt x="1469432" y="404753"/>
                  </a:lnTo>
                  <a:lnTo>
                    <a:pt x="1484887" y="437933"/>
                  </a:lnTo>
                  <a:lnTo>
                    <a:pt x="1495587" y="442689"/>
                  </a:lnTo>
                  <a:lnTo>
                    <a:pt x="1511042" y="445067"/>
                  </a:lnTo>
                  <a:lnTo>
                    <a:pt x="1530064" y="441500"/>
                  </a:lnTo>
                  <a:lnTo>
                    <a:pt x="1552653" y="418912"/>
                  </a:lnTo>
                  <a:lnTo>
                    <a:pt x="1570485" y="412967"/>
                  </a:lnTo>
                  <a:lnTo>
                    <a:pt x="1592966" y="417723"/>
                  </a:lnTo>
                  <a:lnTo>
                    <a:pt x="1613176" y="428422"/>
                  </a:lnTo>
                  <a:lnTo>
                    <a:pt x="1647545" y="434367"/>
                  </a:lnTo>
                  <a:lnTo>
                    <a:pt x="1679537" y="459225"/>
                  </a:lnTo>
                  <a:lnTo>
                    <a:pt x="1698558" y="485272"/>
                  </a:lnTo>
                  <a:lnTo>
                    <a:pt x="1715202" y="506671"/>
                  </a:lnTo>
                  <a:lnTo>
                    <a:pt x="1724713" y="498349"/>
                  </a:lnTo>
                  <a:lnTo>
                    <a:pt x="1728280" y="472302"/>
                  </a:lnTo>
                  <a:lnTo>
                    <a:pt x="1733035" y="468736"/>
                  </a:lnTo>
                  <a:lnTo>
                    <a:pt x="1749679" y="472302"/>
                  </a:lnTo>
                  <a:lnTo>
                    <a:pt x="1754435" y="465169"/>
                  </a:lnTo>
                  <a:lnTo>
                    <a:pt x="1731846" y="427233"/>
                  </a:lnTo>
                  <a:lnTo>
                    <a:pt x="1738980" y="414156"/>
                  </a:lnTo>
                  <a:lnTo>
                    <a:pt x="1773348" y="409401"/>
                  </a:lnTo>
                  <a:lnTo>
                    <a:pt x="1780481" y="415345"/>
                  </a:lnTo>
                  <a:lnTo>
                    <a:pt x="1779293" y="434259"/>
                  </a:lnTo>
                  <a:lnTo>
                    <a:pt x="1799503" y="454469"/>
                  </a:lnTo>
                  <a:lnTo>
                    <a:pt x="1806637" y="444958"/>
                  </a:lnTo>
                  <a:lnTo>
                    <a:pt x="1818525" y="437825"/>
                  </a:lnTo>
                  <a:lnTo>
                    <a:pt x="1837547" y="437825"/>
                  </a:lnTo>
                  <a:lnTo>
                    <a:pt x="1847058" y="437825"/>
                  </a:lnTo>
                  <a:lnTo>
                    <a:pt x="1843491" y="425937"/>
                  </a:lnTo>
                  <a:lnTo>
                    <a:pt x="1819822" y="398701"/>
                  </a:lnTo>
                  <a:lnTo>
                    <a:pt x="1819822" y="397512"/>
                  </a:lnTo>
                  <a:lnTo>
                    <a:pt x="1807934" y="367899"/>
                  </a:lnTo>
                  <a:lnTo>
                    <a:pt x="1830414" y="345310"/>
                  </a:lnTo>
                  <a:lnTo>
                    <a:pt x="1836358" y="336988"/>
                  </a:lnTo>
                  <a:lnTo>
                    <a:pt x="1851813" y="336988"/>
                  </a:lnTo>
                  <a:lnTo>
                    <a:pt x="1836358" y="329855"/>
                  </a:lnTo>
                  <a:lnTo>
                    <a:pt x="1823281" y="319155"/>
                  </a:lnTo>
                  <a:lnTo>
                    <a:pt x="1817336" y="319155"/>
                  </a:lnTo>
                  <a:lnTo>
                    <a:pt x="1805448" y="334610"/>
                  </a:lnTo>
                  <a:lnTo>
                    <a:pt x="1801881" y="336988"/>
                  </a:lnTo>
                  <a:lnTo>
                    <a:pt x="1798314" y="322722"/>
                  </a:lnTo>
                  <a:lnTo>
                    <a:pt x="1799503" y="290731"/>
                  </a:lnTo>
                  <a:lnTo>
                    <a:pt x="1809014" y="271817"/>
                  </a:lnTo>
                  <a:lnTo>
                    <a:pt x="1849328" y="262306"/>
                  </a:lnTo>
                  <a:lnTo>
                    <a:pt x="1920443" y="240907"/>
                  </a:lnTo>
                  <a:lnTo>
                    <a:pt x="1933521" y="239718"/>
                  </a:lnTo>
                  <a:lnTo>
                    <a:pt x="1979778" y="245662"/>
                  </a:lnTo>
                  <a:lnTo>
                    <a:pt x="2077048" y="253984"/>
                  </a:lnTo>
                  <a:lnTo>
                    <a:pt x="2123306" y="261117"/>
                  </a:lnTo>
                  <a:lnTo>
                    <a:pt x="2161242" y="276572"/>
                  </a:lnTo>
                  <a:lnTo>
                    <a:pt x="2187288" y="288461"/>
                  </a:lnTo>
                  <a:lnTo>
                    <a:pt x="2190855" y="294405"/>
                  </a:lnTo>
                  <a:lnTo>
                    <a:pt x="2182533" y="294405"/>
                  </a:lnTo>
                  <a:lnTo>
                    <a:pt x="2125576" y="282517"/>
                  </a:lnTo>
                  <a:lnTo>
                    <a:pt x="2124387" y="282517"/>
                  </a:lnTo>
                  <a:lnTo>
                    <a:pt x="2084073" y="274195"/>
                  </a:lnTo>
                  <a:lnTo>
                    <a:pt x="2066240" y="278950"/>
                  </a:lnTo>
                  <a:lnTo>
                    <a:pt x="2063863" y="288461"/>
                  </a:lnTo>
                  <a:lnTo>
                    <a:pt x="2067430" y="297972"/>
                  </a:lnTo>
                  <a:lnTo>
                    <a:pt x="2062674" y="308672"/>
                  </a:lnTo>
                  <a:lnTo>
                    <a:pt x="2049596" y="325316"/>
                  </a:lnTo>
                  <a:lnTo>
                    <a:pt x="2042464" y="333638"/>
                  </a:lnTo>
                  <a:lnTo>
                    <a:pt x="2054352" y="337204"/>
                  </a:lnTo>
                  <a:lnTo>
                    <a:pt x="2092288" y="338393"/>
                  </a:lnTo>
                  <a:lnTo>
                    <a:pt x="2115957" y="332449"/>
                  </a:lnTo>
                  <a:lnTo>
                    <a:pt x="2132601" y="325316"/>
                  </a:lnTo>
                  <a:lnTo>
                    <a:pt x="2148056" y="309861"/>
                  </a:lnTo>
                  <a:lnTo>
                    <a:pt x="2176480" y="306294"/>
                  </a:lnTo>
                  <a:lnTo>
                    <a:pt x="2202528" y="314616"/>
                  </a:lnTo>
                  <a:lnTo>
                    <a:pt x="2210849" y="302727"/>
                  </a:lnTo>
                  <a:lnTo>
                    <a:pt x="2234627" y="296783"/>
                  </a:lnTo>
                  <a:lnTo>
                    <a:pt x="2265429" y="309861"/>
                  </a:lnTo>
                  <a:lnTo>
                    <a:pt x="2286829" y="315805"/>
                  </a:lnTo>
                  <a:lnTo>
                    <a:pt x="2302284" y="314616"/>
                  </a:lnTo>
                  <a:lnTo>
                    <a:pt x="2327142" y="322938"/>
                  </a:lnTo>
                  <a:lnTo>
                    <a:pt x="2328330" y="322938"/>
                  </a:lnTo>
                  <a:lnTo>
                    <a:pt x="2339031" y="331260"/>
                  </a:lnTo>
                  <a:lnTo>
                    <a:pt x="2340219" y="332449"/>
                  </a:lnTo>
                  <a:lnTo>
                    <a:pt x="2353296" y="347904"/>
                  </a:lnTo>
                  <a:lnTo>
                    <a:pt x="2361619" y="368115"/>
                  </a:lnTo>
                  <a:lnTo>
                    <a:pt x="2361619" y="369304"/>
                  </a:lnTo>
                  <a:lnTo>
                    <a:pt x="2365185" y="393081"/>
                  </a:lnTo>
                  <a:lnTo>
                    <a:pt x="2365185" y="404969"/>
                  </a:lnTo>
                  <a:lnTo>
                    <a:pt x="2344975" y="399025"/>
                  </a:lnTo>
                  <a:lnTo>
                    <a:pt x="2343786" y="399025"/>
                  </a:lnTo>
                  <a:lnTo>
                    <a:pt x="2330708" y="400214"/>
                  </a:lnTo>
                  <a:lnTo>
                    <a:pt x="2327142" y="406158"/>
                  </a:lnTo>
                  <a:lnTo>
                    <a:pt x="2347352" y="420425"/>
                  </a:lnTo>
                  <a:lnTo>
                    <a:pt x="2363997" y="431124"/>
                  </a:lnTo>
                  <a:lnTo>
                    <a:pt x="2388854" y="473815"/>
                  </a:lnTo>
                  <a:lnTo>
                    <a:pt x="2412524" y="506995"/>
                  </a:lnTo>
                  <a:lnTo>
                    <a:pt x="2435112" y="528395"/>
                  </a:lnTo>
                  <a:lnTo>
                    <a:pt x="2477803" y="553361"/>
                  </a:lnTo>
                  <a:lnTo>
                    <a:pt x="2508605" y="554550"/>
                  </a:lnTo>
                  <a:lnTo>
                    <a:pt x="2590420" y="536825"/>
                  </a:lnTo>
                  <a:lnTo>
                    <a:pt x="2669858" y="523747"/>
                  </a:lnTo>
                  <a:lnTo>
                    <a:pt x="2730382" y="517803"/>
                  </a:lnTo>
                  <a:lnTo>
                    <a:pt x="2786150" y="521370"/>
                  </a:lnTo>
                  <a:lnTo>
                    <a:pt x="2813386" y="532070"/>
                  </a:lnTo>
                  <a:lnTo>
                    <a:pt x="2835866" y="562872"/>
                  </a:lnTo>
                  <a:lnTo>
                    <a:pt x="2858455" y="612696"/>
                  </a:lnTo>
                  <a:lnTo>
                    <a:pt x="2876287" y="656576"/>
                  </a:lnTo>
                  <a:lnTo>
                    <a:pt x="2877476" y="674409"/>
                  </a:lnTo>
                  <a:lnTo>
                    <a:pt x="2871532" y="688675"/>
                  </a:lnTo>
                  <a:lnTo>
                    <a:pt x="2902334" y="732555"/>
                  </a:lnTo>
                  <a:lnTo>
                    <a:pt x="2945025" y="770490"/>
                  </a:lnTo>
                  <a:lnTo>
                    <a:pt x="2942647" y="789512"/>
                  </a:lnTo>
                  <a:lnTo>
                    <a:pt x="2950970" y="839336"/>
                  </a:lnTo>
                  <a:lnTo>
                    <a:pt x="2960481" y="834581"/>
                  </a:lnTo>
                  <a:lnTo>
                    <a:pt x="2965236" y="790701"/>
                  </a:lnTo>
                  <a:lnTo>
                    <a:pt x="2967614" y="764654"/>
                  </a:lnTo>
                  <a:lnTo>
                    <a:pt x="2989013" y="735041"/>
                  </a:lnTo>
                  <a:lnTo>
                    <a:pt x="3008035" y="793187"/>
                  </a:lnTo>
                  <a:lnTo>
                    <a:pt x="3018734" y="847766"/>
                  </a:lnTo>
                  <a:lnTo>
                    <a:pt x="3010413" y="880946"/>
                  </a:lnTo>
                  <a:lnTo>
                    <a:pt x="2991391" y="905804"/>
                  </a:lnTo>
                  <a:lnTo>
                    <a:pt x="2986635" y="924826"/>
                  </a:lnTo>
                  <a:lnTo>
                    <a:pt x="2939189" y="927204"/>
                  </a:lnTo>
                  <a:lnTo>
                    <a:pt x="2890554" y="929582"/>
                  </a:lnTo>
                  <a:lnTo>
                    <a:pt x="2841918" y="946226"/>
                  </a:lnTo>
                  <a:lnTo>
                    <a:pt x="2795661" y="949792"/>
                  </a:lnTo>
                  <a:lnTo>
                    <a:pt x="2764859" y="978217"/>
                  </a:lnTo>
                  <a:lnTo>
                    <a:pt x="2743459" y="996050"/>
                  </a:lnTo>
                  <a:lnTo>
                    <a:pt x="2739893" y="1013882"/>
                  </a:lnTo>
                  <a:lnTo>
                    <a:pt x="2756537" y="1032904"/>
                  </a:lnTo>
                  <a:lnTo>
                    <a:pt x="2770803" y="1063707"/>
                  </a:lnTo>
                  <a:lnTo>
                    <a:pt x="2774370" y="1087376"/>
                  </a:lnTo>
                  <a:lnTo>
                    <a:pt x="2788636" y="1101642"/>
                  </a:lnTo>
                  <a:lnTo>
                    <a:pt x="2804091" y="1127689"/>
                  </a:lnTo>
                  <a:lnTo>
                    <a:pt x="2794580" y="1147900"/>
                  </a:lnTo>
                  <a:lnTo>
                    <a:pt x="2794580" y="1149089"/>
                  </a:lnTo>
                  <a:lnTo>
                    <a:pt x="2779125" y="1164544"/>
                  </a:lnTo>
                  <a:lnTo>
                    <a:pt x="2776748" y="1207235"/>
                  </a:lnTo>
                  <a:lnTo>
                    <a:pt x="2764859" y="1222690"/>
                  </a:lnTo>
                  <a:lnTo>
                    <a:pt x="2736434" y="1248737"/>
                  </a:lnTo>
                  <a:lnTo>
                    <a:pt x="2735245" y="1248737"/>
                  </a:lnTo>
                  <a:lnTo>
                    <a:pt x="2705632" y="1248737"/>
                  </a:lnTo>
                  <a:lnTo>
                    <a:pt x="2693743" y="1241604"/>
                  </a:lnTo>
                  <a:lnTo>
                    <a:pt x="2677099" y="1221393"/>
                  </a:lnTo>
                  <a:lnTo>
                    <a:pt x="2666399" y="1223771"/>
                  </a:lnTo>
                  <a:lnTo>
                    <a:pt x="2649756" y="1234470"/>
                  </a:lnTo>
                  <a:lnTo>
                    <a:pt x="2625978" y="1240415"/>
                  </a:lnTo>
                  <a:lnTo>
                    <a:pt x="2624790" y="1240415"/>
                  </a:lnTo>
                  <a:lnTo>
                    <a:pt x="2599931" y="1226148"/>
                  </a:lnTo>
                  <a:lnTo>
                    <a:pt x="2567940" y="1224959"/>
                  </a:lnTo>
                  <a:lnTo>
                    <a:pt x="2541893" y="1248737"/>
                  </a:lnTo>
                  <a:lnTo>
                    <a:pt x="2513468" y="1279539"/>
                  </a:lnTo>
                  <a:lnTo>
                    <a:pt x="2502769" y="1331741"/>
                  </a:lnTo>
                  <a:lnTo>
                    <a:pt x="2492069" y="1351951"/>
                  </a:lnTo>
                  <a:lnTo>
                    <a:pt x="2470670" y="1372162"/>
                  </a:lnTo>
                  <a:lnTo>
                    <a:pt x="2471858" y="1417231"/>
                  </a:lnTo>
                  <a:lnTo>
                    <a:pt x="2451648" y="1435064"/>
                  </a:lnTo>
                  <a:lnTo>
                    <a:pt x="2437381" y="1441008"/>
                  </a:lnTo>
                  <a:lnTo>
                    <a:pt x="2397069" y="1441008"/>
                  </a:lnTo>
                  <a:lnTo>
                    <a:pt x="2350811" y="1455274"/>
                  </a:lnTo>
                  <a:lnTo>
                    <a:pt x="2338922" y="1449330"/>
                  </a:lnTo>
                  <a:lnTo>
                    <a:pt x="2340111" y="1432686"/>
                  </a:lnTo>
                  <a:lnTo>
                    <a:pt x="2324656" y="1427930"/>
                  </a:lnTo>
                  <a:lnTo>
                    <a:pt x="2293853" y="1430308"/>
                  </a:lnTo>
                  <a:lnTo>
                    <a:pt x="2276021" y="1443386"/>
                  </a:lnTo>
                  <a:lnTo>
                    <a:pt x="2262943" y="1430308"/>
                  </a:lnTo>
                  <a:lnTo>
                    <a:pt x="2248677" y="1432686"/>
                  </a:lnTo>
                  <a:lnTo>
                    <a:pt x="2232033" y="1451708"/>
                  </a:lnTo>
                  <a:lnTo>
                    <a:pt x="2228466" y="1500343"/>
                  </a:lnTo>
                  <a:lnTo>
                    <a:pt x="2226089" y="1500343"/>
                  </a:lnTo>
                  <a:lnTo>
                    <a:pt x="2216578" y="1490832"/>
                  </a:lnTo>
                  <a:lnTo>
                    <a:pt x="2179831" y="1477755"/>
                  </a:lnTo>
                  <a:lnTo>
                    <a:pt x="2153784" y="1471810"/>
                  </a:lnTo>
                  <a:lnTo>
                    <a:pt x="2141895" y="1467055"/>
                  </a:lnTo>
                  <a:lnTo>
                    <a:pt x="2124063" y="1496668"/>
                  </a:lnTo>
                  <a:lnTo>
                    <a:pt x="2116929" y="1509746"/>
                  </a:lnTo>
                  <a:lnTo>
                    <a:pt x="2109796" y="1520445"/>
                  </a:lnTo>
                  <a:lnTo>
                    <a:pt x="2093152" y="1547681"/>
                  </a:lnTo>
                  <a:lnTo>
                    <a:pt x="2087208" y="1573728"/>
                  </a:lnTo>
                  <a:lnTo>
                    <a:pt x="2088397" y="1599775"/>
                  </a:lnTo>
                  <a:lnTo>
                    <a:pt x="2088397" y="1600964"/>
                  </a:lnTo>
                  <a:lnTo>
                    <a:pt x="2096718" y="1629497"/>
                  </a:lnTo>
                  <a:lnTo>
                    <a:pt x="2100285" y="1648410"/>
                  </a:lnTo>
                  <a:lnTo>
                    <a:pt x="2095530" y="1660299"/>
                  </a:lnTo>
                  <a:lnTo>
                    <a:pt x="2093152" y="1661488"/>
                  </a:lnTo>
                  <a:lnTo>
                    <a:pt x="2074239" y="1676943"/>
                  </a:lnTo>
                  <a:lnTo>
                    <a:pt x="2063538" y="1693587"/>
                  </a:lnTo>
                  <a:lnTo>
                    <a:pt x="2070672" y="1726767"/>
                  </a:lnTo>
                  <a:lnTo>
                    <a:pt x="2043436" y="1745789"/>
                  </a:lnTo>
                  <a:lnTo>
                    <a:pt x="2042247" y="1745789"/>
                  </a:lnTo>
                  <a:lnTo>
                    <a:pt x="2016201" y="1743411"/>
                  </a:lnTo>
                  <a:lnTo>
                    <a:pt x="2013823" y="1724497"/>
                  </a:lnTo>
                  <a:lnTo>
                    <a:pt x="1988857" y="1716175"/>
                  </a:lnTo>
                  <a:lnTo>
                    <a:pt x="1958055" y="1720931"/>
                  </a:lnTo>
                  <a:lnTo>
                    <a:pt x="1946165" y="1735197"/>
                  </a:lnTo>
                  <a:lnTo>
                    <a:pt x="1922496" y="1731630"/>
                  </a:lnTo>
                  <a:lnTo>
                    <a:pt x="1892883" y="1704395"/>
                  </a:lnTo>
                  <a:lnTo>
                    <a:pt x="1852570" y="1678348"/>
                  </a:lnTo>
                  <a:lnTo>
                    <a:pt x="1824145" y="1677159"/>
                  </a:lnTo>
                  <a:lnTo>
                    <a:pt x="1818201" y="1704395"/>
                  </a:lnTo>
                  <a:lnTo>
                    <a:pt x="1809879" y="1737575"/>
                  </a:lnTo>
                  <a:lnTo>
                    <a:pt x="1809879" y="1738764"/>
                  </a:lnTo>
                  <a:lnTo>
                    <a:pt x="1795613" y="1770755"/>
                  </a:lnTo>
                  <a:lnTo>
                    <a:pt x="1773132" y="1794424"/>
                  </a:lnTo>
                  <a:lnTo>
                    <a:pt x="1744600" y="1814635"/>
                  </a:lnTo>
                  <a:lnTo>
                    <a:pt x="1724389" y="1834845"/>
                  </a:lnTo>
                  <a:lnTo>
                    <a:pt x="1723200" y="1890614"/>
                  </a:lnTo>
                  <a:lnTo>
                    <a:pt x="1713689" y="1926171"/>
                  </a:lnTo>
                  <a:lnTo>
                    <a:pt x="1702989" y="1952218"/>
                  </a:lnTo>
                  <a:lnTo>
                    <a:pt x="1701801" y="1965296"/>
                  </a:lnTo>
                  <a:lnTo>
                    <a:pt x="1700612" y="1965296"/>
                  </a:lnTo>
                  <a:lnTo>
                    <a:pt x="1688723" y="1978373"/>
                  </a:lnTo>
                  <a:lnTo>
                    <a:pt x="1687534" y="1979562"/>
                  </a:lnTo>
                  <a:lnTo>
                    <a:pt x="1654354" y="2002043"/>
                  </a:lnTo>
                  <a:lnTo>
                    <a:pt x="1623552" y="2004420"/>
                  </a:lnTo>
                  <a:lnTo>
                    <a:pt x="1589183" y="2010364"/>
                  </a:lnTo>
                  <a:lnTo>
                    <a:pt x="1566595" y="2030575"/>
                  </a:lnTo>
                  <a:lnTo>
                    <a:pt x="1513204" y="2030575"/>
                  </a:lnTo>
                  <a:lnTo>
                    <a:pt x="1464569" y="2032953"/>
                  </a:lnTo>
                  <a:lnTo>
                    <a:pt x="1439711" y="2046030"/>
                  </a:lnTo>
                  <a:lnTo>
                    <a:pt x="1421878" y="2076833"/>
                  </a:lnTo>
                  <a:lnTo>
                    <a:pt x="1402856" y="2124279"/>
                  </a:lnTo>
                  <a:lnTo>
                    <a:pt x="1393345" y="2137357"/>
                  </a:lnTo>
                  <a:lnTo>
                    <a:pt x="1385023" y="2127846"/>
                  </a:lnTo>
                  <a:lnTo>
                    <a:pt x="1367190" y="2129035"/>
                  </a:lnTo>
                  <a:lnTo>
                    <a:pt x="1367190" y="2131412"/>
                  </a:lnTo>
                  <a:lnTo>
                    <a:pt x="1370757" y="2151623"/>
                  </a:lnTo>
                  <a:lnTo>
                    <a:pt x="1370757" y="2152812"/>
                  </a:lnTo>
                  <a:lnTo>
                    <a:pt x="1376701" y="2168267"/>
                  </a:lnTo>
                  <a:lnTo>
                    <a:pt x="1382645" y="2190855"/>
                  </a:lnTo>
                  <a:lnTo>
                    <a:pt x="1368379" y="2202744"/>
                  </a:lnTo>
                  <a:lnTo>
                    <a:pt x="1355302" y="2225332"/>
                  </a:lnTo>
                  <a:lnTo>
                    <a:pt x="1366001" y="2239599"/>
                  </a:lnTo>
                  <a:lnTo>
                    <a:pt x="1381456" y="2264565"/>
                  </a:lnTo>
                  <a:lnTo>
                    <a:pt x="1366001" y="2295367"/>
                  </a:lnTo>
                  <a:lnTo>
                    <a:pt x="1343413" y="2314281"/>
                  </a:lnTo>
                  <a:lnTo>
                    <a:pt x="1333902" y="2336869"/>
                  </a:lnTo>
                  <a:lnTo>
                    <a:pt x="1333902" y="2365294"/>
                  </a:lnTo>
                  <a:lnTo>
                    <a:pt x="1312502" y="2374805"/>
                  </a:lnTo>
                  <a:lnTo>
                    <a:pt x="1287645" y="2365294"/>
                  </a:lnTo>
                  <a:lnTo>
                    <a:pt x="1263867" y="2360538"/>
                  </a:lnTo>
                  <a:lnTo>
                    <a:pt x="1255546" y="2360538"/>
                  </a:lnTo>
                  <a:lnTo>
                    <a:pt x="1229498" y="2365294"/>
                  </a:lnTo>
                  <a:lnTo>
                    <a:pt x="1212855" y="2391341"/>
                  </a:lnTo>
                  <a:lnTo>
                    <a:pt x="1191455" y="2391341"/>
                  </a:lnTo>
                  <a:lnTo>
                    <a:pt x="1179566" y="2383019"/>
                  </a:lnTo>
                  <a:lnTo>
                    <a:pt x="1152330" y="2366374"/>
                  </a:lnTo>
                  <a:lnTo>
                    <a:pt x="1104884" y="2381830"/>
                  </a:lnTo>
                  <a:lnTo>
                    <a:pt x="1038524" y="2366374"/>
                  </a:lnTo>
                  <a:lnTo>
                    <a:pt x="1004155" y="2348542"/>
                  </a:lnTo>
                  <a:lnTo>
                    <a:pt x="976919" y="2330708"/>
                  </a:lnTo>
                  <a:lnTo>
                    <a:pt x="953142" y="2314065"/>
                  </a:lnTo>
                  <a:lnTo>
                    <a:pt x="921151" y="2300987"/>
                  </a:lnTo>
                  <a:lnTo>
                    <a:pt x="858250" y="2272563"/>
                  </a:lnTo>
                  <a:lnTo>
                    <a:pt x="833392" y="2252352"/>
                  </a:lnTo>
                  <a:lnTo>
                    <a:pt x="799023" y="2241652"/>
                  </a:lnTo>
                  <a:lnTo>
                    <a:pt x="767032" y="2251163"/>
                  </a:lnTo>
                  <a:lnTo>
                    <a:pt x="752765" y="2259485"/>
                  </a:lnTo>
                  <a:lnTo>
                    <a:pt x="738499" y="2233438"/>
                  </a:lnTo>
                  <a:lnTo>
                    <a:pt x="715910" y="2195503"/>
                  </a:lnTo>
                  <a:lnTo>
                    <a:pt x="687486" y="2155189"/>
                  </a:lnTo>
                  <a:lnTo>
                    <a:pt x="673219" y="2132601"/>
                  </a:lnTo>
                  <a:lnTo>
                    <a:pt x="688675" y="2126657"/>
                  </a:lnTo>
                  <a:lnTo>
                    <a:pt x="708885" y="2118335"/>
                  </a:lnTo>
                  <a:lnTo>
                    <a:pt x="716019" y="2099421"/>
                  </a:lnTo>
                  <a:lnTo>
                    <a:pt x="699375" y="2074563"/>
                  </a:lnTo>
                  <a:lnTo>
                    <a:pt x="674517" y="2018795"/>
                  </a:lnTo>
                  <a:lnTo>
                    <a:pt x="661439" y="1980859"/>
                  </a:lnTo>
                  <a:lnTo>
                    <a:pt x="660250" y="1980859"/>
                  </a:lnTo>
                  <a:lnTo>
                    <a:pt x="627070" y="1986804"/>
                  </a:lnTo>
                  <a:lnTo>
                    <a:pt x="627070" y="1987992"/>
                  </a:lnTo>
                  <a:lnTo>
                    <a:pt x="613993" y="1996314"/>
                  </a:lnTo>
                  <a:lnTo>
                    <a:pt x="609237" y="1979670"/>
                  </a:lnTo>
                  <a:lnTo>
                    <a:pt x="608048" y="1929846"/>
                  </a:lnTo>
                  <a:lnTo>
                    <a:pt x="592593" y="1908447"/>
                  </a:lnTo>
                  <a:lnTo>
                    <a:pt x="549902" y="1892991"/>
                  </a:lnTo>
                  <a:lnTo>
                    <a:pt x="489378" y="1882292"/>
                  </a:lnTo>
                  <a:lnTo>
                    <a:pt x="481056" y="1928549"/>
                  </a:lnTo>
                  <a:lnTo>
                    <a:pt x="458468" y="1966485"/>
                  </a:lnTo>
                  <a:lnTo>
                    <a:pt x="427666" y="2003231"/>
                  </a:lnTo>
                  <a:lnTo>
                    <a:pt x="395674" y="2028089"/>
                  </a:lnTo>
                  <a:lnTo>
                    <a:pt x="374275" y="2037600"/>
                  </a:lnTo>
                  <a:lnTo>
                    <a:pt x="363575" y="2028089"/>
                  </a:lnTo>
                  <a:lnTo>
                    <a:pt x="351687" y="2009175"/>
                  </a:lnTo>
                  <a:lnTo>
                    <a:pt x="287596" y="2021064"/>
                  </a:lnTo>
                  <a:lnTo>
                    <a:pt x="259172" y="2043652"/>
                  </a:lnTo>
                  <a:lnTo>
                    <a:pt x="228369" y="2047219"/>
                  </a:lnTo>
                  <a:lnTo>
                    <a:pt x="211725" y="2038897"/>
                  </a:lnTo>
                  <a:lnTo>
                    <a:pt x="196270" y="2017498"/>
                  </a:lnTo>
                  <a:lnTo>
                    <a:pt x="196270" y="2016309"/>
                  </a:lnTo>
                  <a:lnTo>
                    <a:pt x="187948" y="1975996"/>
                  </a:lnTo>
                  <a:lnTo>
                    <a:pt x="191515" y="1941627"/>
                  </a:lnTo>
                  <a:lnTo>
                    <a:pt x="208159" y="1928549"/>
                  </a:lnTo>
                  <a:lnTo>
                    <a:pt x="228369" y="1911905"/>
                  </a:lnTo>
                  <a:lnTo>
                    <a:pt x="236691" y="1853759"/>
                  </a:lnTo>
                  <a:lnTo>
                    <a:pt x="252147" y="1822957"/>
                  </a:lnTo>
                  <a:lnTo>
                    <a:pt x="256902" y="1811068"/>
                  </a:lnTo>
                  <a:lnTo>
                    <a:pt x="207078" y="1776699"/>
                  </a:lnTo>
                  <a:lnTo>
                    <a:pt x="218966" y="1731630"/>
                  </a:lnTo>
                  <a:lnTo>
                    <a:pt x="218966" y="1730442"/>
                  </a:lnTo>
                  <a:lnTo>
                    <a:pt x="232044" y="1710231"/>
                  </a:lnTo>
                  <a:lnTo>
                    <a:pt x="229666" y="1686454"/>
                  </a:lnTo>
                  <a:lnTo>
                    <a:pt x="204808" y="1663973"/>
                  </a:lnTo>
                  <a:lnTo>
                    <a:pt x="191731" y="1647330"/>
                  </a:lnTo>
                  <a:lnTo>
                    <a:pt x="221344" y="1629605"/>
                  </a:lnTo>
                  <a:lnTo>
                    <a:pt x="220155" y="1582158"/>
                  </a:lnTo>
                  <a:lnTo>
                    <a:pt x="220155" y="1580969"/>
                  </a:lnTo>
                  <a:lnTo>
                    <a:pt x="203511" y="1559570"/>
                  </a:lnTo>
                  <a:lnTo>
                    <a:pt x="165576" y="1534712"/>
                  </a:lnTo>
                  <a:lnTo>
                    <a:pt x="153687" y="1531145"/>
                  </a:lnTo>
                  <a:lnTo>
                    <a:pt x="153687" y="1509746"/>
                  </a:lnTo>
                  <a:lnTo>
                    <a:pt x="167953" y="1487266"/>
                  </a:lnTo>
                  <a:lnTo>
                    <a:pt x="163198" y="1474188"/>
                  </a:lnTo>
                  <a:lnTo>
                    <a:pt x="141258" y="146478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2" name="Полилиния: фигура 202"/>
            <p:cNvSpPr/>
            <p:nvPr/>
          </p:nvSpPr>
          <p:spPr bwMode="auto">
            <a:xfrm>
              <a:off x="2263728" y="4315277"/>
              <a:ext cx="212481" cy="401078"/>
            </a:xfrm>
            <a:custGeom>
              <a:avLst/>
              <a:gdLst>
                <a:gd name="connsiteX0" fmla="*/ 125911 w 212481"/>
                <a:gd name="connsiteY0" fmla="*/ 109159 h 401078"/>
                <a:gd name="connsiteX1" fmla="*/ 128289 w 212481"/>
                <a:gd name="connsiteY1" fmla="*/ 107970 h 401078"/>
                <a:gd name="connsiteX2" fmla="*/ 128289 w 212481"/>
                <a:gd name="connsiteY2" fmla="*/ 142339 h 401078"/>
                <a:gd name="connsiteX3" fmla="*/ 165036 w 212481"/>
                <a:gd name="connsiteY3" fmla="*/ 154228 h 401078"/>
                <a:gd name="connsiteX4" fmla="*/ 167413 w 212481"/>
                <a:gd name="connsiteY4" fmla="*/ 207618 h 401078"/>
                <a:gd name="connsiteX5" fmla="*/ 184057 w 212481"/>
                <a:gd name="connsiteY5" fmla="*/ 221885 h 401078"/>
                <a:gd name="connsiteX6" fmla="*/ 182868 w 212481"/>
                <a:gd name="connsiteY6" fmla="*/ 262198 h 401078"/>
                <a:gd name="connsiteX7" fmla="*/ 206538 w 212481"/>
                <a:gd name="connsiteY7" fmla="*/ 282409 h 401078"/>
                <a:gd name="connsiteX8" fmla="*/ 212482 w 212481"/>
                <a:gd name="connsiteY8" fmla="*/ 341744 h 401078"/>
                <a:gd name="connsiteX9" fmla="*/ 202971 w 212481"/>
                <a:gd name="connsiteY9" fmla="*/ 370276 h 401078"/>
                <a:gd name="connsiteX10" fmla="*/ 163847 w 212481"/>
                <a:gd name="connsiteY10" fmla="*/ 401078 h 401078"/>
                <a:gd name="connsiteX11" fmla="*/ 154336 w 212481"/>
                <a:gd name="connsiteY11" fmla="*/ 383246 h 401078"/>
                <a:gd name="connsiteX12" fmla="*/ 143636 w 212481"/>
                <a:gd name="connsiteY12" fmla="*/ 367790 h 401078"/>
                <a:gd name="connsiteX13" fmla="*/ 130559 w 212481"/>
                <a:gd name="connsiteY13" fmla="*/ 370168 h 401078"/>
                <a:gd name="connsiteX14" fmla="*/ 100945 w 212481"/>
                <a:gd name="connsiteY14" fmla="*/ 383246 h 401078"/>
                <a:gd name="connsiteX15" fmla="*/ 87868 w 212481"/>
                <a:gd name="connsiteY15" fmla="*/ 380868 h 401078"/>
                <a:gd name="connsiteX16" fmla="*/ 86679 w 212481"/>
                <a:gd name="connsiteY16" fmla="*/ 370168 h 401078"/>
                <a:gd name="connsiteX17" fmla="*/ 89057 w 212481"/>
                <a:gd name="connsiteY17" fmla="*/ 351146 h 401078"/>
                <a:gd name="connsiteX18" fmla="*/ 80734 w 212481"/>
                <a:gd name="connsiteY18" fmla="*/ 347580 h 401078"/>
                <a:gd name="connsiteX19" fmla="*/ 32099 w 212481"/>
                <a:gd name="connsiteY19" fmla="*/ 351146 h 401078"/>
                <a:gd name="connsiteX20" fmla="*/ 35666 w 212481"/>
                <a:gd name="connsiteY20" fmla="*/ 291811 h 401078"/>
                <a:gd name="connsiteX21" fmla="*/ 35666 w 212481"/>
                <a:gd name="connsiteY21" fmla="*/ 290622 h 401078"/>
                <a:gd name="connsiteX22" fmla="*/ 28533 w 212481"/>
                <a:gd name="connsiteY22" fmla="*/ 265764 h 401078"/>
                <a:gd name="connsiteX23" fmla="*/ 17833 w 212481"/>
                <a:gd name="connsiteY23" fmla="*/ 240907 h 401078"/>
                <a:gd name="connsiteX24" fmla="*/ 7133 w 212481"/>
                <a:gd name="connsiteY24" fmla="*/ 207727 h 401078"/>
                <a:gd name="connsiteX25" fmla="*/ 5944 w 212481"/>
                <a:gd name="connsiteY25" fmla="*/ 179302 h 401078"/>
                <a:gd name="connsiteX26" fmla="*/ 1189 w 212481"/>
                <a:gd name="connsiteY26" fmla="*/ 137800 h 401078"/>
                <a:gd name="connsiteX27" fmla="*/ 0 w 212481"/>
                <a:gd name="connsiteY27" fmla="*/ 121156 h 401078"/>
                <a:gd name="connsiteX28" fmla="*/ 1189 w 212481"/>
                <a:gd name="connsiteY28" fmla="*/ 96190 h 401078"/>
                <a:gd name="connsiteX29" fmla="*/ 0 w 212481"/>
                <a:gd name="connsiteY29" fmla="*/ 78357 h 401078"/>
                <a:gd name="connsiteX30" fmla="*/ 1189 w 212481"/>
                <a:gd name="connsiteY30" fmla="*/ 61713 h 401078"/>
                <a:gd name="connsiteX31" fmla="*/ 10700 w 212481"/>
                <a:gd name="connsiteY31" fmla="*/ 20211 h 401078"/>
                <a:gd name="connsiteX32" fmla="*/ 23777 w 212481"/>
                <a:gd name="connsiteY32" fmla="*/ 14266 h 401078"/>
                <a:gd name="connsiteX33" fmla="*/ 22588 w 212481"/>
                <a:gd name="connsiteY33" fmla="*/ 0 h 401078"/>
                <a:gd name="connsiteX34" fmla="*/ 53391 w 212481"/>
                <a:gd name="connsiteY34" fmla="*/ 45068 h 401078"/>
                <a:gd name="connsiteX35" fmla="*/ 125911 w 212481"/>
                <a:gd name="connsiteY35" fmla="*/ 109159 h 401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2481" h="401078" extrusionOk="0">
                  <a:moveTo>
                    <a:pt x="125911" y="109159"/>
                  </a:moveTo>
                  <a:lnTo>
                    <a:pt x="128289" y="107970"/>
                  </a:lnTo>
                  <a:lnTo>
                    <a:pt x="128289" y="142339"/>
                  </a:lnTo>
                  <a:lnTo>
                    <a:pt x="165036" y="154228"/>
                  </a:lnTo>
                  <a:lnTo>
                    <a:pt x="167413" y="207618"/>
                  </a:lnTo>
                  <a:lnTo>
                    <a:pt x="184057" y="221885"/>
                  </a:lnTo>
                  <a:lnTo>
                    <a:pt x="182868" y="262198"/>
                  </a:lnTo>
                  <a:lnTo>
                    <a:pt x="206538" y="282409"/>
                  </a:lnTo>
                  <a:lnTo>
                    <a:pt x="212482" y="341744"/>
                  </a:lnTo>
                  <a:lnTo>
                    <a:pt x="202971" y="370276"/>
                  </a:lnTo>
                  <a:lnTo>
                    <a:pt x="163847" y="401078"/>
                  </a:lnTo>
                  <a:lnTo>
                    <a:pt x="154336" y="383246"/>
                  </a:lnTo>
                  <a:lnTo>
                    <a:pt x="143636" y="367790"/>
                  </a:lnTo>
                  <a:lnTo>
                    <a:pt x="130559" y="370168"/>
                  </a:lnTo>
                  <a:lnTo>
                    <a:pt x="100945" y="383246"/>
                  </a:lnTo>
                  <a:lnTo>
                    <a:pt x="87868" y="380868"/>
                  </a:lnTo>
                  <a:lnTo>
                    <a:pt x="86679" y="370168"/>
                  </a:lnTo>
                  <a:lnTo>
                    <a:pt x="89057" y="351146"/>
                  </a:lnTo>
                  <a:lnTo>
                    <a:pt x="80734" y="347580"/>
                  </a:lnTo>
                  <a:lnTo>
                    <a:pt x="32099" y="351146"/>
                  </a:lnTo>
                  <a:lnTo>
                    <a:pt x="35666" y="291811"/>
                  </a:lnTo>
                  <a:lnTo>
                    <a:pt x="35666" y="290622"/>
                  </a:lnTo>
                  <a:lnTo>
                    <a:pt x="28533" y="265764"/>
                  </a:lnTo>
                  <a:lnTo>
                    <a:pt x="17833" y="240907"/>
                  </a:lnTo>
                  <a:lnTo>
                    <a:pt x="7133" y="207727"/>
                  </a:lnTo>
                  <a:lnTo>
                    <a:pt x="5944" y="179302"/>
                  </a:lnTo>
                  <a:lnTo>
                    <a:pt x="1189" y="137800"/>
                  </a:lnTo>
                  <a:lnTo>
                    <a:pt x="0" y="121156"/>
                  </a:lnTo>
                  <a:lnTo>
                    <a:pt x="1189" y="96190"/>
                  </a:lnTo>
                  <a:lnTo>
                    <a:pt x="0" y="78357"/>
                  </a:lnTo>
                  <a:lnTo>
                    <a:pt x="1189" y="61713"/>
                  </a:lnTo>
                  <a:lnTo>
                    <a:pt x="10700" y="20211"/>
                  </a:lnTo>
                  <a:lnTo>
                    <a:pt x="23777" y="14266"/>
                  </a:lnTo>
                  <a:lnTo>
                    <a:pt x="22588" y="0"/>
                  </a:lnTo>
                  <a:lnTo>
                    <a:pt x="53391" y="45068"/>
                  </a:lnTo>
                  <a:lnTo>
                    <a:pt x="125911" y="10915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3" name="Полилиния: фигура 203"/>
            <p:cNvSpPr/>
            <p:nvPr/>
          </p:nvSpPr>
          <p:spPr bwMode="auto">
            <a:xfrm>
              <a:off x="2893824" y="4496740"/>
              <a:ext cx="205132" cy="131639"/>
            </a:xfrm>
            <a:custGeom>
              <a:avLst/>
              <a:gdLst>
                <a:gd name="connsiteX0" fmla="*/ 46257 w 205132"/>
                <a:gd name="connsiteY0" fmla="*/ 125695 h 131639"/>
                <a:gd name="connsiteX1" fmla="*/ 0 w 205132"/>
                <a:gd name="connsiteY1" fmla="*/ 78249 h 131639"/>
                <a:gd name="connsiteX2" fmla="*/ 31991 w 205132"/>
                <a:gd name="connsiteY2" fmla="*/ 73493 h 131639"/>
                <a:gd name="connsiteX3" fmla="*/ 59227 w 205132"/>
                <a:gd name="connsiteY3" fmla="*/ 43880 h 131639"/>
                <a:gd name="connsiteX4" fmla="*/ 90029 w 205132"/>
                <a:gd name="connsiteY4" fmla="*/ 48635 h 131639"/>
                <a:gd name="connsiteX5" fmla="*/ 119751 w 205132"/>
                <a:gd name="connsiteY5" fmla="*/ 0 h 131639"/>
                <a:gd name="connsiteX6" fmla="*/ 166008 w 205132"/>
                <a:gd name="connsiteY6" fmla="*/ 18914 h 131639"/>
                <a:gd name="connsiteX7" fmla="*/ 190866 w 205132"/>
                <a:gd name="connsiteY7" fmla="*/ 24858 h 131639"/>
                <a:gd name="connsiteX8" fmla="*/ 196811 w 205132"/>
                <a:gd name="connsiteY8" fmla="*/ 63982 h 131639"/>
                <a:gd name="connsiteX9" fmla="*/ 205133 w 205132"/>
                <a:gd name="connsiteY9" fmla="*/ 72304 h 131639"/>
                <a:gd name="connsiteX10" fmla="*/ 190866 w 205132"/>
                <a:gd name="connsiteY10" fmla="*/ 88948 h 131639"/>
                <a:gd name="connsiteX11" fmla="*/ 180166 w 205132"/>
                <a:gd name="connsiteY11" fmla="*/ 103215 h 131639"/>
                <a:gd name="connsiteX12" fmla="*/ 188489 w 205132"/>
                <a:gd name="connsiteY12" fmla="*/ 131639 h 131639"/>
                <a:gd name="connsiteX13" fmla="*/ 122020 w 205132"/>
                <a:gd name="connsiteY13" fmla="*/ 123317 h 131639"/>
                <a:gd name="connsiteX14" fmla="*/ 76952 w 205132"/>
                <a:gd name="connsiteY14" fmla="*/ 112617 h 131639"/>
                <a:gd name="connsiteX15" fmla="*/ 49716 w 205132"/>
                <a:gd name="connsiteY15" fmla="*/ 128073 h 131639"/>
                <a:gd name="connsiteX16" fmla="*/ 46257 w 205132"/>
                <a:gd name="connsiteY16" fmla="*/ 125695 h 131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5132" h="131639" extrusionOk="0">
                  <a:moveTo>
                    <a:pt x="46257" y="125695"/>
                  </a:moveTo>
                  <a:lnTo>
                    <a:pt x="0" y="78249"/>
                  </a:lnTo>
                  <a:lnTo>
                    <a:pt x="31991" y="73493"/>
                  </a:lnTo>
                  <a:lnTo>
                    <a:pt x="59227" y="43880"/>
                  </a:lnTo>
                  <a:lnTo>
                    <a:pt x="90029" y="48635"/>
                  </a:lnTo>
                  <a:lnTo>
                    <a:pt x="119751" y="0"/>
                  </a:lnTo>
                  <a:lnTo>
                    <a:pt x="166008" y="18914"/>
                  </a:lnTo>
                  <a:lnTo>
                    <a:pt x="190866" y="24858"/>
                  </a:lnTo>
                  <a:lnTo>
                    <a:pt x="196811" y="63982"/>
                  </a:lnTo>
                  <a:lnTo>
                    <a:pt x="205133" y="72304"/>
                  </a:lnTo>
                  <a:lnTo>
                    <a:pt x="190866" y="88948"/>
                  </a:lnTo>
                  <a:lnTo>
                    <a:pt x="180166" y="103215"/>
                  </a:lnTo>
                  <a:lnTo>
                    <a:pt x="188489" y="131639"/>
                  </a:lnTo>
                  <a:lnTo>
                    <a:pt x="122020" y="123317"/>
                  </a:lnTo>
                  <a:lnTo>
                    <a:pt x="76952" y="112617"/>
                  </a:lnTo>
                  <a:lnTo>
                    <a:pt x="49716" y="128073"/>
                  </a:lnTo>
                  <a:lnTo>
                    <a:pt x="46257" y="12569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4" name="Полилиния: фигура 204"/>
            <p:cNvSpPr/>
            <p:nvPr/>
          </p:nvSpPr>
          <p:spPr bwMode="auto">
            <a:xfrm>
              <a:off x="3114520" y="5338886"/>
              <a:ext cx="203943" cy="270519"/>
            </a:xfrm>
            <a:custGeom>
              <a:avLst/>
              <a:gdLst>
                <a:gd name="connsiteX0" fmla="*/ 10592 w 203943"/>
                <a:gd name="connsiteY0" fmla="*/ 160172 h 270519"/>
                <a:gd name="connsiteX1" fmla="*/ 26047 w 203943"/>
                <a:gd name="connsiteY1" fmla="*/ 186219 h 270519"/>
                <a:gd name="connsiteX2" fmla="*/ 58038 w 203943"/>
                <a:gd name="connsiteY2" fmla="*/ 200485 h 270519"/>
                <a:gd name="connsiteX3" fmla="*/ 72304 w 203943"/>
                <a:gd name="connsiteY3" fmla="*/ 208807 h 270519"/>
                <a:gd name="connsiteX4" fmla="*/ 107862 w 203943"/>
                <a:gd name="connsiteY4" fmla="*/ 250309 h 270519"/>
                <a:gd name="connsiteX5" fmla="*/ 143420 w 203943"/>
                <a:gd name="connsiteY5" fmla="*/ 262198 h 270519"/>
                <a:gd name="connsiteX6" fmla="*/ 171844 w 203943"/>
                <a:gd name="connsiteY6" fmla="*/ 268142 h 270519"/>
                <a:gd name="connsiteX7" fmla="*/ 193244 w 203943"/>
                <a:gd name="connsiteY7" fmla="*/ 270520 h 270519"/>
                <a:gd name="connsiteX8" fmla="*/ 203944 w 203943"/>
                <a:gd name="connsiteY8" fmla="*/ 206430 h 270519"/>
                <a:gd name="connsiteX9" fmla="*/ 166008 w 203943"/>
                <a:gd name="connsiteY9" fmla="*/ 158983 h 270519"/>
                <a:gd name="connsiteX10" fmla="*/ 171953 w 203943"/>
                <a:gd name="connsiteY10" fmla="*/ 134017 h 270519"/>
                <a:gd name="connsiteX11" fmla="*/ 186219 w 203943"/>
                <a:gd name="connsiteY11" fmla="*/ 112618 h 270519"/>
                <a:gd name="connsiteX12" fmla="*/ 175519 w 203943"/>
                <a:gd name="connsiteY12" fmla="*/ 92407 h 270519"/>
                <a:gd name="connsiteX13" fmla="*/ 173141 w 203943"/>
                <a:gd name="connsiteY13" fmla="*/ 68738 h 270519"/>
                <a:gd name="connsiteX14" fmla="*/ 129262 w 203943"/>
                <a:gd name="connsiteY14" fmla="*/ 65171 h 270519"/>
                <a:gd name="connsiteX15" fmla="*/ 131639 w 203943"/>
                <a:gd name="connsiteY15" fmla="*/ 36747 h 270519"/>
                <a:gd name="connsiteX16" fmla="*/ 111429 w 203943"/>
                <a:gd name="connsiteY16" fmla="*/ 26047 h 270519"/>
                <a:gd name="connsiteX17" fmla="*/ 77060 w 203943"/>
                <a:gd name="connsiteY17" fmla="*/ 0 h 270519"/>
                <a:gd name="connsiteX18" fmla="*/ 24858 w 203943"/>
                <a:gd name="connsiteY18" fmla="*/ 28425 h 270519"/>
                <a:gd name="connsiteX19" fmla="*/ 0 w 203943"/>
                <a:gd name="connsiteY19" fmla="*/ 61605 h 270519"/>
                <a:gd name="connsiteX20" fmla="*/ 40313 w 203943"/>
                <a:gd name="connsiteY20" fmla="*/ 63982 h 270519"/>
                <a:gd name="connsiteX21" fmla="*/ 45069 w 203943"/>
                <a:gd name="connsiteY21" fmla="*/ 82896 h 270519"/>
                <a:gd name="connsiteX22" fmla="*/ 34369 w 203943"/>
                <a:gd name="connsiteY22" fmla="*/ 98351 h 270519"/>
                <a:gd name="connsiteX23" fmla="*/ 27236 w 203943"/>
                <a:gd name="connsiteY23" fmla="*/ 127965 h 270519"/>
                <a:gd name="connsiteX24" fmla="*/ 10592 w 203943"/>
                <a:gd name="connsiteY24" fmla="*/ 160172 h 2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03943" h="270519" extrusionOk="0">
                  <a:moveTo>
                    <a:pt x="10592" y="160172"/>
                  </a:moveTo>
                  <a:lnTo>
                    <a:pt x="26047" y="186219"/>
                  </a:lnTo>
                  <a:lnTo>
                    <a:pt x="58038" y="200485"/>
                  </a:lnTo>
                  <a:lnTo>
                    <a:pt x="72304" y="208807"/>
                  </a:lnTo>
                  <a:lnTo>
                    <a:pt x="107862" y="250309"/>
                  </a:lnTo>
                  <a:lnTo>
                    <a:pt x="143420" y="262198"/>
                  </a:lnTo>
                  <a:lnTo>
                    <a:pt x="171844" y="268142"/>
                  </a:lnTo>
                  <a:lnTo>
                    <a:pt x="193244" y="270520"/>
                  </a:lnTo>
                  <a:lnTo>
                    <a:pt x="203944" y="206430"/>
                  </a:lnTo>
                  <a:lnTo>
                    <a:pt x="166008" y="158983"/>
                  </a:lnTo>
                  <a:lnTo>
                    <a:pt x="171953" y="134017"/>
                  </a:lnTo>
                  <a:lnTo>
                    <a:pt x="186219" y="112618"/>
                  </a:lnTo>
                  <a:lnTo>
                    <a:pt x="175519" y="92407"/>
                  </a:lnTo>
                  <a:lnTo>
                    <a:pt x="173141" y="68738"/>
                  </a:lnTo>
                  <a:lnTo>
                    <a:pt x="129262" y="65171"/>
                  </a:lnTo>
                  <a:lnTo>
                    <a:pt x="131639" y="36747"/>
                  </a:lnTo>
                  <a:lnTo>
                    <a:pt x="111429" y="26047"/>
                  </a:lnTo>
                  <a:lnTo>
                    <a:pt x="77060" y="0"/>
                  </a:lnTo>
                  <a:lnTo>
                    <a:pt x="24858" y="28425"/>
                  </a:lnTo>
                  <a:lnTo>
                    <a:pt x="0" y="61605"/>
                  </a:lnTo>
                  <a:lnTo>
                    <a:pt x="40313" y="63982"/>
                  </a:lnTo>
                  <a:lnTo>
                    <a:pt x="45069" y="82896"/>
                  </a:lnTo>
                  <a:lnTo>
                    <a:pt x="34369" y="98351"/>
                  </a:lnTo>
                  <a:lnTo>
                    <a:pt x="27236" y="127965"/>
                  </a:lnTo>
                  <a:lnTo>
                    <a:pt x="10592" y="16017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5" name="Полилиния: фигура 205"/>
            <p:cNvSpPr/>
            <p:nvPr/>
          </p:nvSpPr>
          <p:spPr bwMode="auto">
            <a:xfrm>
              <a:off x="2879558" y="5578604"/>
              <a:ext cx="97486" cy="96189"/>
            </a:xfrm>
            <a:custGeom>
              <a:avLst/>
              <a:gdLst>
                <a:gd name="connsiteX0" fmla="*/ 0 w 97486"/>
                <a:gd name="connsiteY0" fmla="*/ 3459 h 96189"/>
                <a:gd name="connsiteX1" fmla="*/ 0 w 97486"/>
                <a:gd name="connsiteY1" fmla="*/ 16536 h 96189"/>
                <a:gd name="connsiteX2" fmla="*/ 13077 w 97486"/>
                <a:gd name="connsiteY2" fmla="*/ 27236 h 96189"/>
                <a:gd name="connsiteX3" fmla="*/ 34477 w 97486"/>
                <a:gd name="connsiteY3" fmla="*/ 33180 h 96189"/>
                <a:gd name="connsiteX4" fmla="*/ 52310 w 97486"/>
                <a:gd name="connsiteY4" fmla="*/ 33180 h 96189"/>
                <a:gd name="connsiteX5" fmla="*/ 60632 w 97486"/>
                <a:gd name="connsiteY5" fmla="*/ 51013 h 96189"/>
                <a:gd name="connsiteX6" fmla="*/ 60632 w 97486"/>
                <a:gd name="connsiteY6" fmla="*/ 52202 h 96189"/>
                <a:gd name="connsiteX7" fmla="*/ 40421 w 97486"/>
                <a:gd name="connsiteY7" fmla="*/ 67657 h 96189"/>
                <a:gd name="connsiteX8" fmla="*/ 35666 w 97486"/>
                <a:gd name="connsiteY8" fmla="*/ 87868 h 96189"/>
                <a:gd name="connsiteX9" fmla="*/ 60632 w 97486"/>
                <a:gd name="connsiteY9" fmla="*/ 96190 h 96189"/>
                <a:gd name="connsiteX10" fmla="*/ 73709 w 97486"/>
                <a:gd name="connsiteY10" fmla="*/ 90245 h 96189"/>
                <a:gd name="connsiteX11" fmla="*/ 79654 w 97486"/>
                <a:gd name="connsiteY11" fmla="*/ 68846 h 96189"/>
                <a:gd name="connsiteX12" fmla="*/ 91542 w 97486"/>
                <a:gd name="connsiteY12" fmla="*/ 53391 h 96189"/>
                <a:gd name="connsiteX13" fmla="*/ 97487 w 97486"/>
                <a:gd name="connsiteY13" fmla="*/ 41502 h 96189"/>
                <a:gd name="connsiteX14" fmla="*/ 93920 w 97486"/>
                <a:gd name="connsiteY14" fmla="*/ 23777 h 96189"/>
                <a:gd name="connsiteX15" fmla="*/ 63118 w 97486"/>
                <a:gd name="connsiteY15" fmla="*/ 4755 h 96189"/>
                <a:gd name="connsiteX16" fmla="*/ 40529 w 97486"/>
                <a:gd name="connsiteY16" fmla="*/ 0 h 96189"/>
                <a:gd name="connsiteX17" fmla="*/ 1405 w 97486"/>
                <a:gd name="connsiteY17" fmla="*/ 1189 h 96189"/>
                <a:gd name="connsiteX18" fmla="*/ 0 w 97486"/>
                <a:gd name="connsiteY18" fmla="*/ 3459 h 96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7486" h="96189" extrusionOk="0">
                  <a:moveTo>
                    <a:pt x="0" y="3459"/>
                  </a:moveTo>
                  <a:lnTo>
                    <a:pt x="0" y="16536"/>
                  </a:lnTo>
                  <a:lnTo>
                    <a:pt x="13077" y="27236"/>
                  </a:lnTo>
                  <a:lnTo>
                    <a:pt x="34477" y="33180"/>
                  </a:lnTo>
                  <a:lnTo>
                    <a:pt x="52310" y="33180"/>
                  </a:lnTo>
                  <a:lnTo>
                    <a:pt x="60632" y="51013"/>
                  </a:lnTo>
                  <a:lnTo>
                    <a:pt x="60632" y="52202"/>
                  </a:lnTo>
                  <a:lnTo>
                    <a:pt x="40421" y="67657"/>
                  </a:lnTo>
                  <a:lnTo>
                    <a:pt x="35666" y="87868"/>
                  </a:lnTo>
                  <a:lnTo>
                    <a:pt x="60632" y="96190"/>
                  </a:lnTo>
                  <a:lnTo>
                    <a:pt x="73709" y="90245"/>
                  </a:lnTo>
                  <a:lnTo>
                    <a:pt x="79654" y="68846"/>
                  </a:lnTo>
                  <a:lnTo>
                    <a:pt x="91542" y="53391"/>
                  </a:lnTo>
                  <a:lnTo>
                    <a:pt x="97487" y="41502"/>
                  </a:lnTo>
                  <a:lnTo>
                    <a:pt x="93920" y="23777"/>
                  </a:lnTo>
                  <a:lnTo>
                    <a:pt x="63118" y="4755"/>
                  </a:lnTo>
                  <a:lnTo>
                    <a:pt x="40529" y="0"/>
                  </a:lnTo>
                  <a:lnTo>
                    <a:pt x="1405" y="1189"/>
                  </a:lnTo>
                  <a:lnTo>
                    <a:pt x="0" y="345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6" name="Полилиния: фигура 206"/>
            <p:cNvSpPr/>
            <p:nvPr/>
          </p:nvSpPr>
          <p:spPr bwMode="auto">
            <a:xfrm>
              <a:off x="3196335" y="5666255"/>
              <a:ext cx="90137" cy="143636"/>
            </a:xfrm>
            <a:custGeom>
              <a:avLst/>
              <a:gdLst>
                <a:gd name="connsiteX0" fmla="*/ 68738 w 90137"/>
                <a:gd name="connsiteY0" fmla="*/ 9511 h 143636"/>
                <a:gd name="connsiteX1" fmla="*/ 68738 w 90137"/>
                <a:gd name="connsiteY1" fmla="*/ 33288 h 143636"/>
                <a:gd name="connsiteX2" fmla="*/ 60416 w 90137"/>
                <a:gd name="connsiteY2" fmla="*/ 48743 h 143636"/>
                <a:gd name="connsiteX3" fmla="*/ 62794 w 90137"/>
                <a:gd name="connsiteY3" fmla="*/ 74790 h 143636"/>
                <a:gd name="connsiteX4" fmla="*/ 69927 w 90137"/>
                <a:gd name="connsiteY4" fmla="*/ 83112 h 143636"/>
                <a:gd name="connsiteX5" fmla="*/ 71116 w 90137"/>
                <a:gd name="connsiteY5" fmla="*/ 100945 h 143636"/>
                <a:gd name="connsiteX6" fmla="*/ 79438 w 90137"/>
                <a:gd name="connsiteY6" fmla="*/ 115212 h 143636"/>
                <a:gd name="connsiteX7" fmla="*/ 79438 w 90137"/>
                <a:gd name="connsiteY7" fmla="*/ 124722 h 143636"/>
                <a:gd name="connsiteX8" fmla="*/ 90137 w 90137"/>
                <a:gd name="connsiteY8" fmla="*/ 143636 h 143636"/>
                <a:gd name="connsiteX9" fmla="*/ 62902 w 90137"/>
                <a:gd name="connsiteY9" fmla="*/ 130558 h 143636"/>
                <a:gd name="connsiteX10" fmla="*/ 15455 w 90137"/>
                <a:gd name="connsiteY10" fmla="*/ 117481 h 143636"/>
                <a:gd name="connsiteX11" fmla="*/ 16644 w 90137"/>
                <a:gd name="connsiteY11" fmla="*/ 70035 h 143636"/>
                <a:gd name="connsiteX12" fmla="*/ 4755 w 90137"/>
                <a:gd name="connsiteY12" fmla="*/ 58146 h 143636"/>
                <a:gd name="connsiteX13" fmla="*/ 1189 w 90137"/>
                <a:gd name="connsiteY13" fmla="*/ 22588 h 143636"/>
                <a:gd name="connsiteX14" fmla="*/ 0 w 90137"/>
                <a:gd name="connsiteY14" fmla="*/ 15455 h 143636"/>
                <a:gd name="connsiteX15" fmla="*/ 29614 w 90137"/>
                <a:gd name="connsiteY15" fmla="*/ 0 h 143636"/>
                <a:gd name="connsiteX16" fmla="*/ 68738 w 90137"/>
                <a:gd name="connsiteY16" fmla="*/ 9511 h 143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0137" h="143636" extrusionOk="0">
                  <a:moveTo>
                    <a:pt x="68738" y="9511"/>
                  </a:moveTo>
                  <a:lnTo>
                    <a:pt x="68738" y="33288"/>
                  </a:lnTo>
                  <a:lnTo>
                    <a:pt x="60416" y="48743"/>
                  </a:lnTo>
                  <a:lnTo>
                    <a:pt x="62794" y="74790"/>
                  </a:lnTo>
                  <a:lnTo>
                    <a:pt x="69927" y="83112"/>
                  </a:lnTo>
                  <a:lnTo>
                    <a:pt x="71116" y="100945"/>
                  </a:lnTo>
                  <a:lnTo>
                    <a:pt x="79438" y="115212"/>
                  </a:lnTo>
                  <a:lnTo>
                    <a:pt x="79438" y="124722"/>
                  </a:lnTo>
                  <a:lnTo>
                    <a:pt x="90137" y="143636"/>
                  </a:lnTo>
                  <a:lnTo>
                    <a:pt x="62902" y="130558"/>
                  </a:lnTo>
                  <a:lnTo>
                    <a:pt x="15455" y="117481"/>
                  </a:lnTo>
                  <a:lnTo>
                    <a:pt x="16644" y="70035"/>
                  </a:lnTo>
                  <a:lnTo>
                    <a:pt x="4755" y="58146"/>
                  </a:lnTo>
                  <a:lnTo>
                    <a:pt x="1189" y="22588"/>
                  </a:lnTo>
                  <a:lnTo>
                    <a:pt x="0" y="15455"/>
                  </a:lnTo>
                  <a:lnTo>
                    <a:pt x="29614" y="0"/>
                  </a:lnTo>
                  <a:lnTo>
                    <a:pt x="68738" y="951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7" name="Полилиния: фигура 207"/>
            <p:cNvSpPr/>
            <p:nvPr/>
          </p:nvSpPr>
          <p:spPr bwMode="auto">
            <a:xfrm>
              <a:off x="3231677" y="4553589"/>
              <a:ext cx="220803" cy="130666"/>
            </a:xfrm>
            <a:custGeom>
              <a:avLst/>
              <a:gdLst>
                <a:gd name="connsiteX0" fmla="*/ 71332 w 220803"/>
                <a:gd name="connsiteY0" fmla="*/ 22588 h 130666"/>
                <a:gd name="connsiteX1" fmla="*/ 116400 w 220803"/>
                <a:gd name="connsiteY1" fmla="*/ 24966 h 130666"/>
                <a:gd name="connsiteX2" fmla="*/ 134233 w 220803"/>
                <a:gd name="connsiteY2" fmla="*/ 16644 h 130666"/>
                <a:gd name="connsiteX3" fmla="*/ 144933 w 220803"/>
                <a:gd name="connsiteY3" fmla="*/ 2378 h 130666"/>
                <a:gd name="connsiteX4" fmla="*/ 170980 w 220803"/>
                <a:gd name="connsiteY4" fmla="*/ 0 h 130666"/>
                <a:gd name="connsiteX5" fmla="*/ 186435 w 220803"/>
                <a:gd name="connsiteY5" fmla="*/ 9511 h 130666"/>
                <a:gd name="connsiteX6" fmla="*/ 218426 w 220803"/>
                <a:gd name="connsiteY6" fmla="*/ 48635 h 130666"/>
                <a:gd name="connsiteX7" fmla="*/ 218426 w 220803"/>
                <a:gd name="connsiteY7" fmla="*/ 48635 h 130666"/>
                <a:gd name="connsiteX8" fmla="*/ 220804 w 220803"/>
                <a:gd name="connsiteY8" fmla="*/ 59335 h 130666"/>
                <a:gd name="connsiteX9" fmla="*/ 194757 w 220803"/>
                <a:gd name="connsiteY9" fmla="*/ 73601 h 130666"/>
                <a:gd name="connsiteX10" fmla="*/ 191191 w 220803"/>
                <a:gd name="connsiteY10" fmla="*/ 73601 h 130666"/>
                <a:gd name="connsiteX11" fmla="*/ 173358 w 220803"/>
                <a:gd name="connsiteY11" fmla="*/ 83112 h 130666"/>
                <a:gd name="connsiteX12" fmla="*/ 170980 w 220803"/>
                <a:gd name="connsiteY12" fmla="*/ 98567 h 130666"/>
                <a:gd name="connsiteX13" fmla="*/ 155525 w 220803"/>
                <a:gd name="connsiteY13" fmla="*/ 119967 h 130666"/>
                <a:gd name="connsiteX14" fmla="*/ 147203 w 220803"/>
                <a:gd name="connsiteY14" fmla="*/ 130667 h 130666"/>
                <a:gd name="connsiteX15" fmla="*/ 135314 w 220803"/>
                <a:gd name="connsiteY15" fmla="*/ 130667 h 130666"/>
                <a:gd name="connsiteX16" fmla="*/ 116292 w 220803"/>
                <a:gd name="connsiteY16" fmla="*/ 102242 h 130666"/>
                <a:gd name="connsiteX17" fmla="*/ 91434 w 220803"/>
                <a:gd name="connsiteY17" fmla="*/ 96298 h 130666"/>
                <a:gd name="connsiteX18" fmla="*/ 67657 w 220803"/>
                <a:gd name="connsiteY18" fmla="*/ 82031 h 130666"/>
                <a:gd name="connsiteX19" fmla="*/ 21399 w 220803"/>
                <a:gd name="connsiteY19" fmla="*/ 122345 h 130666"/>
                <a:gd name="connsiteX20" fmla="*/ 11889 w 220803"/>
                <a:gd name="connsiteY20" fmla="*/ 76087 h 130666"/>
                <a:gd name="connsiteX21" fmla="*/ 0 w 220803"/>
                <a:gd name="connsiteY21" fmla="*/ 59443 h 130666"/>
                <a:gd name="connsiteX22" fmla="*/ 0 w 220803"/>
                <a:gd name="connsiteY22" fmla="*/ 46366 h 130666"/>
                <a:gd name="connsiteX23" fmla="*/ 71332 w 220803"/>
                <a:gd name="connsiteY23" fmla="*/ 22588 h 13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0803" h="130666" extrusionOk="0">
                  <a:moveTo>
                    <a:pt x="71332" y="22588"/>
                  </a:moveTo>
                  <a:lnTo>
                    <a:pt x="116400" y="24966"/>
                  </a:lnTo>
                  <a:lnTo>
                    <a:pt x="134233" y="16644"/>
                  </a:lnTo>
                  <a:lnTo>
                    <a:pt x="144933" y="2378"/>
                  </a:lnTo>
                  <a:lnTo>
                    <a:pt x="170980" y="0"/>
                  </a:lnTo>
                  <a:lnTo>
                    <a:pt x="186435" y="9511"/>
                  </a:lnTo>
                  <a:lnTo>
                    <a:pt x="218426" y="48635"/>
                  </a:lnTo>
                  <a:lnTo>
                    <a:pt x="218426" y="48635"/>
                  </a:lnTo>
                  <a:lnTo>
                    <a:pt x="220804" y="59335"/>
                  </a:lnTo>
                  <a:lnTo>
                    <a:pt x="194757" y="73601"/>
                  </a:lnTo>
                  <a:lnTo>
                    <a:pt x="191191" y="73601"/>
                  </a:lnTo>
                  <a:lnTo>
                    <a:pt x="173358" y="83112"/>
                  </a:lnTo>
                  <a:lnTo>
                    <a:pt x="170980" y="98567"/>
                  </a:lnTo>
                  <a:lnTo>
                    <a:pt x="155525" y="119967"/>
                  </a:lnTo>
                  <a:lnTo>
                    <a:pt x="147203" y="130667"/>
                  </a:lnTo>
                  <a:lnTo>
                    <a:pt x="135314" y="130667"/>
                  </a:lnTo>
                  <a:lnTo>
                    <a:pt x="116292" y="102242"/>
                  </a:lnTo>
                  <a:lnTo>
                    <a:pt x="91434" y="96298"/>
                  </a:lnTo>
                  <a:lnTo>
                    <a:pt x="67657" y="82031"/>
                  </a:lnTo>
                  <a:lnTo>
                    <a:pt x="21399" y="122345"/>
                  </a:lnTo>
                  <a:lnTo>
                    <a:pt x="11889" y="76087"/>
                  </a:lnTo>
                  <a:lnTo>
                    <a:pt x="0" y="59443"/>
                  </a:lnTo>
                  <a:lnTo>
                    <a:pt x="0" y="46366"/>
                  </a:lnTo>
                  <a:lnTo>
                    <a:pt x="71332" y="22588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8" name="Полилиния: фигура 208"/>
            <p:cNvSpPr/>
            <p:nvPr/>
          </p:nvSpPr>
          <p:spPr bwMode="auto">
            <a:xfrm>
              <a:off x="5262576" y="4972177"/>
              <a:ext cx="324018" cy="295701"/>
            </a:xfrm>
            <a:custGeom>
              <a:avLst/>
              <a:gdLst>
                <a:gd name="connsiteX0" fmla="*/ 149472 w 324018"/>
                <a:gd name="connsiteY0" fmla="*/ 254092 h 295702"/>
                <a:gd name="connsiteX1" fmla="*/ 125803 w 324018"/>
                <a:gd name="connsiteY1" fmla="*/ 243392 h 295702"/>
                <a:gd name="connsiteX2" fmla="*/ 73601 w 324018"/>
                <a:gd name="connsiteY2" fmla="*/ 220804 h 295702"/>
                <a:gd name="connsiteX3" fmla="*/ 20211 w 324018"/>
                <a:gd name="connsiteY3" fmla="*/ 200593 h 295702"/>
                <a:gd name="connsiteX4" fmla="*/ 0 w 324018"/>
                <a:gd name="connsiteY4" fmla="*/ 191082 h 295702"/>
                <a:gd name="connsiteX5" fmla="*/ 4755 w 324018"/>
                <a:gd name="connsiteY5" fmla="*/ 181571 h 295702"/>
                <a:gd name="connsiteX6" fmla="*/ 5945 w 324018"/>
                <a:gd name="connsiteY6" fmla="*/ 181571 h 295702"/>
                <a:gd name="connsiteX7" fmla="*/ 48635 w 324018"/>
                <a:gd name="connsiteY7" fmla="*/ 167305 h 295702"/>
                <a:gd name="connsiteX8" fmla="*/ 15455 w 324018"/>
                <a:gd name="connsiteY8" fmla="*/ 143528 h 295702"/>
                <a:gd name="connsiteX9" fmla="*/ 9511 w 324018"/>
                <a:gd name="connsiteY9" fmla="*/ 130451 h 295702"/>
                <a:gd name="connsiteX10" fmla="*/ 24966 w 324018"/>
                <a:gd name="connsiteY10" fmla="*/ 106781 h 295702"/>
                <a:gd name="connsiteX11" fmla="*/ 93812 w 324018"/>
                <a:gd name="connsiteY11" fmla="*/ 70035 h 295702"/>
                <a:gd name="connsiteX12" fmla="*/ 112834 w 324018"/>
                <a:gd name="connsiteY12" fmla="*/ 38043 h 295702"/>
                <a:gd name="connsiteX13" fmla="*/ 147203 w 324018"/>
                <a:gd name="connsiteY13" fmla="*/ 32099 h 295702"/>
                <a:gd name="connsiteX14" fmla="*/ 150769 w 324018"/>
                <a:gd name="connsiteY14" fmla="*/ 20211 h 295702"/>
                <a:gd name="connsiteX15" fmla="*/ 168602 w 324018"/>
                <a:gd name="connsiteY15" fmla="*/ 0 h 295702"/>
                <a:gd name="connsiteX16" fmla="*/ 214860 w 324018"/>
                <a:gd name="connsiteY16" fmla="*/ 0 h 295702"/>
                <a:gd name="connsiteX17" fmla="*/ 229126 w 324018"/>
                <a:gd name="connsiteY17" fmla="*/ 9511 h 295702"/>
                <a:gd name="connsiteX18" fmla="*/ 236259 w 324018"/>
                <a:gd name="connsiteY18" fmla="*/ 27344 h 295702"/>
                <a:gd name="connsiteX19" fmla="*/ 214860 w 324018"/>
                <a:gd name="connsiteY19" fmla="*/ 38043 h 295702"/>
                <a:gd name="connsiteX20" fmla="*/ 210104 w 324018"/>
                <a:gd name="connsiteY20" fmla="*/ 47554 h 295702"/>
                <a:gd name="connsiteX21" fmla="*/ 216049 w 324018"/>
                <a:gd name="connsiteY21" fmla="*/ 64199 h 295702"/>
                <a:gd name="connsiteX22" fmla="*/ 214860 w 324018"/>
                <a:gd name="connsiteY22" fmla="*/ 91434 h 295702"/>
                <a:gd name="connsiteX23" fmla="*/ 226748 w 324018"/>
                <a:gd name="connsiteY23" fmla="*/ 104512 h 295702"/>
                <a:gd name="connsiteX24" fmla="*/ 256470 w 324018"/>
                <a:gd name="connsiteY24" fmla="*/ 103323 h 295702"/>
                <a:gd name="connsiteX25" fmla="*/ 274195 w 324018"/>
                <a:gd name="connsiteY25" fmla="*/ 108078 h 295702"/>
                <a:gd name="connsiteX26" fmla="*/ 281328 w 324018"/>
                <a:gd name="connsiteY26" fmla="*/ 122345 h 295702"/>
                <a:gd name="connsiteX27" fmla="*/ 284895 w 324018"/>
                <a:gd name="connsiteY27" fmla="*/ 163847 h 295702"/>
                <a:gd name="connsiteX28" fmla="*/ 294405 w 324018"/>
                <a:gd name="connsiteY28" fmla="*/ 178113 h 295702"/>
                <a:gd name="connsiteX29" fmla="*/ 296783 w 324018"/>
                <a:gd name="connsiteY29" fmla="*/ 194757 h 295702"/>
                <a:gd name="connsiteX30" fmla="*/ 324019 w 324018"/>
                <a:gd name="connsiteY30" fmla="*/ 195946 h 295702"/>
                <a:gd name="connsiteX31" fmla="*/ 322830 w 324018"/>
                <a:gd name="connsiteY31" fmla="*/ 213779 h 295702"/>
                <a:gd name="connsiteX32" fmla="*/ 322830 w 324018"/>
                <a:gd name="connsiteY32" fmla="*/ 251714 h 295702"/>
                <a:gd name="connsiteX33" fmla="*/ 320452 w 324018"/>
                <a:gd name="connsiteY33" fmla="*/ 265981 h 295702"/>
                <a:gd name="connsiteX34" fmla="*/ 301431 w 324018"/>
                <a:gd name="connsiteY34" fmla="*/ 276681 h 295702"/>
                <a:gd name="connsiteX35" fmla="*/ 273006 w 324018"/>
                <a:gd name="connsiteY35" fmla="*/ 281436 h 295702"/>
                <a:gd name="connsiteX36" fmla="*/ 262306 w 324018"/>
                <a:gd name="connsiteY36" fmla="*/ 277869 h 295702"/>
                <a:gd name="connsiteX37" fmla="*/ 252795 w 324018"/>
                <a:gd name="connsiteY37" fmla="*/ 282625 h 295702"/>
                <a:gd name="connsiteX38" fmla="*/ 233882 w 324018"/>
                <a:gd name="connsiteY38" fmla="*/ 294513 h 295702"/>
                <a:gd name="connsiteX39" fmla="*/ 221993 w 324018"/>
                <a:gd name="connsiteY39" fmla="*/ 295702 h 295702"/>
                <a:gd name="connsiteX40" fmla="*/ 190002 w 324018"/>
                <a:gd name="connsiteY40" fmla="*/ 275491 h 295702"/>
                <a:gd name="connsiteX41" fmla="*/ 153255 w 324018"/>
                <a:gd name="connsiteY41" fmla="*/ 256470 h 295702"/>
                <a:gd name="connsiteX42" fmla="*/ 149472 w 324018"/>
                <a:gd name="connsiteY42" fmla="*/ 254092 h 295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324018" h="295702" extrusionOk="0">
                  <a:moveTo>
                    <a:pt x="149472" y="254092"/>
                  </a:moveTo>
                  <a:lnTo>
                    <a:pt x="125803" y="243392"/>
                  </a:lnTo>
                  <a:lnTo>
                    <a:pt x="73601" y="220804"/>
                  </a:lnTo>
                  <a:lnTo>
                    <a:pt x="20211" y="200593"/>
                  </a:lnTo>
                  <a:lnTo>
                    <a:pt x="0" y="191082"/>
                  </a:lnTo>
                  <a:lnTo>
                    <a:pt x="4755" y="181571"/>
                  </a:lnTo>
                  <a:lnTo>
                    <a:pt x="5945" y="181571"/>
                  </a:lnTo>
                  <a:lnTo>
                    <a:pt x="48635" y="167305"/>
                  </a:lnTo>
                  <a:lnTo>
                    <a:pt x="15455" y="143528"/>
                  </a:lnTo>
                  <a:lnTo>
                    <a:pt x="9511" y="130451"/>
                  </a:lnTo>
                  <a:lnTo>
                    <a:pt x="24966" y="106781"/>
                  </a:lnTo>
                  <a:lnTo>
                    <a:pt x="93812" y="70035"/>
                  </a:lnTo>
                  <a:lnTo>
                    <a:pt x="112834" y="38043"/>
                  </a:lnTo>
                  <a:lnTo>
                    <a:pt x="147203" y="32099"/>
                  </a:lnTo>
                  <a:lnTo>
                    <a:pt x="150769" y="20211"/>
                  </a:lnTo>
                  <a:lnTo>
                    <a:pt x="168602" y="0"/>
                  </a:lnTo>
                  <a:lnTo>
                    <a:pt x="214860" y="0"/>
                  </a:lnTo>
                  <a:lnTo>
                    <a:pt x="229126" y="9511"/>
                  </a:lnTo>
                  <a:lnTo>
                    <a:pt x="236259" y="27344"/>
                  </a:lnTo>
                  <a:lnTo>
                    <a:pt x="214860" y="38043"/>
                  </a:lnTo>
                  <a:lnTo>
                    <a:pt x="210104" y="47554"/>
                  </a:lnTo>
                  <a:lnTo>
                    <a:pt x="216049" y="64199"/>
                  </a:lnTo>
                  <a:lnTo>
                    <a:pt x="214860" y="91434"/>
                  </a:lnTo>
                  <a:lnTo>
                    <a:pt x="226748" y="104512"/>
                  </a:lnTo>
                  <a:lnTo>
                    <a:pt x="256470" y="103323"/>
                  </a:lnTo>
                  <a:lnTo>
                    <a:pt x="274195" y="108078"/>
                  </a:lnTo>
                  <a:lnTo>
                    <a:pt x="281328" y="122345"/>
                  </a:lnTo>
                  <a:lnTo>
                    <a:pt x="284895" y="163847"/>
                  </a:lnTo>
                  <a:lnTo>
                    <a:pt x="294405" y="178113"/>
                  </a:lnTo>
                  <a:lnTo>
                    <a:pt x="296783" y="194757"/>
                  </a:lnTo>
                  <a:lnTo>
                    <a:pt x="324019" y="195946"/>
                  </a:lnTo>
                  <a:lnTo>
                    <a:pt x="322830" y="213779"/>
                  </a:lnTo>
                  <a:lnTo>
                    <a:pt x="322830" y="251714"/>
                  </a:lnTo>
                  <a:lnTo>
                    <a:pt x="320452" y="265981"/>
                  </a:lnTo>
                  <a:lnTo>
                    <a:pt x="301431" y="276681"/>
                  </a:lnTo>
                  <a:lnTo>
                    <a:pt x="273006" y="281436"/>
                  </a:lnTo>
                  <a:lnTo>
                    <a:pt x="262306" y="277869"/>
                  </a:lnTo>
                  <a:lnTo>
                    <a:pt x="252795" y="282625"/>
                  </a:lnTo>
                  <a:lnTo>
                    <a:pt x="233882" y="294513"/>
                  </a:lnTo>
                  <a:lnTo>
                    <a:pt x="221993" y="295702"/>
                  </a:lnTo>
                  <a:lnTo>
                    <a:pt x="190002" y="275491"/>
                  </a:lnTo>
                  <a:lnTo>
                    <a:pt x="153255" y="256470"/>
                  </a:lnTo>
                  <a:lnTo>
                    <a:pt x="149472" y="25409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39" name="Полилиния: фигура 209"/>
            <p:cNvSpPr/>
            <p:nvPr/>
          </p:nvSpPr>
          <p:spPr bwMode="auto">
            <a:xfrm>
              <a:off x="6038254" y="4528407"/>
              <a:ext cx="959519" cy="677867"/>
            </a:xfrm>
            <a:custGeom>
              <a:avLst/>
              <a:gdLst>
                <a:gd name="connsiteX0" fmla="*/ 43988 w 959519"/>
                <a:gd name="connsiteY0" fmla="*/ 398917 h 677867"/>
                <a:gd name="connsiteX1" fmla="*/ 26155 w 959519"/>
                <a:gd name="connsiteY1" fmla="*/ 423775 h 677867"/>
                <a:gd name="connsiteX2" fmla="*/ 15455 w 959519"/>
                <a:gd name="connsiteY2" fmla="*/ 435664 h 677867"/>
                <a:gd name="connsiteX3" fmla="*/ 0 w 959519"/>
                <a:gd name="connsiteY3" fmla="*/ 459441 h 677867"/>
                <a:gd name="connsiteX4" fmla="*/ 16644 w 959519"/>
                <a:gd name="connsiteY4" fmla="*/ 496187 h 677867"/>
                <a:gd name="connsiteX5" fmla="*/ 55768 w 959519"/>
                <a:gd name="connsiteY5" fmla="*/ 509265 h 677867"/>
                <a:gd name="connsiteX6" fmla="*/ 117481 w 959519"/>
                <a:gd name="connsiteY6" fmla="*/ 535312 h 677867"/>
                <a:gd name="connsiteX7" fmla="*/ 164927 w 959519"/>
                <a:gd name="connsiteY7" fmla="*/ 551956 h 677867"/>
                <a:gd name="connsiteX8" fmla="*/ 192163 w 959519"/>
                <a:gd name="connsiteY8" fmla="*/ 561467 h 677867"/>
                <a:gd name="connsiteX9" fmla="*/ 201674 w 959519"/>
                <a:gd name="connsiteY9" fmla="*/ 572167 h 677867"/>
                <a:gd name="connsiteX10" fmla="*/ 212374 w 959519"/>
                <a:gd name="connsiteY10" fmla="*/ 593566 h 677867"/>
                <a:gd name="connsiteX11" fmla="*/ 220696 w 959519"/>
                <a:gd name="connsiteY11" fmla="*/ 617235 h 677867"/>
                <a:gd name="connsiteX12" fmla="*/ 240906 w 959519"/>
                <a:gd name="connsiteY12" fmla="*/ 635068 h 677867"/>
                <a:gd name="connsiteX13" fmla="*/ 275275 w 959519"/>
                <a:gd name="connsiteY13" fmla="*/ 654090 h 677867"/>
                <a:gd name="connsiteX14" fmla="*/ 314400 w 959519"/>
                <a:gd name="connsiteY14" fmla="*/ 662412 h 677867"/>
                <a:gd name="connsiteX15" fmla="*/ 358279 w 959519"/>
                <a:gd name="connsiteY15" fmla="*/ 655279 h 677867"/>
                <a:gd name="connsiteX16" fmla="*/ 386812 w 959519"/>
                <a:gd name="connsiteY16" fmla="*/ 651712 h 677867"/>
                <a:gd name="connsiteX17" fmla="*/ 409292 w 959519"/>
                <a:gd name="connsiteY17" fmla="*/ 643390 h 677867"/>
                <a:gd name="connsiteX18" fmla="*/ 440095 w 959519"/>
                <a:gd name="connsiteY18" fmla="*/ 648146 h 677867"/>
                <a:gd name="connsiteX19" fmla="*/ 460305 w 959519"/>
                <a:gd name="connsiteY19" fmla="*/ 669545 h 677867"/>
                <a:gd name="connsiteX20" fmla="*/ 481705 w 959519"/>
                <a:gd name="connsiteY20" fmla="*/ 677867 h 677867"/>
                <a:gd name="connsiteX21" fmla="*/ 507752 w 959519"/>
                <a:gd name="connsiteY21" fmla="*/ 645876 h 677867"/>
                <a:gd name="connsiteX22" fmla="*/ 519640 w 959519"/>
                <a:gd name="connsiteY22" fmla="*/ 625665 h 677867"/>
                <a:gd name="connsiteX23" fmla="*/ 510129 w 959519"/>
                <a:gd name="connsiteY23" fmla="*/ 611399 h 677867"/>
                <a:gd name="connsiteX24" fmla="*/ 510129 w 959519"/>
                <a:gd name="connsiteY24" fmla="*/ 611399 h 677867"/>
                <a:gd name="connsiteX25" fmla="*/ 497052 w 959519"/>
                <a:gd name="connsiteY25" fmla="*/ 610210 h 677867"/>
                <a:gd name="connsiteX26" fmla="*/ 492296 w 959519"/>
                <a:gd name="connsiteY26" fmla="*/ 582974 h 677867"/>
                <a:gd name="connsiteX27" fmla="*/ 498241 w 959519"/>
                <a:gd name="connsiteY27" fmla="*/ 567519 h 677867"/>
                <a:gd name="connsiteX28" fmla="*/ 523099 w 959519"/>
                <a:gd name="connsiteY28" fmla="*/ 559197 h 677867"/>
                <a:gd name="connsiteX29" fmla="*/ 562223 w 959519"/>
                <a:gd name="connsiteY29" fmla="*/ 555631 h 677867"/>
                <a:gd name="connsiteX30" fmla="*/ 578867 w 959519"/>
                <a:gd name="connsiteY30" fmla="*/ 550875 h 677867"/>
                <a:gd name="connsiteX31" fmla="*/ 610858 w 959519"/>
                <a:gd name="connsiteY31" fmla="*/ 527098 h 677867"/>
                <a:gd name="connsiteX32" fmla="*/ 635716 w 959519"/>
                <a:gd name="connsiteY32" fmla="*/ 508184 h 677867"/>
                <a:gd name="connsiteX33" fmla="*/ 671274 w 959519"/>
                <a:gd name="connsiteY33" fmla="*/ 502240 h 677867"/>
                <a:gd name="connsiteX34" fmla="*/ 704454 w 959519"/>
                <a:gd name="connsiteY34" fmla="*/ 486785 h 677867"/>
                <a:gd name="connsiteX35" fmla="*/ 745956 w 959519"/>
                <a:gd name="connsiteY35" fmla="*/ 455982 h 677867"/>
                <a:gd name="connsiteX36" fmla="*/ 780325 w 959519"/>
                <a:gd name="connsiteY36" fmla="*/ 453605 h 677867"/>
                <a:gd name="connsiteX37" fmla="*/ 796969 w 959519"/>
                <a:gd name="connsiteY37" fmla="*/ 448849 h 677867"/>
                <a:gd name="connsiteX38" fmla="*/ 807669 w 959519"/>
                <a:gd name="connsiteY38" fmla="*/ 434583 h 677867"/>
                <a:gd name="connsiteX39" fmla="*/ 807669 w 959519"/>
                <a:gd name="connsiteY39" fmla="*/ 432205 h 677867"/>
                <a:gd name="connsiteX40" fmla="*/ 829068 w 959519"/>
                <a:gd name="connsiteY40" fmla="*/ 380003 h 677867"/>
                <a:gd name="connsiteX41" fmla="*/ 804211 w 959519"/>
                <a:gd name="connsiteY41" fmla="*/ 370492 h 677867"/>
                <a:gd name="connsiteX42" fmla="*/ 800644 w 959519"/>
                <a:gd name="connsiteY42" fmla="*/ 362170 h 677867"/>
                <a:gd name="connsiteX43" fmla="*/ 808966 w 959519"/>
                <a:gd name="connsiteY43" fmla="*/ 349093 h 677867"/>
                <a:gd name="connsiteX44" fmla="*/ 852846 w 959519"/>
                <a:gd name="connsiteY44" fmla="*/ 331260 h 677867"/>
                <a:gd name="connsiteX45" fmla="*/ 886026 w 959519"/>
                <a:gd name="connsiteY45" fmla="*/ 309860 h 677867"/>
                <a:gd name="connsiteX46" fmla="*/ 916828 w 959519"/>
                <a:gd name="connsiteY46" fmla="*/ 276681 h 677867"/>
                <a:gd name="connsiteX47" fmla="*/ 950008 w 959519"/>
                <a:gd name="connsiteY47" fmla="*/ 268358 h 677867"/>
                <a:gd name="connsiteX48" fmla="*/ 955952 w 959519"/>
                <a:gd name="connsiteY48" fmla="*/ 260036 h 677867"/>
                <a:gd name="connsiteX49" fmla="*/ 959519 w 959519"/>
                <a:gd name="connsiteY49" fmla="*/ 236259 h 677867"/>
                <a:gd name="connsiteX50" fmla="*/ 954764 w 959519"/>
                <a:gd name="connsiteY50" fmla="*/ 218534 h 677867"/>
                <a:gd name="connsiteX51" fmla="*/ 953575 w 959519"/>
                <a:gd name="connsiteY51" fmla="*/ 217345 h 677867"/>
                <a:gd name="connsiteX52" fmla="*/ 947630 w 959519"/>
                <a:gd name="connsiteY52" fmla="*/ 209023 h 677867"/>
                <a:gd name="connsiteX53" fmla="*/ 925042 w 959519"/>
                <a:gd name="connsiteY53" fmla="*/ 204268 h 677867"/>
                <a:gd name="connsiteX54" fmla="*/ 908398 w 959519"/>
                <a:gd name="connsiteY54" fmla="*/ 185246 h 677867"/>
                <a:gd name="connsiteX55" fmla="*/ 908398 w 959519"/>
                <a:gd name="connsiteY55" fmla="*/ 184057 h 677867"/>
                <a:gd name="connsiteX56" fmla="*/ 904831 w 959519"/>
                <a:gd name="connsiteY56" fmla="*/ 155525 h 677867"/>
                <a:gd name="connsiteX57" fmla="*/ 904831 w 959519"/>
                <a:gd name="connsiteY57" fmla="*/ 154336 h 677867"/>
                <a:gd name="connsiteX58" fmla="*/ 897698 w 959519"/>
                <a:gd name="connsiteY58" fmla="*/ 141258 h 677867"/>
                <a:gd name="connsiteX59" fmla="*/ 897698 w 959519"/>
                <a:gd name="connsiteY59" fmla="*/ 140069 h 677867"/>
                <a:gd name="connsiteX60" fmla="*/ 890565 w 959519"/>
                <a:gd name="connsiteY60" fmla="*/ 122237 h 677867"/>
                <a:gd name="connsiteX61" fmla="*/ 884621 w 959519"/>
                <a:gd name="connsiteY61" fmla="*/ 81923 h 677867"/>
                <a:gd name="connsiteX62" fmla="*/ 891754 w 959519"/>
                <a:gd name="connsiteY62" fmla="*/ 59335 h 677867"/>
                <a:gd name="connsiteX63" fmla="*/ 901265 w 959519"/>
                <a:gd name="connsiteY63" fmla="*/ 42691 h 677867"/>
                <a:gd name="connsiteX64" fmla="*/ 908398 w 959519"/>
                <a:gd name="connsiteY64" fmla="*/ 45068 h 677867"/>
                <a:gd name="connsiteX65" fmla="*/ 909587 w 959519"/>
                <a:gd name="connsiteY65" fmla="*/ 37936 h 677867"/>
                <a:gd name="connsiteX66" fmla="*/ 923853 w 959519"/>
                <a:gd name="connsiteY66" fmla="*/ 0 h 677867"/>
                <a:gd name="connsiteX67" fmla="*/ 897806 w 959519"/>
                <a:gd name="connsiteY67" fmla="*/ 31991 h 677867"/>
                <a:gd name="connsiteX68" fmla="*/ 868193 w 959519"/>
                <a:gd name="connsiteY68" fmla="*/ 50905 h 677867"/>
                <a:gd name="connsiteX69" fmla="*/ 842146 w 959519"/>
                <a:gd name="connsiteY69" fmla="*/ 60416 h 677867"/>
                <a:gd name="connsiteX70" fmla="*/ 820747 w 959519"/>
                <a:gd name="connsiteY70" fmla="*/ 77060 h 677867"/>
                <a:gd name="connsiteX71" fmla="*/ 794700 w 959519"/>
                <a:gd name="connsiteY71" fmla="*/ 80626 h 677867"/>
                <a:gd name="connsiteX72" fmla="*/ 766275 w 959519"/>
                <a:gd name="connsiteY72" fmla="*/ 79438 h 677867"/>
                <a:gd name="connsiteX73" fmla="*/ 757953 w 959519"/>
                <a:gd name="connsiteY73" fmla="*/ 60416 h 677867"/>
                <a:gd name="connsiteX74" fmla="*/ 736553 w 959519"/>
                <a:gd name="connsiteY74" fmla="*/ 39016 h 677867"/>
                <a:gd name="connsiteX75" fmla="*/ 711587 w 959519"/>
                <a:gd name="connsiteY75" fmla="*/ 49716 h 677867"/>
                <a:gd name="connsiteX76" fmla="*/ 702076 w 959519"/>
                <a:gd name="connsiteY76" fmla="*/ 59227 h 677867"/>
                <a:gd name="connsiteX77" fmla="*/ 671274 w 959519"/>
                <a:gd name="connsiteY77" fmla="*/ 35558 h 677867"/>
                <a:gd name="connsiteX78" fmla="*/ 661763 w 959519"/>
                <a:gd name="connsiteY78" fmla="*/ 46257 h 677867"/>
                <a:gd name="connsiteX79" fmla="*/ 636905 w 959519"/>
                <a:gd name="connsiteY79" fmla="*/ 49824 h 677867"/>
                <a:gd name="connsiteX80" fmla="*/ 613128 w 959519"/>
                <a:gd name="connsiteY80" fmla="*/ 43880 h 677867"/>
                <a:gd name="connsiteX81" fmla="*/ 588270 w 959519"/>
                <a:gd name="connsiteY81" fmla="*/ 64090 h 677867"/>
                <a:gd name="connsiteX82" fmla="*/ 522991 w 959519"/>
                <a:gd name="connsiteY82" fmla="*/ 68846 h 677867"/>
                <a:gd name="connsiteX83" fmla="*/ 508724 w 959519"/>
                <a:gd name="connsiteY83" fmla="*/ 79545 h 677867"/>
                <a:gd name="connsiteX84" fmla="*/ 518235 w 959519"/>
                <a:gd name="connsiteY84" fmla="*/ 100945 h 677867"/>
                <a:gd name="connsiteX85" fmla="*/ 550227 w 959519"/>
                <a:gd name="connsiteY85" fmla="*/ 134125 h 677867"/>
                <a:gd name="connsiteX86" fmla="*/ 528827 w 959519"/>
                <a:gd name="connsiteY86" fmla="*/ 149580 h 677867"/>
                <a:gd name="connsiteX87" fmla="*/ 512183 w 959519"/>
                <a:gd name="connsiteY87" fmla="*/ 185138 h 677867"/>
                <a:gd name="connsiteX88" fmla="*/ 516938 w 959519"/>
                <a:gd name="connsiteY88" fmla="*/ 223073 h 677867"/>
                <a:gd name="connsiteX89" fmla="*/ 535960 w 959519"/>
                <a:gd name="connsiteY89" fmla="*/ 258631 h 677867"/>
                <a:gd name="connsiteX90" fmla="*/ 546660 w 959519"/>
                <a:gd name="connsiteY90" fmla="*/ 270520 h 677867"/>
                <a:gd name="connsiteX91" fmla="*/ 571518 w 959519"/>
                <a:gd name="connsiteY91" fmla="*/ 230207 h 677867"/>
                <a:gd name="connsiteX92" fmla="*/ 578651 w 959519"/>
                <a:gd name="connsiteY92" fmla="*/ 212374 h 677867"/>
                <a:gd name="connsiteX93" fmla="*/ 585784 w 959519"/>
                <a:gd name="connsiteY93" fmla="*/ 198107 h 677867"/>
                <a:gd name="connsiteX94" fmla="*/ 600051 w 959519"/>
                <a:gd name="connsiteY94" fmla="*/ 182652 h 677867"/>
                <a:gd name="connsiteX95" fmla="*/ 603617 w 959519"/>
                <a:gd name="connsiteY95" fmla="*/ 192163 h 677867"/>
                <a:gd name="connsiteX96" fmla="*/ 603617 w 959519"/>
                <a:gd name="connsiteY96" fmla="*/ 192163 h 677867"/>
                <a:gd name="connsiteX97" fmla="*/ 603617 w 959519"/>
                <a:gd name="connsiteY97" fmla="*/ 227721 h 677867"/>
                <a:gd name="connsiteX98" fmla="*/ 594106 w 959519"/>
                <a:gd name="connsiteY98" fmla="*/ 252687 h 677867"/>
                <a:gd name="connsiteX99" fmla="*/ 594106 w 959519"/>
                <a:gd name="connsiteY99" fmla="*/ 255065 h 677867"/>
                <a:gd name="connsiteX100" fmla="*/ 581029 w 959519"/>
                <a:gd name="connsiteY100" fmla="*/ 278842 h 677867"/>
                <a:gd name="connsiteX101" fmla="*/ 577462 w 959519"/>
                <a:gd name="connsiteY101" fmla="*/ 302511 h 677867"/>
                <a:gd name="connsiteX102" fmla="*/ 572707 w 959519"/>
                <a:gd name="connsiteY102" fmla="*/ 322722 h 677867"/>
                <a:gd name="connsiteX103" fmla="*/ 567951 w 959519"/>
                <a:gd name="connsiteY103" fmla="*/ 329855 h 677867"/>
                <a:gd name="connsiteX104" fmla="*/ 551307 w 959519"/>
                <a:gd name="connsiteY104" fmla="*/ 332233 h 677867"/>
                <a:gd name="connsiteX105" fmla="*/ 542985 w 959519"/>
                <a:gd name="connsiteY105" fmla="*/ 340555 h 677867"/>
                <a:gd name="connsiteX106" fmla="*/ 541797 w 959519"/>
                <a:gd name="connsiteY106" fmla="*/ 351254 h 677867"/>
                <a:gd name="connsiteX107" fmla="*/ 550118 w 959519"/>
                <a:gd name="connsiteY107" fmla="*/ 365521 h 677867"/>
                <a:gd name="connsiteX108" fmla="*/ 548929 w 959519"/>
                <a:gd name="connsiteY108" fmla="*/ 373843 h 677867"/>
                <a:gd name="connsiteX109" fmla="*/ 528719 w 959519"/>
                <a:gd name="connsiteY109" fmla="*/ 385731 h 677867"/>
                <a:gd name="connsiteX110" fmla="*/ 501483 w 959519"/>
                <a:gd name="connsiteY110" fmla="*/ 410589 h 677867"/>
                <a:gd name="connsiteX111" fmla="*/ 476625 w 959519"/>
                <a:gd name="connsiteY111" fmla="*/ 439014 h 677867"/>
                <a:gd name="connsiteX112" fmla="*/ 443445 w 959519"/>
                <a:gd name="connsiteY112" fmla="*/ 456847 h 677867"/>
                <a:gd name="connsiteX113" fmla="*/ 424532 w 959519"/>
                <a:gd name="connsiteY113" fmla="*/ 471113 h 677867"/>
                <a:gd name="connsiteX114" fmla="*/ 422154 w 959519"/>
                <a:gd name="connsiteY114" fmla="*/ 474680 h 677867"/>
                <a:gd name="connsiteX115" fmla="*/ 406699 w 959519"/>
                <a:gd name="connsiteY115" fmla="*/ 492513 h 677867"/>
                <a:gd name="connsiteX116" fmla="*/ 399565 w 959519"/>
                <a:gd name="connsiteY116" fmla="*/ 511534 h 677867"/>
                <a:gd name="connsiteX117" fmla="*/ 399565 w 959519"/>
                <a:gd name="connsiteY117" fmla="*/ 511534 h 677867"/>
                <a:gd name="connsiteX118" fmla="*/ 394810 w 959519"/>
                <a:gd name="connsiteY118" fmla="*/ 522234 h 677867"/>
                <a:gd name="connsiteX119" fmla="*/ 379355 w 959519"/>
                <a:gd name="connsiteY119" fmla="*/ 537690 h 677867"/>
                <a:gd name="connsiteX120" fmla="*/ 348552 w 959519"/>
                <a:gd name="connsiteY120" fmla="*/ 548389 h 677867"/>
                <a:gd name="connsiteX121" fmla="*/ 337853 w 959519"/>
                <a:gd name="connsiteY121" fmla="*/ 551956 h 677867"/>
                <a:gd name="connsiteX122" fmla="*/ 310617 w 959519"/>
                <a:gd name="connsiteY122" fmla="*/ 548389 h 677867"/>
                <a:gd name="connsiteX123" fmla="*/ 302295 w 959519"/>
                <a:gd name="connsiteY123" fmla="*/ 549578 h 677867"/>
                <a:gd name="connsiteX124" fmla="*/ 295162 w 959519"/>
                <a:gd name="connsiteY124" fmla="*/ 551956 h 677867"/>
                <a:gd name="connsiteX125" fmla="*/ 266629 w 959519"/>
                <a:gd name="connsiteY125" fmla="*/ 536501 h 677867"/>
                <a:gd name="connsiteX126" fmla="*/ 241771 w 959519"/>
                <a:gd name="connsiteY126" fmla="*/ 536501 h 677867"/>
                <a:gd name="connsiteX127" fmla="*/ 232260 w 959519"/>
                <a:gd name="connsiteY127" fmla="*/ 504509 h 677867"/>
                <a:gd name="connsiteX128" fmla="*/ 186003 w 959519"/>
                <a:gd name="connsiteY128" fmla="*/ 479652 h 677867"/>
                <a:gd name="connsiteX129" fmla="*/ 130234 w 959519"/>
                <a:gd name="connsiteY129" fmla="*/ 428639 h 677867"/>
                <a:gd name="connsiteX130" fmla="*/ 80410 w 959519"/>
                <a:gd name="connsiteY130" fmla="*/ 391892 h 677867"/>
                <a:gd name="connsiteX131" fmla="*/ 43988 w 959519"/>
                <a:gd name="connsiteY131" fmla="*/ 398917 h 677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959519" h="677867" extrusionOk="0">
                  <a:moveTo>
                    <a:pt x="43988" y="398917"/>
                  </a:moveTo>
                  <a:lnTo>
                    <a:pt x="26155" y="423775"/>
                  </a:lnTo>
                  <a:lnTo>
                    <a:pt x="15455" y="435664"/>
                  </a:lnTo>
                  <a:lnTo>
                    <a:pt x="0" y="459441"/>
                  </a:lnTo>
                  <a:lnTo>
                    <a:pt x="16644" y="496187"/>
                  </a:lnTo>
                  <a:lnTo>
                    <a:pt x="55768" y="509265"/>
                  </a:lnTo>
                  <a:lnTo>
                    <a:pt x="117481" y="535312"/>
                  </a:lnTo>
                  <a:lnTo>
                    <a:pt x="164927" y="551956"/>
                  </a:lnTo>
                  <a:lnTo>
                    <a:pt x="192163" y="561467"/>
                  </a:lnTo>
                  <a:lnTo>
                    <a:pt x="201674" y="572167"/>
                  </a:lnTo>
                  <a:lnTo>
                    <a:pt x="212374" y="593566"/>
                  </a:lnTo>
                  <a:lnTo>
                    <a:pt x="220696" y="617235"/>
                  </a:lnTo>
                  <a:lnTo>
                    <a:pt x="240906" y="635068"/>
                  </a:lnTo>
                  <a:lnTo>
                    <a:pt x="275275" y="654090"/>
                  </a:lnTo>
                  <a:lnTo>
                    <a:pt x="314400" y="662412"/>
                  </a:lnTo>
                  <a:lnTo>
                    <a:pt x="358279" y="655279"/>
                  </a:lnTo>
                  <a:lnTo>
                    <a:pt x="386812" y="651712"/>
                  </a:lnTo>
                  <a:lnTo>
                    <a:pt x="409292" y="643390"/>
                  </a:lnTo>
                  <a:lnTo>
                    <a:pt x="440095" y="648146"/>
                  </a:lnTo>
                  <a:lnTo>
                    <a:pt x="460305" y="669545"/>
                  </a:lnTo>
                  <a:lnTo>
                    <a:pt x="481705" y="677867"/>
                  </a:lnTo>
                  <a:lnTo>
                    <a:pt x="507752" y="645876"/>
                  </a:lnTo>
                  <a:lnTo>
                    <a:pt x="519640" y="625665"/>
                  </a:lnTo>
                  <a:lnTo>
                    <a:pt x="510129" y="611399"/>
                  </a:lnTo>
                  <a:lnTo>
                    <a:pt x="510129" y="611399"/>
                  </a:lnTo>
                  <a:lnTo>
                    <a:pt x="497052" y="610210"/>
                  </a:lnTo>
                  <a:lnTo>
                    <a:pt x="492296" y="582974"/>
                  </a:lnTo>
                  <a:lnTo>
                    <a:pt x="498241" y="567519"/>
                  </a:lnTo>
                  <a:lnTo>
                    <a:pt x="523099" y="559197"/>
                  </a:lnTo>
                  <a:lnTo>
                    <a:pt x="562223" y="555631"/>
                  </a:lnTo>
                  <a:lnTo>
                    <a:pt x="578867" y="550875"/>
                  </a:lnTo>
                  <a:lnTo>
                    <a:pt x="610858" y="527098"/>
                  </a:lnTo>
                  <a:lnTo>
                    <a:pt x="635716" y="508184"/>
                  </a:lnTo>
                  <a:lnTo>
                    <a:pt x="671274" y="502240"/>
                  </a:lnTo>
                  <a:lnTo>
                    <a:pt x="704454" y="486785"/>
                  </a:lnTo>
                  <a:lnTo>
                    <a:pt x="745956" y="455982"/>
                  </a:lnTo>
                  <a:lnTo>
                    <a:pt x="780325" y="453605"/>
                  </a:lnTo>
                  <a:lnTo>
                    <a:pt x="796969" y="448849"/>
                  </a:lnTo>
                  <a:lnTo>
                    <a:pt x="807669" y="434583"/>
                  </a:lnTo>
                  <a:lnTo>
                    <a:pt x="807669" y="432205"/>
                  </a:lnTo>
                  <a:lnTo>
                    <a:pt x="829068" y="380003"/>
                  </a:lnTo>
                  <a:lnTo>
                    <a:pt x="804211" y="370492"/>
                  </a:lnTo>
                  <a:lnTo>
                    <a:pt x="800644" y="362170"/>
                  </a:lnTo>
                  <a:lnTo>
                    <a:pt x="808966" y="349093"/>
                  </a:lnTo>
                  <a:lnTo>
                    <a:pt x="852846" y="331260"/>
                  </a:lnTo>
                  <a:lnTo>
                    <a:pt x="886026" y="309860"/>
                  </a:lnTo>
                  <a:lnTo>
                    <a:pt x="916828" y="276681"/>
                  </a:lnTo>
                  <a:lnTo>
                    <a:pt x="950008" y="268358"/>
                  </a:lnTo>
                  <a:lnTo>
                    <a:pt x="955952" y="260036"/>
                  </a:lnTo>
                  <a:lnTo>
                    <a:pt x="959519" y="236259"/>
                  </a:lnTo>
                  <a:lnTo>
                    <a:pt x="954764" y="218534"/>
                  </a:lnTo>
                  <a:lnTo>
                    <a:pt x="953575" y="217345"/>
                  </a:lnTo>
                  <a:lnTo>
                    <a:pt x="947630" y="209023"/>
                  </a:lnTo>
                  <a:lnTo>
                    <a:pt x="925042" y="204268"/>
                  </a:lnTo>
                  <a:lnTo>
                    <a:pt x="908398" y="185246"/>
                  </a:lnTo>
                  <a:lnTo>
                    <a:pt x="908398" y="184057"/>
                  </a:lnTo>
                  <a:lnTo>
                    <a:pt x="904831" y="155525"/>
                  </a:lnTo>
                  <a:lnTo>
                    <a:pt x="904831" y="154336"/>
                  </a:lnTo>
                  <a:lnTo>
                    <a:pt x="897698" y="141258"/>
                  </a:lnTo>
                  <a:lnTo>
                    <a:pt x="897698" y="140069"/>
                  </a:lnTo>
                  <a:lnTo>
                    <a:pt x="890565" y="122237"/>
                  </a:lnTo>
                  <a:lnTo>
                    <a:pt x="884621" y="81923"/>
                  </a:lnTo>
                  <a:lnTo>
                    <a:pt x="891754" y="59335"/>
                  </a:lnTo>
                  <a:lnTo>
                    <a:pt x="901265" y="42691"/>
                  </a:lnTo>
                  <a:lnTo>
                    <a:pt x="908398" y="45068"/>
                  </a:lnTo>
                  <a:lnTo>
                    <a:pt x="909587" y="37936"/>
                  </a:lnTo>
                  <a:lnTo>
                    <a:pt x="923853" y="0"/>
                  </a:lnTo>
                  <a:lnTo>
                    <a:pt x="897806" y="31991"/>
                  </a:lnTo>
                  <a:lnTo>
                    <a:pt x="868193" y="50905"/>
                  </a:lnTo>
                  <a:lnTo>
                    <a:pt x="842146" y="60416"/>
                  </a:lnTo>
                  <a:lnTo>
                    <a:pt x="820747" y="77060"/>
                  </a:lnTo>
                  <a:lnTo>
                    <a:pt x="794700" y="80626"/>
                  </a:lnTo>
                  <a:lnTo>
                    <a:pt x="766275" y="79438"/>
                  </a:lnTo>
                  <a:lnTo>
                    <a:pt x="757953" y="60416"/>
                  </a:lnTo>
                  <a:lnTo>
                    <a:pt x="736553" y="39016"/>
                  </a:lnTo>
                  <a:lnTo>
                    <a:pt x="711587" y="49716"/>
                  </a:lnTo>
                  <a:lnTo>
                    <a:pt x="702076" y="59227"/>
                  </a:lnTo>
                  <a:lnTo>
                    <a:pt x="671274" y="35558"/>
                  </a:lnTo>
                  <a:lnTo>
                    <a:pt x="661763" y="46257"/>
                  </a:lnTo>
                  <a:lnTo>
                    <a:pt x="636905" y="49824"/>
                  </a:lnTo>
                  <a:lnTo>
                    <a:pt x="613128" y="43880"/>
                  </a:lnTo>
                  <a:lnTo>
                    <a:pt x="588270" y="64090"/>
                  </a:lnTo>
                  <a:lnTo>
                    <a:pt x="522991" y="68846"/>
                  </a:lnTo>
                  <a:lnTo>
                    <a:pt x="508724" y="79545"/>
                  </a:lnTo>
                  <a:lnTo>
                    <a:pt x="518235" y="100945"/>
                  </a:lnTo>
                  <a:lnTo>
                    <a:pt x="550227" y="134125"/>
                  </a:lnTo>
                  <a:lnTo>
                    <a:pt x="528827" y="149580"/>
                  </a:lnTo>
                  <a:lnTo>
                    <a:pt x="512183" y="185138"/>
                  </a:lnTo>
                  <a:lnTo>
                    <a:pt x="516938" y="223073"/>
                  </a:lnTo>
                  <a:lnTo>
                    <a:pt x="535960" y="258631"/>
                  </a:lnTo>
                  <a:lnTo>
                    <a:pt x="546660" y="270520"/>
                  </a:lnTo>
                  <a:lnTo>
                    <a:pt x="571518" y="230207"/>
                  </a:lnTo>
                  <a:lnTo>
                    <a:pt x="578651" y="212374"/>
                  </a:lnTo>
                  <a:lnTo>
                    <a:pt x="585784" y="198107"/>
                  </a:lnTo>
                  <a:lnTo>
                    <a:pt x="600051" y="182652"/>
                  </a:lnTo>
                  <a:lnTo>
                    <a:pt x="603617" y="192163"/>
                  </a:lnTo>
                  <a:lnTo>
                    <a:pt x="603617" y="192163"/>
                  </a:lnTo>
                  <a:lnTo>
                    <a:pt x="603617" y="227721"/>
                  </a:lnTo>
                  <a:lnTo>
                    <a:pt x="594106" y="252687"/>
                  </a:lnTo>
                  <a:lnTo>
                    <a:pt x="594106" y="255065"/>
                  </a:lnTo>
                  <a:lnTo>
                    <a:pt x="581029" y="278842"/>
                  </a:lnTo>
                  <a:lnTo>
                    <a:pt x="577462" y="302511"/>
                  </a:lnTo>
                  <a:lnTo>
                    <a:pt x="572707" y="322722"/>
                  </a:lnTo>
                  <a:lnTo>
                    <a:pt x="567951" y="329855"/>
                  </a:lnTo>
                  <a:lnTo>
                    <a:pt x="551307" y="332233"/>
                  </a:lnTo>
                  <a:lnTo>
                    <a:pt x="542985" y="340555"/>
                  </a:lnTo>
                  <a:lnTo>
                    <a:pt x="541797" y="351254"/>
                  </a:lnTo>
                  <a:lnTo>
                    <a:pt x="550118" y="365521"/>
                  </a:lnTo>
                  <a:lnTo>
                    <a:pt x="548929" y="373843"/>
                  </a:lnTo>
                  <a:lnTo>
                    <a:pt x="528719" y="385731"/>
                  </a:lnTo>
                  <a:lnTo>
                    <a:pt x="501483" y="410589"/>
                  </a:lnTo>
                  <a:lnTo>
                    <a:pt x="476625" y="439014"/>
                  </a:lnTo>
                  <a:lnTo>
                    <a:pt x="443445" y="456847"/>
                  </a:lnTo>
                  <a:lnTo>
                    <a:pt x="424532" y="471113"/>
                  </a:lnTo>
                  <a:lnTo>
                    <a:pt x="422154" y="474680"/>
                  </a:lnTo>
                  <a:lnTo>
                    <a:pt x="406699" y="492513"/>
                  </a:lnTo>
                  <a:lnTo>
                    <a:pt x="399565" y="511534"/>
                  </a:lnTo>
                  <a:lnTo>
                    <a:pt x="399565" y="511534"/>
                  </a:lnTo>
                  <a:lnTo>
                    <a:pt x="394810" y="522234"/>
                  </a:lnTo>
                  <a:lnTo>
                    <a:pt x="379355" y="537690"/>
                  </a:lnTo>
                  <a:lnTo>
                    <a:pt x="348552" y="548389"/>
                  </a:lnTo>
                  <a:lnTo>
                    <a:pt x="337853" y="551956"/>
                  </a:lnTo>
                  <a:lnTo>
                    <a:pt x="310617" y="548389"/>
                  </a:lnTo>
                  <a:lnTo>
                    <a:pt x="302295" y="549578"/>
                  </a:lnTo>
                  <a:lnTo>
                    <a:pt x="295162" y="551956"/>
                  </a:lnTo>
                  <a:lnTo>
                    <a:pt x="266629" y="536501"/>
                  </a:lnTo>
                  <a:lnTo>
                    <a:pt x="241771" y="536501"/>
                  </a:lnTo>
                  <a:lnTo>
                    <a:pt x="232260" y="504509"/>
                  </a:lnTo>
                  <a:lnTo>
                    <a:pt x="186003" y="479652"/>
                  </a:lnTo>
                  <a:lnTo>
                    <a:pt x="130234" y="428639"/>
                  </a:lnTo>
                  <a:lnTo>
                    <a:pt x="80410" y="391892"/>
                  </a:lnTo>
                  <a:lnTo>
                    <a:pt x="43988" y="398917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0" name="Полилиния: фигура 210"/>
            <p:cNvSpPr/>
            <p:nvPr/>
          </p:nvSpPr>
          <p:spPr bwMode="auto">
            <a:xfrm>
              <a:off x="6519959" y="4438918"/>
              <a:ext cx="756656" cy="833715"/>
            </a:xfrm>
            <a:custGeom>
              <a:avLst/>
              <a:gdLst>
                <a:gd name="connsiteX0" fmla="*/ 0 w 756656"/>
                <a:gd name="connsiteY0" fmla="*/ 767140 h 833715"/>
                <a:gd name="connsiteX1" fmla="*/ 28425 w 756656"/>
                <a:gd name="connsiteY1" fmla="*/ 780217 h 833715"/>
                <a:gd name="connsiteX2" fmla="*/ 63982 w 756656"/>
                <a:gd name="connsiteY2" fmla="*/ 795672 h 833715"/>
                <a:gd name="connsiteX3" fmla="*/ 91218 w 756656"/>
                <a:gd name="connsiteY3" fmla="*/ 808750 h 833715"/>
                <a:gd name="connsiteX4" fmla="*/ 132720 w 756656"/>
                <a:gd name="connsiteY4" fmla="*/ 821827 h 833715"/>
                <a:gd name="connsiteX5" fmla="*/ 171845 w 756656"/>
                <a:gd name="connsiteY5" fmla="*/ 833716 h 833715"/>
                <a:gd name="connsiteX6" fmla="*/ 173033 w 756656"/>
                <a:gd name="connsiteY6" fmla="*/ 833716 h 833715"/>
                <a:gd name="connsiteX7" fmla="*/ 199080 w 756656"/>
                <a:gd name="connsiteY7" fmla="*/ 833716 h 833715"/>
                <a:gd name="connsiteX8" fmla="*/ 234638 w 756656"/>
                <a:gd name="connsiteY8" fmla="*/ 812317 h 833715"/>
                <a:gd name="connsiteX9" fmla="*/ 267818 w 756656"/>
                <a:gd name="connsiteY9" fmla="*/ 800428 h 833715"/>
                <a:gd name="connsiteX10" fmla="*/ 341311 w 756656"/>
                <a:gd name="connsiteY10" fmla="*/ 770706 h 833715"/>
                <a:gd name="connsiteX11" fmla="*/ 363792 w 756656"/>
                <a:gd name="connsiteY11" fmla="*/ 756440 h 833715"/>
                <a:gd name="connsiteX12" fmla="*/ 380436 w 756656"/>
                <a:gd name="connsiteY12" fmla="*/ 746929 h 833715"/>
                <a:gd name="connsiteX13" fmla="*/ 395891 w 756656"/>
                <a:gd name="connsiteY13" fmla="*/ 754062 h 833715"/>
                <a:gd name="connsiteX14" fmla="*/ 451659 w 756656"/>
                <a:gd name="connsiteY14" fmla="*/ 775462 h 833715"/>
                <a:gd name="connsiteX15" fmla="*/ 502672 w 756656"/>
                <a:gd name="connsiteY15" fmla="*/ 783784 h 833715"/>
                <a:gd name="connsiteX16" fmla="*/ 546552 w 756656"/>
                <a:gd name="connsiteY16" fmla="*/ 793295 h 833715"/>
                <a:gd name="connsiteX17" fmla="*/ 570329 w 756656"/>
                <a:gd name="connsiteY17" fmla="*/ 793295 h 833715"/>
                <a:gd name="connsiteX18" fmla="*/ 620153 w 756656"/>
                <a:gd name="connsiteY18" fmla="*/ 752981 h 833715"/>
                <a:gd name="connsiteX19" fmla="*/ 628476 w 756656"/>
                <a:gd name="connsiteY19" fmla="*/ 741093 h 833715"/>
                <a:gd name="connsiteX20" fmla="*/ 637986 w 756656"/>
                <a:gd name="connsiteY20" fmla="*/ 690080 h 833715"/>
                <a:gd name="connsiteX21" fmla="*/ 651064 w 756656"/>
                <a:gd name="connsiteY21" fmla="*/ 668680 h 833715"/>
                <a:gd name="connsiteX22" fmla="*/ 686622 w 756656"/>
                <a:gd name="connsiteY22" fmla="*/ 612912 h 833715"/>
                <a:gd name="connsiteX23" fmla="*/ 672355 w 756656"/>
                <a:gd name="connsiteY23" fmla="*/ 601023 h 833715"/>
                <a:gd name="connsiteX24" fmla="*/ 673544 w 756656"/>
                <a:gd name="connsiteY24" fmla="*/ 592701 h 833715"/>
                <a:gd name="connsiteX25" fmla="*/ 683055 w 756656"/>
                <a:gd name="connsiteY25" fmla="*/ 561899 h 833715"/>
                <a:gd name="connsiteX26" fmla="*/ 685433 w 756656"/>
                <a:gd name="connsiteY26" fmla="*/ 548822 h 833715"/>
                <a:gd name="connsiteX27" fmla="*/ 684244 w 756656"/>
                <a:gd name="connsiteY27" fmla="*/ 548822 h 833715"/>
                <a:gd name="connsiteX28" fmla="*/ 667600 w 756656"/>
                <a:gd name="connsiteY28" fmla="*/ 535744 h 833715"/>
                <a:gd name="connsiteX29" fmla="*/ 653333 w 756656"/>
                <a:gd name="connsiteY29" fmla="*/ 527422 h 833715"/>
                <a:gd name="connsiteX30" fmla="*/ 655711 w 756656"/>
                <a:gd name="connsiteY30" fmla="*/ 511967 h 833715"/>
                <a:gd name="connsiteX31" fmla="*/ 675922 w 756656"/>
                <a:gd name="connsiteY31" fmla="*/ 485920 h 833715"/>
                <a:gd name="connsiteX32" fmla="*/ 697321 w 756656"/>
                <a:gd name="connsiteY32" fmla="*/ 468087 h 833715"/>
                <a:gd name="connsiteX33" fmla="*/ 719910 w 756656"/>
                <a:gd name="connsiteY33" fmla="*/ 463332 h 833715"/>
                <a:gd name="connsiteX34" fmla="*/ 756656 w 756656"/>
                <a:gd name="connsiteY34" fmla="*/ 457387 h 833715"/>
                <a:gd name="connsiteX35" fmla="*/ 754278 w 756656"/>
                <a:gd name="connsiteY35" fmla="*/ 445499 h 833715"/>
                <a:gd name="connsiteX36" fmla="*/ 741201 w 756656"/>
                <a:gd name="connsiteY36" fmla="*/ 427666 h 833715"/>
                <a:gd name="connsiteX37" fmla="*/ 730501 w 756656"/>
                <a:gd name="connsiteY37" fmla="*/ 399133 h 833715"/>
                <a:gd name="connsiteX38" fmla="*/ 730501 w 756656"/>
                <a:gd name="connsiteY38" fmla="*/ 397944 h 833715"/>
                <a:gd name="connsiteX39" fmla="*/ 736446 w 756656"/>
                <a:gd name="connsiteY39" fmla="*/ 374167 h 833715"/>
                <a:gd name="connsiteX40" fmla="*/ 744768 w 756656"/>
                <a:gd name="connsiteY40" fmla="*/ 358712 h 833715"/>
                <a:gd name="connsiteX41" fmla="*/ 735257 w 756656"/>
                <a:gd name="connsiteY41" fmla="*/ 346823 h 833715"/>
                <a:gd name="connsiteX42" fmla="*/ 725746 w 756656"/>
                <a:gd name="connsiteY42" fmla="*/ 333746 h 833715"/>
                <a:gd name="connsiteX43" fmla="*/ 725746 w 756656"/>
                <a:gd name="connsiteY43" fmla="*/ 318290 h 833715"/>
                <a:gd name="connsiteX44" fmla="*/ 738823 w 756656"/>
                <a:gd name="connsiteY44" fmla="*/ 302835 h 833715"/>
                <a:gd name="connsiteX45" fmla="*/ 738823 w 756656"/>
                <a:gd name="connsiteY45" fmla="*/ 300458 h 833715"/>
                <a:gd name="connsiteX46" fmla="*/ 736446 w 756656"/>
                <a:gd name="connsiteY46" fmla="*/ 270844 h 833715"/>
                <a:gd name="connsiteX47" fmla="*/ 717532 w 756656"/>
                <a:gd name="connsiteY47" fmla="*/ 257767 h 833715"/>
                <a:gd name="connsiteX48" fmla="*/ 690296 w 756656"/>
                <a:gd name="connsiteY48" fmla="*/ 260145 h 833715"/>
                <a:gd name="connsiteX49" fmla="*/ 698618 w 756656"/>
                <a:gd name="connsiteY49" fmla="*/ 238745 h 833715"/>
                <a:gd name="connsiteX50" fmla="*/ 677219 w 756656"/>
                <a:gd name="connsiteY50" fmla="*/ 222101 h 833715"/>
                <a:gd name="connsiteX51" fmla="*/ 653442 w 756656"/>
                <a:gd name="connsiteY51" fmla="*/ 220912 h 833715"/>
                <a:gd name="connsiteX52" fmla="*/ 643931 w 756656"/>
                <a:gd name="connsiteY52" fmla="*/ 210212 h 833715"/>
                <a:gd name="connsiteX53" fmla="*/ 658197 w 756656"/>
                <a:gd name="connsiteY53" fmla="*/ 191191 h 833715"/>
                <a:gd name="connsiteX54" fmla="*/ 659386 w 756656"/>
                <a:gd name="connsiteY54" fmla="*/ 179302 h 833715"/>
                <a:gd name="connsiteX55" fmla="*/ 635609 w 756656"/>
                <a:gd name="connsiteY55" fmla="*/ 178113 h 833715"/>
                <a:gd name="connsiteX56" fmla="*/ 624909 w 756656"/>
                <a:gd name="connsiteY56" fmla="*/ 163847 h 833715"/>
                <a:gd name="connsiteX57" fmla="*/ 633231 w 756656"/>
                <a:gd name="connsiteY57" fmla="*/ 147203 h 833715"/>
                <a:gd name="connsiteX58" fmla="*/ 634420 w 756656"/>
                <a:gd name="connsiteY58" fmla="*/ 141258 h 833715"/>
                <a:gd name="connsiteX59" fmla="*/ 597673 w 756656"/>
                <a:gd name="connsiteY59" fmla="*/ 77168 h 833715"/>
                <a:gd name="connsiteX60" fmla="*/ 577463 w 756656"/>
                <a:gd name="connsiteY60" fmla="*/ 48635 h 833715"/>
                <a:gd name="connsiteX61" fmla="*/ 556063 w 756656"/>
                <a:gd name="connsiteY61" fmla="*/ 15455 h 833715"/>
                <a:gd name="connsiteX62" fmla="*/ 547741 w 756656"/>
                <a:gd name="connsiteY62" fmla="*/ 0 h 833715"/>
                <a:gd name="connsiteX63" fmla="*/ 516939 w 756656"/>
                <a:gd name="connsiteY63" fmla="*/ 1189 h 833715"/>
                <a:gd name="connsiteX64" fmla="*/ 513372 w 756656"/>
                <a:gd name="connsiteY64" fmla="*/ 1189 h 833715"/>
                <a:gd name="connsiteX65" fmla="*/ 510994 w 756656"/>
                <a:gd name="connsiteY65" fmla="*/ 26155 h 833715"/>
                <a:gd name="connsiteX66" fmla="*/ 494350 w 756656"/>
                <a:gd name="connsiteY66" fmla="*/ 39232 h 833715"/>
                <a:gd name="connsiteX67" fmla="*/ 484839 w 756656"/>
                <a:gd name="connsiteY67" fmla="*/ 62902 h 833715"/>
                <a:gd name="connsiteX68" fmla="*/ 512075 w 756656"/>
                <a:gd name="connsiteY68" fmla="*/ 107970 h 833715"/>
                <a:gd name="connsiteX69" fmla="*/ 509697 w 756656"/>
                <a:gd name="connsiteY69" fmla="*/ 129370 h 833715"/>
                <a:gd name="connsiteX70" fmla="*/ 490676 w 756656"/>
                <a:gd name="connsiteY70" fmla="*/ 147203 h 833715"/>
                <a:gd name="connsiteX71" fmla="*/ 440851 w 756656"/>
                <a:gd name="connsiteY71" fmla="*/ 150769 h 833715"/>
                <a:gd name="connsiteX72" fmla="*/ 426585 w 756656"/>
                <a:gd name="connsiteY72" fmla="*/ 132936 h 833715"/>
                <a:gd name="connsiteX73" fmla="*/ 420641 w 756656"/>
                <a:gd name="connsiteY73" fmla="*/ 129370 h 833715"/>
                <a:gd name="connsiteX74" fmla="*/ 411130 w 756656"/>
                <a:gd name="connsiteY74" fmla="*/ 144825 h 833715"/>
                <a:gd name="connsiteX75" fmla="*/ 401619 w 756656"/>
                <a:gd name="connsiteY75" fmla="*/ 173358 h 833715"/>
                <a:gd name="connsiteX76" fmla="*/ 408752 w 756656"/>
                <a:gd name="connsiteY76" fmla="*/ 212482 h 833715"/>
                <a:gd name="connsiteX77" fmla="*/ 415885 w 756656"/>
                <a:gd name="connsiteY77" fmla="*/ 231396 h 833715"/>
                <a:gd name="connsiteX78" fmla="*/ 423019 w 756656"/>
                <a:gd name="connsiteY78" fmla="*/ 242095 h 833715"/>
                <a:gd name="connsiteX79" fmla="*/ 425396 w 756656"/>
                <a:gd name="connsiteY79" fmla="*/ 275275 h 833715"/>
                <a:gd name="connsiteX80" fmla="*/ 443229 w 756656"/>
                <a:gd name="connsiteY80" fmla="*/ 293108 h 833715"/>
                <a:gd name="connsiteX81" fmla="*/ 467007 w 756656"/>
                <a:gd name="connsiteY81" fmla="*/ 297864 h 833715"/>
                <a:gd name="connsiteX82" fmla="*/ 477706 w 756656"/>
                <a:gd name="connsiteY82" fmla="*/ 322722 h 833715"/>
                <a:gd name="connsiteX83" fmla="*/ 472951 w 756656"/>
                <a:gd name="connsiteY83" fmla="*/ 349958 h 833715"/>
                <a:gd name="connsiteX84" fmla="*/ 469384 w 756656"/>
                <a:gd name="connsiteY84" fmla="*/ 355902 h 833715"/>
                <a:gd name="connsiteX85" fmla="*/ 436204 w 756656"/>
                <a:gd name="connsiteY85" fmla="*/ 365413 h 833715"/>
                <a:gd name="connsiteX86" fmla="*/ 407671 w 756656"/>
                <a:gd name="connsiteY86" fmla="*/ 398593 h 833715"/>
                <a:gd name="connsiteX87" fmla="*/ 374492 w 756656"/>
                <a:gd name="connsiteY87" fmla="*/ 418803 h 833715"/>
                <a:gd name="connsiteX88" fmla="*/ 329423 w 756656"/>
                <a:gd name="connsiteY88" fmla="*/ 436636 h 833715"/>
                <a:gd name="connsiteX89" fmla="*/ 318723 w 756656"/>
                <a:gd name="connsiteY89" fmla="*/ 450903 h 833715"/>
                <a:gd name="connsiteX90" fmla="*/ 321101 w 756656"/>
                <a:gd name="connsiteY90" fmla="*/ 456847 h 833715"/>
                <a:gd name="connsiteX91" fmla="*/ 347148 w 756656"/>
                <a:gd name="connsiteY91" fmla="*/ 468736 h 833715"/>
                <a:gd name="connsiteX92" fmla="*/ 328234 w 756656"/>
                <a:gd name="connsiteY92" fmla="*/ 518559 h 833715"/>
                <a:gd name="connsiteX93" fmla="*/ 316345 w 756656"/>
                <a:gd name="connsiteY93" fmla="*/ 536393 h 833715"/>
                <a:gd name="connsiteX94" fmla="*/ 298513 w 756656"/>
                <a:gd name="connsiteY94" fmla="*/ 541148 h 833715"/>
                <a:gd name="connsiteX95" fmla="*/ 266521 w 756656"/>
                <a:gd name="connsiteY95" fmla="*/ 543526 h 833715"/>
                <a:gd name="connsiteX96" fmla="*/ 225019 w 756656"/>
                <a:gd name="connsiteY96" fmla="*/ 575517 h 833715"/>
                <a:gd name="connsiteX97" fmla="*/ 194217 w 756656"/>
                <a:gd name="connsiteY97" fmla="*/ 589783 h 833715"/>
                <a:gd name="connsiteX98" fmla="*/ 151526 w 756656"/>
                <a:gd name="connsiteY98" fmla="*/ 594538 h 833715"/>
                <a:gd name="connsiteX99" fmla="*/ 100513 w 756656"/>
                <a:gd name="connsiteY99" fmla="*/ 637230 h 833715"/>
                <a:gd name="connsiteX100" fmla="*/ 80302 w 756656"/>
                <a:gd name="connsiteY100" fmla="*/ 644363 h 833715"/>
                <a:gd name="connsiteX101" fmla="*/ 41178 w 756656"/>
                <a:gd name="connsiteY101" fmla="*/ 646740 h 833715"/>
                <a:gd name="connsiteX102" fmla="*/ 18589 w 756656"/>
                <a:gd name="connsiteY102" fmla="*/ 656251 h 833715"/>
                <a:gd name="connsiteX103" fmla="*/ 10268 w 756656"/>
                <a:gd name="connsiteY103" fmla="*/ 670518 h 833715"/>
                <a:gd name="connsiteX104" fmla="*/ 13834 w 756656"/>
                <a:gd name="connsiteY104" fmla="*/ 697753 h 833715"/>
                <a:gd name="connsiteX105" fmla="*/ 28100 w 756656"/>
                <a:gd name="connsiteY105" fmla="*/ 700131 h 833715"/>
                <a:gd name="connsiteX106" fmla="*/ 37611 w 756656"/>
                <a:gd name="connsiteY106" fmla="*/ 714398 h 833715"/>
                <a:gd name="connsiteX107" fmla="*/ 19779 w 756656"/>
                <a:gd name="connsiteY107" fmla="*/ 740444 h 833715"/>
                <a:gd name="connsiteX108" fmla="*/ 0 w 756656"/>
                <a:gd name="connsiteY108" fmla="*/ 767140 h 83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756656" h="833715" extrusionOk="0">
                  <a:moveTo>
                    <a:pt x="0" y="767140"/>
                  </a:moveTo>
                  <a:lnTo>
                    <a:pt x="28425" y="780217"/>
                  </a:lnTo>
                  <a:lnTo>
                    <a:pt x="63982" y="795672"/>
                  </a:lnTo>
                  <a:lnTo>
                    <a:pt x="91218" y="808750"/>
                  </a:lnTo>
                  <a:lnTo>
                    <a:pt x="132720" y="821827"/>
                  </a:lnTo>
                  <a:lnTo>
                    <a:pt x="171845" y="833716"/>
                  </a:lnTo>
                  <a:lnTo>
                    <a:pt x="173033" y="833716"/>
                  </a:lnTo>
                  <a:lnTo>
                    <a:pt x="199080" y="833716"/>
                  </a:lnTo>
                  <a:lnTo>
                    <a:pt x="234638" y="812317"/>
                  </a:lnTo>
                  <a:lnTo>
                    <a:pt x="267818" y="800428"/>
                  </a:lnTo>
                  <a:lnTo>
                    <a:pt x="341311" y="770706"/>
                  </a:lnTo>
                  <a:lnTo>
                    <a:pt x="363792" y="756440"/>
                  </a:lnTo>
                  <a:lnTo>
                    <a:pt x="380436" y="746929"/>
                  </a:lnTo>
                  <a:lnTo>
                    <a:pt x="395891" y="754062"/>
                  </a:lnTo>
                  <a:lnTo>
                    <a:pt x="451659" y="775462"/>
                  </a:lnTo>
                  <a:lnTo>
                    <a:pt x="502672" y="783784"/>
                  </a:lnTo>
                  <a:lnTo>
                    <a:pt x="546552" y="793295"/>
                  </a:lnTo>
                  <a:lnTo>
                    <a:pt x="570329" y="793295"/>
                  </a:lnTo>
                  <a:lnTo>
                    <a:pt x="620153" y="752981"/>
                  </a:lnTo>
                  <a:lnTo>
                    <a:pt x="628476" y="741093"/>
                  </a:lnTo>
                  <a:lnTo>
                    <a:pt x="637986" y="690080"/>
                  </a:lnTo>
                  <a:lnTo>
                    <a:pt x="651064" y="668680"/>
                  </a:lnTo>
                  <a:lnTo>
                    <a:pt x="686622" y="612912"/>
                  </a:lnTo>
                  <a:lnTo>
                    <a:pt x="672355" y="601023"/>
                  </a:lnTo>
                  <a:lnTo>
                    <a:pt x="673544" y="592701"/>
                  </a:lnTo>
                  <a:lnTo>
                    <a:pt x="683055" y="561899"/>
                  </a:lnTo>
                  <a:lnTo>
                    <a:pt x="685433" y="548822"/>
                  </a:lnTo>
                  <a:lnTo>
                    <a:pt x="684244" y="548822"/>
                  </a:lnTo>
                  <a:lnTo>
                    <a:pt x="667600" y="535744"/>
                  </a:lnTo>
                  <a:lnTo>
                    <a:pt x="653333" y="527422"/>
                  </a:lnTo>
                  <a:lnTo>
                    <a:pt x="655711" y="511967"/>
                  </a:lnTo>
                  <a:lnTo>
                    <a:pt x="675922" y="485920"/>
                  </a:lnTo>
                  <a:lnTo>
                    <a:pt x="697321" y="468087"/>
                  </a:lnTo>
                  <a:lnTo>
                    <a:pt x="719910" y="463332"/>
                  </a:lnTo>
                  <a:lnTo>
                    <a:pt x="756656" y="457387"/>
                  </a:lnTo>
                  <a:lnTo>
                    <a:pt x="754278" y="445499"/>
                  </a:lnTo>
                  <a:lnTo>
                    <a:pt x="741201" y="427666"/>
                  </a:lnTo>
                  <a:lnTo>
                    <a:pt x="730501" y="399133"/>
                  </a:lnTo>
                  <a:lnTo>
                    <a:pt x="730501" y="397944"/>
                  </a:lnTo>
                  <a:lnTo>
                    <a:pt x="736446" y="374167"/>
                  </a:lnTo>
                  <a:lnTo>
                    <a:pt x="744768" y="358712"/>
                  </a:lnTo>
                  <a:lnTo>
                    <a:pt x="735257" y="346823"/>
                  </a:lnTo>
                  <a:lnTo>
                    <a:pt x="725746" y="333746"/>
                  </a:lnTo>
                  <a:lnTo>
                    <a:pt x="725746" y="318290"/>
                  </a:lnTo>
                  <a:lnTo>
                    <a:pt x="738823" y="302835"/>
                  </a:lnTo>
                  <a:lnTo>
                    <a:pt x="738823" y="300458"/>
                  </a:lnTo>
                  <a:lnTo>
                    <a:pt x="736446" y="270844"/>
                  </a:lnTo>
                  <a:lnTo>
                    <a:pt x="717532" y="257767"/>
                  </a:lnTo>
                  <a:lnTo>
                    <a:pt x="690296" y="260145"/>
                  </a:lnTo>
                  <a:lnTo>
                    <a:pt x="698618" y="238745"/>
                  </a:lnTo>
                  <a:lnTo>
                    <a:pt x="677219" y="222101"/>
                  </a:lnTo>
                  <a:lnTo>
                    <a:pt x="653442" y="220912"/>
                  </a:lnTo>
                  <a:lnTo>
                    <a:pt x="643931" y="210212"/>
                  </a:lnTo>
                  <a:lnTo>
                    <a:pt x="658197" y="191191"/>
                  </a:lnTo>
                  <a:lnTo>
                    <a:pt x="659386" y="179302"/>
                  </a:lnTo>
                  <a:lnTo>
                    <a:pt x="635609" y="178113"/>
                  </a:lnTo>
                  <a:lnTo>
                    <a:pt x="624909" y="163847"/>
                  </a:lnTo>
                  <a:lnTo>
                    <a:pt x="633231" y="147203"/>
                  </a:lnTo>
                  <a:lnTo>
                    <a:pt x="634420" y="141258"/>
                  </a:lnTo>
                  <a:lnTo>
                    <a:pt x="597673" y="77168"/>
                  </a:lnTo>
                  <a:lnTo>
                    <a:pt x="577463" y="48635"/>
                  </a:lnTo>
                  <a:lnTo>
                    <a:pt x="556063" y="15455"/>
                  </a:lnTo>
                  <a:lnTo>
                    <a:pt x="547741" y="0"/>
                  </a:lnTo>
                  <a:lnTo>
                    <a:pt x="516939" y="1189"/>
                  </a:lnTo>
                  <a:lnTo>
                    <a:pt x="513372" y="1189"/>
                  </a:lnTo>
                  <a:lnTo>
                    <a:pt x="510994" y="26155"/>
                  </a:lnTo>
                  <a:lnTo>
                    <a:pt x="494350" y="39232"/>
                  </a:lnTo>
                  <a:lnTo>
                    <a:pt x="484839" y="62902"/>
                  </a:lnTo>
                  <a:lnTo>
                    <a:pt x="512075" y="107970"/>
                  </a:lnTo>
                  <a:lnTo>
                    <a:pt x="509697" y="129370"/>
                  </a:lnTo>
                  <a:lnTo>
                    <a:pt x="490676" y="147203"/>
                  </a:lnTo>
                  <a:lnTo>
                    <a:pt x="440851" y="150769"/>
                  </a:lnTo>
                  <a:lnTo>
                    <a:pt x="426585" y="132936"/>
                  </a:lnTo>
                  <a:lnTo>
                    <a:pt x="420641" y="129370"/>
                  </a:lnTo>
                  <a:lnTo>
                    <a:pt x="411130" y="144825"/>
                  </a:lnTo>
                  <a:lnTo>
                    <a:pt x="401619" y="173358"/>
                  </a:lnTo>
                  <a:lnTo>
                    <a:pt x="408752" y="212482"/>
                  </a:lnTo>
                  <a:lnTo>
                    <a:pt x="415885" y="231396"/>
                  </a:lnTo>
                  <a:lnTo>
                    <a:pt x="423019" y="242095"/>
                  </a:lnTo>
                  <a:lnTo>
                    <a:pt x="425396" y="275275"/>
                  </a:lnTo>
                  <a:lnTo>
                    <a:pt x="443229" y="293108"/>
                  </a:lnTo>
                  <a:lnTo>
                    <a:pt x="467007" y="297864"/>
                  </a:lnTo>
                  <a:lnTo>
                    <a:pt x="477706" y="322722"/>
                  </a:lnTo>
                  <a:lnTo>
                    <a:pt x="472951" y="349958"/>
                  </a:lnTo>
                  <a:lnTo>
                    <a:pt x="469384" y="355902"/>
                  </a:lnTo>
                  <a:lnTo>
                    <a:pt x="436204" y="365413"/>
                  </a:lnTo>
                  <a:lnTo>
                    <a:pt x="407671" y="398593"/>
                  </a:lnTo>
                  <a:lnTo>
                    <a:pt x="374492" y="418803"/>
                  </a:lnTo>
                  <a:lnTo>
                    <a:pt x="329423" y="436636"/>
                  </a:lnTo>
                  <a:lnTo>
                    <a:pt x="318723" y="450903"/>
                  </a:lnTo>
                  <a:lnTo>
                    <a:pt x="321101" y="456847"/>
                  </a:lnTo>
                  <a:lnTo>
                    <a:pt x="347148" y="468736"/>
                  </a:lnTo>
                  <a:lnTo>
                    <a:pt x="328234" y="518559"/>
                  </a:lnTo>
                  <a:lnTo>
                    <a:pt x="316345" y="536393"/>
                  </a:lnTo>
                  <a:lnTo>
                    <a:pt x="298513" y="541148"/>
                  </a:lnTo>
                  <a:lnTo>
                    <a:pt x="266521" y="543526"/>
                  </a:lnTo>
                  <a:lnTo>
                    <a:pt x="225019" y="575517"/>
                  </a:lnTo>
                  <a:lnTo>
                    <a:pt x="194217" y="589783"/>
                  </a:lnTo>
                  <a:lnTo>
                    <a:pt x="151526" y="594538"/>
                  </a:lnTo>
                  <a:lnTo>
                    <a:pt x="100513" y="637230"/>
                  </a:lnTo>
                  <a:lnTo>
                    <a:pt x="80302" y="644363"/>
                  </a:lnTo>
                  <a:lnTo>
                    <a:pt x="41178" y="646740"/>
                  </a:lnTo>
                  <a:lnTo>
                    <a:pt x="18589" y="656251"/>
                  </a:lnTo>
                  <a:lnTo>
                    <a:pt x="10268" y="670518"/>
                  </a:lnTo>
                  <a:lnTo>
                    <a:pt x="13834" y="697753"/>
                  </a:lnTo>
                  <a:lnTo>
                    <a:pt x="28100" y="700131"/>
                  </a:lnTo>
                  <a:lnTo>
                    <a:pt x="37611" y="714398"/>
                  </a:lnTo>
                  <a:lnTo>
                    <a:pt x="19779" y="740444"/>
                  </a:lnTo>
                  <a:lnTo>
                    <a:pt x="0" y="76714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1" name="Полилиния: фигура 211"/>
            <p:cNvSpPr/>
            <p:nvPr/>
          </p:nvSpPr>
          <p:spPr bwMode="auto">
            <a:xfrm>
              <a:off x="7143787" y="4562776"/>
              <a:ext cx="797400" cy="706724"/>
            </a:xfrm>
            <a:custGeom>
              <a:avLst/>
              <a:gdLst>
                <a:gd name="connsiteX0" fmla="*/ 13078 w 797401"/>
                <a:gd name="connsiteY0" fmla="*/ 18157 h 706724"/>
                <a:gd name="connsiteX1" fmla="*/ 0 w 797401"/>
                <a:gd name="connsiteY1" fmla="*/ 38368 h 706724"/>
                <a:gd name="connsiteX2" fmla="*/ 13078 w 797401"/>
                <a:gd name="connsiteY2" fmla="*/ 55012 h 706724"/>
                <a:gd name="connsiteX3" fmla="*/ 34477 w 797401"/>
                <a:gd name="connsiteY3" fmla="*/ 55012 h 706724"/>
                <a:gd name="connsiteX4" fmla="*/ 34477 w 797401"/>
                <a:gd name="connsiteY4" fmla="*/ 66900 h 706724"/>
                <a:gd name="connsiteX5" fmla="*/ 20211 w 797401"/>
                <a:gd name="connsiteY5" fmla="*/ 84733 h 706724"/>
                <a:gd name="connsiteX6" fmla="*/ 28533 w 797401"/>
                <a:gd name="connsiteY6" fmla="*/ 97811 h 706724"/>
                <a:gd name="connsiteX7" fmla="*/ 52202 w 797401"/>
                <a:gd name="connsiteY7" fmla="*/ 99000 h 706724"/>
                <a:gd name="connsiteX8" fmla="*/ 77060 w 797401"/>
                <a:gd name="connsiteY8" fmla="*/ 114455 h 706724"/>
                <a:gd name="connsiteX9" fmla="*/ 66360 w 797401"/>
                <a:gd name="connsiteY9" fmla="*/ 137043 h 706724"/>
                <a:gd name="connsiteX10" fmla="*/ 95974 w 797401"/>
                <a:gd name="connsiteY10" fmla="*/ 135855 h 706724"/>
                <a:gd name="connsiteX11" fmla="*/ 113806 w 797401"/>
                <a:gd name="connsiteY11" fmla="*/ 145365 h 706724"/>
                <a:gd name="connsiteX12" fmla="*/ 116184 w 797401"/>
                <a:gd name="connsiteY12" fmla="*/ 179734 h 706724"/>
                <a:gd name="connsiteX13" fmla="*/ 104296 w 797401"/>
                <a:gd name="connsiteY13" fmla="*/ 194001 h 706724"/>
                <a:gd name="connsiteX14" fmla="*/ 103107 w 797401"/>
                <a:gd name="connsiteY14" fmla="*/ 208267 h 706724"/>
                <a:gd name="connsiteX15" fmla="*/ 118562 w 797401"/>
                <a:gd name="connsiteY15" fmla="*/ 232044 h 706724"/>
                <a:gd name="connsiteX16" fmla="*/ 113806 w 797401"/>
                <a:gd name="connsiteY16" fmla="*/ 247499 h 706724"/>
                <a:gd name="connsiteX17" fmla="*/ 107862 w 797401"/>
                <a:gd name="connsiteY17" fmla="*/ 274735 h 706724"/>
                <a:gd name="connsiteX18" fmla="*/ 117373 w 797401"/>
                <a:gd name="connsiteY18" fmla="*/ 309104 h 706724"/>
                <a:gd name="connsiteX19" fmla="*/ 129262 w 797401"/>
                <a:gd name="connsiteY19" fmla="*/ 318615 h 706724"/>
                <a:gd name="connsiteX20" fmla="*/ 134017 w 797401"/>
                <a:gd name="connsiteY20" fmla="*/ 331692 h 706724"/>
                <a:gd name="connsiteX21" fmla="*/ 192163 w 797401"/>
                <a:gd name="connsiteY21" fmla="*/ 326937 h 706724"/>
                <a:gd name="connsiteX22" fmla="*/ 236043 w 797401"/>
                <a:gd name="connsiteY22" fmla="*/ 324559 h 706724"/>
                <a:gd name="connsiteX23" fmla="*/ 279923 w 797401"/>
                <a:gd name="connsiteY23" fmla="*/ 340014 h 706724"/>
                <a:gd name="connsiteX24" fmla="*/ 302511 w 797401"/>
                <a:gd name="connsiteY24" fmla="*/ 345959 h 706724"/>
                <a:gd name="connsiteX25" fmla="*/ 316778 w 797401"/>
                <a:gd name="connsiteY25" fmla="*/ 341203 h 706724"/>
                <a:gd name="connsiteX26" fmla="*/ 342824 w 797401"/>
                <a:gd name="connsiteY26" fmla="*/ 348336 h 706724"/>
                <a:gd name="connsiteX27" fmla="*/ 365413 w 797401"/>
                <a:gd name="connsiteY27" fmla="*/ 381516 h 706724"/>
                <a:gd name="connsiteX28" fmla="*/ 399782 w 797401"/>
                <a:gd name="connsiteY28" fmla="*/ 442040 h 706724"/>
                <a:gd name="connsiteX29" fmla="*/ 428206 w 797401"/>
                <a:gd name="connsiteY29" fmla="*/ 493053 h 706724"/>
                <a:gd name="connsiteX30" fmla="*/ 440095 w 797401"/>
                <a:gd name="connsiteY30" fmla="*/ 508508 h 706724"/>
                <a:gd name="connsiteX31" fmla="*/ 441284 w 797401"/>
                <a:gd name="connsiteY31" fmla="*/ 519208 h 706724"/>
                <a:gd name="connsiteX32" fmla="*/ 436528 w 797401"/>
                <a:gd name="connsiteY32" fmla="*/ 535852 h 706724"/>
                <a:gd name="connsiteX33" fmla="*/ 442473 w 797401"/>
                <a:gd name="connsiteY33" fmla="*/ 554874 h 706724"/>
                <a:gd name="connsiteX34" fmla="*/ 463872 w 797401"/>
                <a:gd name="connsiteY34" fmla="*/ 598754 h 706724"/>
                <a:gd name="connsiteX35" fmla="*/ 466250 w 797401"/>
                <a:gd name="connsiteY35" fmla="*/ 617667 h 706724"/>
                <a:gd name="connsiteX36" fmla="*/ 468628 w 797401"/>
                <a:gd name="connsiteY36" fmla="*/ 637878 h 706724"/>
                <a:gd name="connsiteX37" fmla="*/ 497052 w 797401"/>
                <a:gd name="connsiteY37" fmla="*/ 649767 h 706724"/>
                <a:gd name="connsiteX38" fmla="*/ 539743 w 797401"/>
                <a:gd name="connsiteY38" fmla="*/ 671166 h 706724"/>
                <a:gd name="connsiteX39" fmla="*/ 590756 w 797401"/>
                <a:gd name="connsiteY39" fmla="*/ 706724 h 706724"/>
                <a:gd name="connsiteX40" fmla="*/ 615722 w 797401"/>
                <a:gd name="connsiteY40" fmla="*/ 692458 h 706724"/>
                <a:gd name="connsiteX41" fmla="*/ 628800 w 797401"/>
                <a:gd name="connsiteY41" fmla="*/ 680569 h 706724"/>
                <a:gd name="connsiteX42" fmla="*/ 628800 w 797401"/>
                <a:gd name="connsiteY42" fmla="*/ 678191 h 706724"/>
                <a:gd name="connsiteX43" fmla="*/ 624044 w 797401"/>
                <a:gd name="connsiteY43" fmla="*/ 643823 h 706724"/>
                <a:gd name="connsiteX44" fmla="*/ 624044 w 797401"/>
                <a:gd name="connsiteY44" fmla="*/ 641445 h 706724"/>
                <a:gd name="connsiteX45" fmla="*/ 614533 w 797401"/>
                <a:gd name="connsiteY45" fmla="*/ 605887 h 706724"/>
                <a:gd name="connsiteX46" fmla="*/ 600267 w 797401"/>
                <a:gd name="connsiteY46" fmla="*/ 593998 h 706724"/>
                <a:gd name="connsiteX47" fmla="*/ 588379 w 797401"/>
                <a:gd name="connsiteY47" fmla="*/ 585676 h 706724"/>
                <a:gd name="connsiteX48" fmla="*/ 588379 w 797401"/>
                <a:gd name="connsiteY48" fmla="*/ 584488 h 706724"/>
                <a:gd name="connsiteX49" fmla="*/ 587189 w 797401"/>
                <a:gd name="connsiteY49" fmla="*/ 558441 h 706724"/>
                <a:gd name="connsiteX50" fmla="*/ 602645 w 797401"/>
                <a:gd name="connsiteY50" fmla="*/ 533583 h 706724"/>
                <a:gd name="connsiteX51" fmla="*/ 605022 w 797401"/>
                <a:gd name="connsiteY51" fmla="*/ 514561 h 706724"/>
                <a:gd name="connsiteX52" fmla="*/ 605022 w 797401"/>
                <a:gd name="connsiteY52" fmla="*/ 509805 h 706724"/>
                <a:gd name="connsiteX53" fmla="*/ 615722 w 797401"/>
                <a:gd name="connsiteY53" fmla="*/ 494350 h 706724"/>
                <a:gd name="connsiteX54" fmla="*/ 644147 w 797401"/>
                <a:gd name="connsiteY54" fmla="*/ 487217 h 706724"/>
                <a:gd name="connsiteX55" fmla="*/ 672680 w 797401"/>
                <a:gd name="connsiteY55" fmla="*/ 486028 h 706724"/>
                <a:gd name="connsiteX56" fmla="*/ 690405 w 797401"/>
                <a:gd name="connsiteY56" fmla="*/ 456415 h 706724"/>
                <a:gd name="connsiteX57" fmla="*/ 707048 w 797401"/>
                <a:gd name="connsiteY57" fmla="*/ 432637 h 706724"/>
                <a:gd name="connsiteX58" fmla="*/ 711804 w 797401"/>
                <a:gd name="connsiteY58" fmla="*/ 413724 h 706724"/>
                <a:gd name="connsiteX59" fmla="*/ 733203 w 797401"/>
                <a:gd name="connsiteY59" fmla="*/ 407780 h 706724"/>
                <a:gd name="connsiteX60" fmla="*/ 754603 w 797401"/>
                <a:gd name="connsiteY60" fmla="*/ 417290 h 706724"/>
                <a:gd name="connsiteX61" fmla="*/ 776002 w 797401"/>
                <a:gd name="connsiteY61" fmla="*/ 429179 h 706724"/>
                <a:gd name="connsiteX62" fmla="*/ 787891 w 797401"/>
                <a:gd name="connsiteY62" fmla="*/ 429179 h 706724"/>
                <a:gd name="connsiteX63" fmla="*/ 796213 w 797401"/>
                <a:gd name="connsiteY63" fmla="*/ 417290 h 706724"/>
                <a:gd name="connsiteX64" fmla="*/ 797402 w 797401"/>
                <a:gd name="connsiteY64" fmla="*/ 325964 h 706724"/>
                <a:gd name="connsiteX65" fmla="*/ 746389 w 797401"/>
                <a:gd name="connsiteY65" fmla="*/ 333097 h 706724"/>
                <a:gd name="connsiteX66" fmla="*/ 714398 w 797401"/>
                <a:gd name="connsiteY66" fmla="*/ 334286 h 706724"/>
                <a:gd name="connsiteX67" fmla="*/ 689540 w 797401"/>
                <a:gd name="connsiteY67" fmla="*/ 341419 h 706724"/>
                <a:gd name="connsiteX68" fmla="*/ 675273 w 797401"/>
                <a:gd name="connsiteY68" fmla="*/ 359252 h 706724"/>
                <a:gd name="connsiteX69" fmla="*/ 652685 w 797401"/>
                <a:gd name="connsiteY69" fmla="*/ 365197 h 706724"/>
                <a:gd name="connsiteX70" fmla="*/ 634852 w 797401"/>
                <a:gd name="connsiteY70" fmla="*/ 348553 h 706724"/>
                <a:gd name="connsiteX71" fmla="*/ 612372 w 797401"/>
                <a:gd name="connsiteY71" fmla="*/ 322506 h 706724"/>
                <a:gd name="connsiteX72" fmla="*/ 590972 w 797401"/>
                <a:gd name="connsiteY72" fmla="*/ 318939 h 706724"/>
                <a:gd name="connsiteX73" fmla="*/ 589784 w 797401"/>
                <a:gd name="connsiteY73" fmla="*/ 318939 h 706724"/>
                <a:gd name="connsiteX74" fmla="*/ 567195 w 797401"/>
                <a:gd name="connsiteY74" fmla="*/ 296351 h 706724"/>
                <a:gd name="connsiteX75" fmla="*/ 575517 w 797401"/>
                <a:gd name="connsiteY75" fmla="*/ 271493 h 706724"/>
                <a:gd name="connsiteX76" fmla="*/ 600375 w 797401"/>
                <a:gd name="connsiteY76" fmla="*/ 245446 h 706724"/>
                <a:gd name="connsiteX77" fmla="*/ 626422 w 797401"/>
                <a:gd name="connsiteY77" fmla="*/ 225235 h 706724"/>
                <a:gd name="connsiteX78" fmla="*/ 660790 w 797401"/>
                <a:gd name="connsiteY78" fmla="*/ 200377 h 706724"/>
                <a:gd name="connsiteX79" fmla="*/ 684568 w 797401"/>
                <a:gd name="connsiteY79" fmla="*/ 169575 h 706724"/>
                <a:gd name="connsiteX80" fmla="*/ 685757 w 797401"/>
                <a:gd name="connsiteY80" fmla="*/ 150661 h 706724"/>
                <a:gd name="connsiteX81" fmla="*/ 685757 w 797401"/>
                <a:gd name="connsiteY81" fmla="*/ 150661 h 706724"/>
                <a:gd name="connsiteX82" fmla="*/ 668032 w 797401"/>
                <a:gd name="connsiteY82" fmla="*/ 134017 h 706724"/>
                <a:gd name="connsiteX83" fmla="*/ 633663 w 797401"/>
                <a:gd name="connsiteY83" fmla="*/ 132828 h 706724"/>
                <a:gd name="connsiteX84" fmla="*/ 590972 w 797401"/>
                <a:gd name="connsiteY84" fmla="*/ 124506 h 706724"/>
                <a:gd name="connsiteX85" fmla="*/ 575517 w 797401"/>
                <a:gd name="connsiteY85" fmla="*/ 134017 h 706724"/>
                <a:gd name="connsiteX86" fmla="*/ 547093 w 797401"/>
                <a:gd name="connsiteY86" fmla="*/ 124506 h 706724"/>
                <a:gd name="connsiteX87" fmla="*/ 518560 w 797401"/>
                <a:gd name="connsiteY87" fmla="*/ 118562 h 706724"/>
                <a:gd name="connsiteX88" fmla="*/ 487758 w 797401"/>
                <a:gd name="connsiteY88" fmla="*/ 125695 h 706724"/>
                <a:gd name="connsiteX89" fmla="*/ 471113 w 797401"/>
                <a:gd name="connsiteY89" fmla="*/ 150661 h 706724"/>
                <a:gd name="connsiteX90" fmla="*/ 452200 w 797401"/>
                <a:gd name="connsiteY90" fmla="*/ 151850 h 706724"/>
                <a:gd name="connsiteX91" fmla="*/ 434367 w 797401"/>
                <a:gd name="connsiteY91" fmla="*/ 141150 h 706724"/>
                <a:gd name="connsiteX92" fmla="*/ 434367 w 797401"/>
                <a:gd name="connsiteY92" fmla="*/ 139962 h 706724"/>
                <a:gd name="connsiteX93" fmla="*/ 409401 w 797401"/>
                <a:gd name="connsiteY93" fmla="*/ 125695 h 706724"/>
                <a:gd name="connsiteX94" fmla="*/ 364332 w 797401"/>
                <a:gd name="connsiteY94" fmla="*/ 141150 h 706724"/>
                <a:gd name="connsiteX95" fmla="*/ 299053 w 797401"/>
                <a:gd name="connsiteY95" fmla="*/ 126884 h 706724"/>
                <a:gd name="connsiteX96" fmla="*/ 211293 w 797401"/>
                <a:gd name="connsiteY96" fmla="*/ 74682 h 706724"/>
                <a:gd name="connsiteX97" fmla="*/ 121156 w 797401"/>
                <a:gd name="connsiteY97" fmla="*/ 34369 h 706724"/>
                <a:gd name="connsiteX98" fmla="*/ 89165 w 797401"/>
                <a:gd name="connsiteY98" fmla="*/ 10700 h 706724"/>
                <a:gd name="connsiteX99" fmla="*/ 57174 w 797401"/>
                <a:gd name="connsiteY99" fmla="*/ 0 h 706724"/>
                <a:gd name="connsiteX100" fmla="*/ 13078 w 797401"/>
                <a:gd name="connsiteY100" fmla="*/ 18157 h 706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797401" h="706724" extrusionOk="0">
                  <a:moveTo>
                    <a:pt x="13078" y="18157"/>
                  </a:moveTo>
                  <a:lnTo>
                    <a:pt x="0" y="38368"/>
                  </a:lnTo>
                  <a:lnTo>
                    <a:pt x="13078" y="55012"/>
                  </a:lnTo>
                  <a:lnTo>
                    <a:pt x="34477" y="55012"/>
                  </a:lnTo>
                  <a:lnTo>
                    <a:pt x="34477" y="66900"/>
                  </a:lnTo>
                  <a:lnTo>
                    <a:pt x="20211" y="84733"/>
                  </a:lnTo>
                  <a:lnTo>
                    <a:pt x="28533" y="97811"/>
                  </a:lnTo>
                  <a:lnTo>
                    <a:pt x="52202" y="99000"/>
                  </a:lnTo>
                  <a:lnTo>
                    <a:pt x="77060" y="114455"/>
                  </a:lnTo>
                  <a:lnTo>
                    <a:pt x="66360" y="137043"/>
                  </a:lnTo>
                  <a:lnTo>
                    <a:pt x="95974" y="135855"/>
                  </a:lnTo>
                  <a:lnTo>
                    <a:pt x="113806" y="145365"/>
                  </a:lnTo>
                  <a:lnTo>
                    <a:pt x="116184" y="179734"/>
                  </a:lnTo>
                  <a:lnTo>
                    <a:pt x="104296" y="194001"/>
                  </a:lnTo>
                  <a:lnTo>
                    <a:pt x="103107" y="208267"/>
                  </a:lnTo>
                  <a:lnTo>
                    <a:pt x="118562" y="232044"/>
                  </a:lnTo>
                  <a:lnTo>
                    <a:pt x="113806" y="247499"/>
                  </a:lnTo>
                  <a:lnTo>
                    <a:pt x="107862" y="274735"/>
                  </a:lnTo>
                  <a:lnTo>
                    <a:pt x="117373" y="309104"/>
                  </a:lnTo>
                  <a:lnTo>
                    <a:pt x="129262" y="318615"/>
                  </a:lnTo>
                  <a:lnTo>
                    <a:pt x="134017" y="331692"/>
                  </a:lnTo>
                  <a:lnTo>
                    <a:pt x="192163" y="326937"/>
                  </a:lnTo>
                  <a:lnTo>
                    <a:pt x="236043" y="324559"/>
                  </a:lnTo>
                  <a:lnTo>
                    <a:pt x="279923" y="340014"/>
                  </a:lnTo>
                  <a:lnTo>
                    <a:pt x="302511" y="345959"/>
                  </a:lnTo>
                  <a:lnTo>
                    <a:pt x="316778" y="341203"/>
                  </a:lnTo>
                  <a:lnTo>
                    <a:pt x="342824" y="348336"/>
                  </a:lnTo>
                  <a:lnTo>
                    <a:pt x="365413" y="381516"/>
                  </a:lnTo>
                  <a:lnTo>
                    <a:pt x="399782" y="442040"/>
                  </a:lnTo>
                  <a:lnTo>
                    <a:pt x="428206" y="493053"/>
                  </a:lnTo>
                  <a:lnTo>
                    <a:pt x="440095" y="508508"/>
                  </a:lnTo>
                  <a:lnTo>
                    <a:pt x="441284" y="519208"/>
                  </a:lnTo>
                  <a:lnTo>
                    <a:pt x="436528" y="535852"/>
                  </a:lnTo>
                  <a:lnTo>
                    <a:pt x="442473" y="554874"/>
                  </a:lnTo>
                  <a:lnTo>
                    <a:pt x="463872" y="598754"/>
                  </a:lnTo>
                  <a:lnTo>
                    <a:pt x="466250" y="617667"/>
                  </a:lnTo>
                  <a:lnTo>
                    <a:pt x="468628" y="637878"/>
                  </a:lnTo>
                  <a:lnTo>
                    <a:pt x="497052" y="649767"/>
                  </a:lnTo>
                  <a:lnTo>
                    <a:pt x="539743" y="671166"/>
                  </a:lnTo>
                  <a:lnTo>
                    <a:pt x="590756" y="706724"/>
                  </a:lnTo>
                  <a:lnTo>
                    <a:pt x="615722" y="692458"/>
                  </a:lnTo>
                  <a:lnTo>
                    <a:pt x="628800" y="680569"/>
                  </a:lnTo>
                  <a:lnTo>
                    <a:pt x="628800" y="678191"/>
                  </a:lnTo>
                  <a:lnTo>
                    <a:pt x="624044" y="643823"/>
                  </a:lnTo>
                  <a:lnTo>
                    <a:pt x="624044" y="641445"/>
                  </a:lnTo>
                  <a:lnTo>
                    <a:pt x="614533" y="605887"/>
                  </a:lnTo>
                  <a:lnTo>
                    <a:pt x="600267" y="593998"/>
                  </a:lnTo>
                  <a:lnTo>
                    <a:pt x="588379" y="585676"/>
                  </a:lnTo>
                  <a:lnTo>
                    <a:pt x="588379" y="584488"/>
                  </a:lnTo>
                  <a:lnTo>
                    <a:pt x="587189" y="558441"/>
                  </a:lnTo>
                  <a:lnTo>
                    <a:pt x="602645" y="533583"/>
                  </a:lnTo>
                  <a:lnTo>
                    <a:pt x="605022" y="514561"/>
                  </a:lnTo>
                  <a:cubicBezTo>
                    <a:pt x="605022" y="513372"/>
                    <a:pt x="605022" y="510994"/>
                    <a:pt x="605022" y="509805"/>
                  </a:cubicBezTo>
                  <a:lnTo>
                    <a:pt x="615722" y="494350"/>
                  </a:lnTo>
                  <a:lnTo>
                    <a:pt x="644147" y="487217"/>
                  </a:lnTo>
                  <a:lnTo>
                    <a:pt x="672680" y="486028"/>
                  </a:lnTo>
                  <a:lnTo>
                    <a:pt x="690405" y="456415"/>
                  </a:lnTo>
                  <a:lnTo>
                    <a:pt x="707048" y="432637"/>
                  </a:lnTo>
                  <a:lnTo>
                    <a:pt x="711804" y="413724"/>
                  </a:lnTo>
                  <a:lnTo>
                    <a:pt x="733203" y="407780"/>
                  </a:lnTo>
                  <a:lnTo>
                    <a:pt x="754603" y="417290"/>
                  </a:lnTo>
                  <a:lnTo>
                    <a:pt x="776002" y="429179"/>
                  </a:lnTo>
                  <a:lnTo>
                    <a:pt x="787891" y="429179"/>
                  </a:lnTo>
                  <a:lnTo>
                    <a:pt x="796213" y="417290"/>
                  </a:lnTo>
                  <a:lnTo>
                    <a:pt x="797402" y="325964"/>
                  </a:lnTo>
                  <a:lnTo>
                    <a:pt x="746389" y="333097"/>
                  </a:lnTo>
                  <a:lnTo>
                    <a:pt x="714398" y="334286"/>
                  </a:lnTo>
                  <a:lnTo>
                    <a:pt x="689540" y="341419"/>
                  </a:lnTo>
                  <a:lnTo>
                    <a:pt x="675273" y="359252"/>
                  </a:lnTo>
                  <a:lnTo>
                    <a:pt x="652685" y="365197"/>
                  </a:lnTo>
                  <a:lnTo>
                    <a:pt x="634852" y="348553"/>
                  </a:lnTo>
                  <a:lnTo>
                    <a:pt x="612372" y="322506"/>
                  </a:lnTo>
                  <a:lnTo>
                    <a:pt x="590972" y="318939"/>
                  </a:lnTo>
                  <a:lnTo>
                    <a:pt x="589784" y="318939"/>
                  </a:lnTo>
                  <a:lnTo>
                    <a:pt x="567195" y="296351"/>
                  </a:lnTo>
                  <a:lnTo>
                    <a:pt x="575517" y="271493"/>
                  </a:lnTo>
                  <a:lnTo>
                    <a:pt x="600375" y="245446"/>
                  </a:lnTo>
                  <a:lnTo>
                    <a:pt x="626422" y="225235"/>
                  </a:lnTo>
                  <a:lnTo>
                    <a:pt x="660790" y="200377"/>
                  </a:lnTo>
                  <a:lnTo>
                    <a:pt x="684568" y="169575"/>
                  </a:lnTo>
                  <a:lnTo>
                    <a:pt x="685757" y="150661"/>
                  </a:lnTo>
                  <a:lnTo>
                    <a:pt x="685757" y="150661"/>
                  </a:lnTo>
                  <a:lnTo>
                    <a:pt x="668032" y="134017"/>
                  </a:lnTo>
                  <a:lnTo>
                    <a:pt x="633663" y="132828"/>
                  </a:lnTo>
                  <a:lnTo>
                    <a:pt x="590972" y="124506"/>
                  </a:lnTo>
                  <a:lnTo>
                    <a:pt x="575517" y="134017"/>
                  </a:lnTo>
                  <a:lnTo>
                    <a:pt x="547093" y="124506"/>
                  </a:lnTo>
                  <a:lnTo>
                    <a:pt x="518560" y="118562"/>
                  </a:lnTo>
                  <a:lnTo>
                    <a:pt x="487758" y="125695"/>
                  </a:lnTo>
                  <a:lnTo>
                    <a:pt x="471113" y="150661"/>
                  </a:lnTo>
                  <a:lnTo>
                    <a:pt x="452200" y="151850"/>
                  </a:lnTo>
                  <a:lnTo>
                    <a:pt x="434367" y="141150"/>
                  </a:lnTo>
                  <a:lnTo>
                    <a:pt x="434367" y="139962"/>
                  </a:lnTo>
                  <a:lnTo>
                    <a:pt x="409401" y="125695"/>
                  </a:lnTo>
                  <a:lnTo>
                    <a:pt x="364332" y="141150"/>
                  </a:lnTo>
                  <a:lnTo>
                    <a:pt x="299053" y="126884"/>
                  </a:lnTo>
                  <a:lnTo>
                    <a:pt x="211293" y="74682"/>
                  </a:lnTo>
                  <a:lnTo>
                    <a:pt x="121156" y="34369"/>
                  </a:lnTo>
                  <a:lnTo>
                    <a:pt x="89165" y="10700"/>
                  </a:lnTo>
                  <a:lnTo>
                    <a:pt x="57174" y="0"/>
                  </a:lnTo>
                  <a:lnTo>
                    <a:pt x="13078" y="18157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2" name="Полилиния: фигура 212"/>
            <p:cNvSpPr/>
            <p:nvPr/>
          </p:nvSpPr>
          <p:spPr bwMode="auto">
            <a:xfrm>
              <a:off x="7735731" y="5203572"/>
              <a:ext cx="253768" cy="183949"/>
            </a:xfrm>
            <a:custGeom>
              <a:avLst/>
              <a:gdLst>
                <a:gd name="connsiteX0" fmla="*/ 0 w 253768"/>
                <a:gd name="connsiteY0" fmla="*/ 65387 h 183949"/>
                <a:gd name="connsiteX1" fmla="*/ 23777 w 253768"/>
                <a:gd name="connsiteY1" fmla="*/ 51121 h 183949"/>
                <a:gd name="connsiteX2" fmla="*/ 38044 w 253768"/>
                <a:gd name="connsiteY2" fmla="*/ 39232 h 183949"/>
                <a:gd name="connsiteX3" fmla="*/ 45177 w 253768"/>
                <a:gd name="connsiteY3" fmla="*/ 26155 h 183949"/>
                <a:gd name="connsiteX4" fmla="*/ 73601 w 253768"/>
                <a:gd name="connsiteY4" fmla="*/ 2378 h 183949"/>
                <a:gd name="connsiteX5" fmla="*/ 100837 w 253768"/>
                <a:gd name="connsiteY5" fmla="*/ 0 h 183949"/>
                <a:gd name="connsiteX6" fmla="*/ 124506 w 253768"/>
                <a:gd name="connsiteY6" fmla="*/ 18914 h 183949"/>
                <a:gd name="connsiteX7" fmla="*/ 139962 w 253768"/>
                <a:gd name="connsiteY7" fmla="*/ 47446 h 183949"/>
                <a:gd name="connsiteX8" fmla="*/ 169575 w 253768"/>
                <a:gd name="connsiteY8" fmla="*/ 49824 h 183949"/>
                <a:gd name="connsiteX9" fmla="*/ 200378 w 253768"/>
                <a:gd name="connsiteY9" fmla="*/ 52202 h 183949"/>
                <a:gd name="connsiteX10" fmla="*/ 234746 w 253768"/>
                <a:gd name="connsiteY10" fmla="*/ 72412 h 183949"/>
                <a:gd name="connsiteX11" fmla="*/ 250202 w 253768"/>
                <a:gd name="connsiteY11" fmla="*/ 100837 h 183949"/>
                <a:gd name="connsiteX12" fmla="*/ 253768 w 253768"/>
                <a:gd name="connsiteY12" fmla="*/ 134017 h 183949"/>
                <a:gd name="connsiteX13" fmla="*/ 231288 w 253768"/>
                <a:gd name="connsiteY13" fmla="*/ 143528 h 183949"/>
                <a:gd name="connsiteX14" fmla="*/ 213455 w 253768"/>
                <a:gd name="connsiteY14" fmla="*/ 145906 h 183949"/>
                <a:gd name="connsiteX15" fmla="*/ 213455 w 253768"/>
                <a:gd name="connsiteY15" fmla="*/ 145906 h 183949"/>
                <a:gd name="connsiteX16" fmla="*/ 190867 w 253768"/>
                <a:gd name="connsiteY16" fmla="*/ 150661 h 183949"/>
                <a:gd name="connsiteX17" fmla="*/ 170656 w 253768"/>
                <a:gd name="connsiteY17" fmla="*/ 153039 h 183949"/>
                <a:gd name="connsiteX18" fmla="*/ 150445 w 253768"/>
                <a:gd name="connsiteY18" fmla="*/ 164927 h 183949"/>
                <a:gd name="connsiteX19" fmla="*/ 149256 w 253768"/>
                <a:gd name="connsiteY19" fmla="*/ 164927 h 183949"/>
                <a:gd name="connsiteX20" fmla="*/ 122021 w 253768"/>
                <a:gd name="connsiteY20" fmla="*/ 175627 h 183949"/>
                <a:gd name="connsiteX21" fmla="*/ 98243 w 253768"/>
                <a:gd name="connsiteY21" fmla="*/ 183949 h 183949"/>
                <a:gd name="connsiteX22" fmla="*/ 72197 w 253768"/>
                <a:gd name="connsiteY22" fmla="*/ 173249 h 183949"/>
                <a:gd name="connsiteX23" fmla="*/ 56741 w 253768"/>
                <a:gd name="connsiteY23" fmla="*/ 163739 h 183949"/>
                <a:gd name="connsiteX24" fmla="*/ 48420 w 253768"/>
                <a:gd name="connsiteY24" fmla="*/ 151850 h 183949"/>
                <a:gd name="connsiteX25" fmla="*/ 46041 w 253768"/>
                <a:gd name="connsiteY25" fmla="*/ 129262 h 183949"/>
                <a:gd name="connsiteX26" fmla="*/ 46041 w 253768"/>
                <a:gd name="connsiteY26" fmla="*/ 104404 h 183949"/>
                <a:gd name="connsiteX27" fmla="*/ 36531 w 253768"/>
                <a:gd name="connsiteY27" fmla="*/ 94893 h 183949"/>
                <a:gd name="connsiteX28" fmla="*/ 13943 w 253768"/>
                <a:gd name="connsiteY28" fmla="*/ 78249 h 183949"/>
                <a:gd name="connsiteX29" fmla="*/ 3243 w 253768"/>
                <a:gd name="connsiteY29" fmla="*/ 69927 h 183949"/>
                <a:gd name="connsiteX30" fmla="*/ 0 w 253768"/>
                <a:gd name="connsiteY30" fmla="*/ 65387 h 183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3768" h="183949" extrusionOk="0">
                  <a:moveTo>
                    <a:pt x="0" y="65387"/>
                  </a:moveTo>
                  <a:lnTo>
                    <a:pt x="23777" y="51121"/>
                  </a:lnTo>
                  <a:lnTo>
                    <a:pt x="38044" y="39232"/>
                  </a:lnTo>
                  <a:lnTo>
                    <a:pt x="45177" y="26155"/>
                  </a:lnTo>
                  <a:lnTo>
                    <a:pt x="73601" y="2378"/>
                  </a:lnTo>
                  <a:lnTo>
                    <a:pt x="100837" y="0"/>
                  </a:lnTo>
                  <a:lnTo>
                    <a:pt x="124506" y="18914"/>
                  </a:lnTo>
                  <a:lnTo>
                    <a:pt x="139962" y="47446"/>
                  </a:lnTo>
                  <a:lnTo>
                    <a:pt x="169575" y="49824"/>
                  </a:lnTo>
                  <a:lnTo>
                    <a:pt x="200378" y="52202"/>
                  </a:lnTo>
                  <a:lnTo>
                    <a:pt x="234746" y="72412"/>
                  </a:lnTo>
                  <a:lnTo>
                    <a:pt x="250202" y="100837"/>
                  </a:lnTo>
                  <a:lnTo>
                    <a:pt x="253768" y="134017"/>
                  </a:lnTo>
                  <a:lnTo>
                    <a:pt x="231288" y="143528"/>
                  </a:lnTo>
                  <a:lnTo>
                    <a:pt x="213455" y="145906"/>
                  </a:lnTo>
                  <a:lnTo>
                    <a:pt x="213455" y="145906"/>
                  </a:lnTo>
                  <a:lnTo>
                    <a:pt x="190867" y="150661"/>
                  </a:lnTo>
                  <a:lnTo>
                    <a:pt x="170656" y="153039"/>
                  </a:lnTo>
                  <a:lnTo>
                    <a:pt x="150445" y="164927"/>
                  </a:lnTo>
                  <a:lnTo>
                    <a:pt x="149256" y="164927"/>
                  </a:lnTo>
                  <a:lnTo>
                    <a:pt x="122021" y="175627"/>
                  </a:lnTo>
                  <a:lnTo>
                    <a:pt x="98243" y="183949"/>
                  </a:lnTo>
                  <a:lnTo>
                    <a:pt x="72197" y="173249"/>
                  </a:lnTo>
                  <a:lnTo>
                    <a:pt x="56741" y="163739"/>
                  </a:lnTo>
                  <a:lnTo>
                    <a:pt x="48420" y="151850"/>
                  </a:lnTo>
                  <a:lnTo>
                    <a:pt x="46041" y="129262"/>
                  </a:lnTo>
                  <a:lnTo>
                    <a:pt x="46041" y="104404"/>
                  </a:lnTo>
                  <a:lnTo>
                    <a:pt x="36531" y="94893"/>
                  </a:lnTo>
                  <a:lnTo>
                    <a:pt x="13943" y="78249"/>
                  </a:lnTo>
                  <a:lnTo>
                    <a:pt x="3243" y="69927"/>
                  </a:lnTo>
                  <a:lnTo>
                    <a:pt x="0" y="65387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3" name="Полилиния: фигура 213"/>
            <p:cNvSpPr/>
            <p:nvPr/>
          </p:nvSpPr>
          <p:spPr bwMode="auto">
            <a:xfrm>
              <a:off x="10301176" y="2782434"/>
              <a:ext cx="161586" cy="55921"/>
            </a:xfrm>
            <a:custGeom>
              <a:avLst/>
              <a:gdLst>
                <a:gd name="connsiteX0" fmla="*/ 131973 w 161586"/>
                <a:gd name="connsiteY0" fmla="*/ 53684 h 55921"/>
                <a:gd name="connsiteX1" fmla="*/ 26381 w 161586"/>
                <a:gd name="connsiteY1" fmla="*/ 46550 h 55921"/>
                <a:gd name="connsiteX2" fmla="*/ 15681 w 161586"/>
                <a:gd name="connsiteY2" fmla="*/ 9804 h 55921"/>
                <a:gd name="connsiteX3" fmla="*/ 96308 w 161586"/>
                <a:gd name="connsiteY3" fmla="*/ 7426 h 55921"/>
                <a:gd name="connsiteX4" fmla="*/ 161587 w 161586"/>
                <a:gd name="connsiteY4" fmla="*/ 20504 h 55921"/>
                <a:gd name="connsiteX5" fmla="*/ 131973 w 161586"/>
                <a:gd name="connsiteY5" fmla="*/ 53684 h 55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586" h="55921" extrusionOk="0">
                  <a:moveTo>
                    <a:pt x="131973" y="53684"/>
                  </a:moveTo>
                  <a:cubicBezTo>
                    <a:pt x="114141" y="54873"/>
                    <a:pt x="51347" y="60817"/>
                    <a:pt x="26381" y="46550"/>
                  </a:cubicBezTo>
                  <a:cubicBezTo>
                    <a:pt x="1523" y="32284"/>
                    <a:pt x="-12744" y="20504"/>
                    <a:pt x="15681" y="9804"/>
                  </a:cubicBezTo>
                  <a:cubicBezTo>
                    <a:pt x="44214" y="-896"/>
                    <a:pt x="60750" y="-4462"/>
                    <a:pt x="96308" y="7426"/>
                  </a:cubicBezTo>
                  <a:cubicBezTo>
                    <a:pt x="131865" y="20504"/>
                    <a:pt x="161587" y="9804"/>
                    <a:pt x="161587" y="20504"/>
                  </a:cubicBezTo>
                  <a:cubicBezTo>
                    <a:pt x="161587" y="31095"/>
                    <a:pt x="156831" y="51306"/>
                    <a:pt x="131973" y="53684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4" name="Полилиния: фигура 214"/>
            <p:cNvSpPr/>
            <p:nvPr/>
          </p:nvSpPr>
          <p:spPr bwMode="auto">
            <a:xfrm>
              <a:off x="10750919" y="3832897"/>
              <a:ext cx="147762" cy="76719"/>
            </a:xfrm>
            <a:custGeom>
              <a:avLst/>
              <a:gdLst>
                <a:gd name="connsiteX0" fmla="*/ 109248 w 147762"/>
                <a:gd name="connsiteY0" fmla="*/ 76654 h 76719"/>
                <a:gd name="connsiteX1" fmla="*/ 43969 w 147762"/>
                <a:gd name="connsiteY1" fmla="*/ 35152 h 76719"/>
                <a:gd name="connsiteX2" fmla="*/ 10789 w 147762"/>
                <a:gd name="connsiteY2" fmla="*/ 44663 h 76719"/>
                <a:gd name="connsiteX3" fmla="*/ 7222 w 147762"/>
                <a:gd name="connsiteY3" fmla="*/ 3161 h 76719"/>
                <a:gd name="connsiteX4" fmla="*/ 52291 w 147762"/>
                <a:gd name="connsiteY4" fmla="*/ 17427 h 76719"/>
                <a:gd name="connsiteX5" fmla="*/ 97360 w 147762"/>
                <a:gd name="connsiteY5" fmla="*/ 3161 h 76719"/>
                <a:gd name="connsiteX6" fmla="*/ 147184 w 147762"/>
                <a:gd name="connsiteY6" fmla="*/ 57740 h 76719"/>
                <a:gd name="connsiteX7" fmla="*/ 109248 w 147762"/>
                <a:gd name="connsiteY7" fmla="*/ 76654 h 76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7762" h="76719" extrusionOk="0">
                  <a:moveTo>
                    <a:pt x="109248" y="76654"/>
                  </a:moveTo>
                  <a:cubicBezTo>
                    <a:pt x="82012" y="73087"/>
                    <a:pt x="54669" y="33963"/>
                    <a:pt x="43969" y="35152"/>
                  </a:cubicBezTo>
                  <a:cubicBezTo>
                    <a:pt x="33269" y="37529"/>
                    <a:pt x="23759" y="57740"/>
                    <a:pt x="10789" y="44663"/>
                  </a:cubicBezTo>
                  <a:cubicBezTo>
                    <a:pt x="-2289" y="32774"/>
                    <a:pt x="-3477" y="-2784"/>
                    <a:pt x="7222" y="3161"/>
                  </a:cubicBezTo>
                  <a:cubicBezTo>
                    <a:pt x="19111" y="10294"/>
                    <a:pt x="39214" y="19804"/>
                    <a:pt x="52291" y="17427"/>
                  </a:cubicBezTo>
                  <a:cubicBezTo>
                    <a:pt x="64180" y="16238"/>
                    <a:pt x="83093" y="-8620"/>
                    <a:pt x="97360" y="3161"/>
                  </a:cubicBezTo>
                  <a:cubicBezTo>
                    <a:pt x="111626" y="16238"/>
                    <a:pt x="153128" y="52985"/>
                    <a:pt x="147184" y="57740"/>
                  </a:cubicBezTo>
                  <a:cubicBezTo>
                    <a:pt x="140050" y="62496"/>
                    <a:pt x="121029" y="77843"/>
                    <a:pt x="109248" y="76654"/>
                  </a:cubicBez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5" name="Полилиния: фигура 215"/>
            <p:cNvSpPr/>
            <p:nvPr/>
          </p:nvSpPr>
          <p:spPr bwMode="auto">
            <a:xfrm>
              <a:off x="9141074" y="2982074"/>
              <a:ext cx="1722964" cy="1066464"/>
            </a:xfrm>
            <a:custGeom>
              <a:avLst/>
              <a:gdLst>
                <a:gd name="connsiteX0" fmla="*/ 282625 w 1722964"/>
                <a:gd name="connsiteY0" fmla="*/ 50961 h 1066464"/>
                <a:gd name="connsiteX1" fmla="*/ 404753 w 1722964"/>
                <a:gd name="connsiteY1" fmla="*/ 64039 h 1066464"/>
                <a:gd name="connsiteX2" fmla="*/ 537581 w 1722964"/>
                <a:gd name="connsiteY2" fmla="*/ 69983 h 1066464"/>
                <a:gd name="connsiteX3" fmla="*/ 551848 w 1722964"/>
                <a:gd name="connsiteY3" fmla="*/ 49772 h 1066464"/>
                <a:gd name="connsiteX4" fmla="*/ 568492 w 1722964"/>
                <a:gd name="connsiteY4" fmla="*/ 117429 h 1066464"/>
                <a:gd name="connsiteX5" fmla="*/ 615938 w 1722964"/>
                <a:gd name="connsiteY5" fmla="*/ 167253 h 1066464"/>
                <a:gd name="connsiteX6" fmla="*/ 636149 w 1722964"/>
                <a:gd name="connsiteY6" fmla="*/ 226588 h 1066464"/>
                <a:gd name="connsiteX7" fmla="*/ 645660 w 1722964"/>
                <a:gd name="connsiteY7" fmla="*/ 193408 h 1066464"/>
                <a:gd name="connsiteX8" fmla="*/ 672896 w 1722964"/>
                <a:gd name="connsiteY8" fmla="*/ 220644 h 1066464"/>
                <a:gd name="connsiteX9" fmla="*/ 696673 w 1722964"/>
                <a:gd name="connsiteY9" fmla="*/ 179142 h 1066464"/>
                <a:gd name="connsiteX10" fmla="*/ 710939 w 1722964"/>
                <a:gd name="connsiteY10" fmla="*/ 154284 h 1066464"/>
                <a:gd name="connsiteX11" fmla="*/ 702617 w 1722964"/>
                <a:gd name="connsiteY11" fmla="*/ 117537 h 1066464"/>
                <a:gd name="connsiteX12" fmla="*/ 699050 w 1722964"/>
                <a:gd name="connsiteY12" fmla="*/ 90302 h 1066464"/>
                <a:gd name="connsiteX13" fmla="*/ 675273 w 1722964"/>
                <a:gd name="connsiteY13" fmla="*/ 57122 h 1066464"/>
                <a:gd name="connsiteX14" fmla="*/ 704994 w 1722964"/>
                <a:gd name="connsiteY14" fmla="*/ 34533 h 1066464"/>
                <a:gd name="connsiteX15" fmla="*/ 696673 w 1722964"/>
                <a:gd name="connsiteY15" fmla="*/ 3731 h 1066464"/>
                <a:gd name="connsiteX16" fmla="*/ 766599 w 1722964"/>
                <a:gd name="connsiteY16" fmla="*/ 25131 h 1066464"/>
                <a:gd name="connsiteX17" fmla="*/ 964707 w 1722964"/>
                <a:gd name="connsiteY17" fmla="*/ 32264 h 1066464"/>
                <a:gd name="connsiteX18" fmla="*/ 1012153 w 1722964"/>
                <a:gd name="connsiteY18" fmla="*/ 83277 h 1066464"/>
                <a:gd name="connsiteX19" fmla="*/ 1085647 w 1722964"/>
                <a:gd name="connsiteY19" fmla="*/ 111701 h 1066464"/>
                <a:gd name="connsiteX20" fmla="*/ 1111693 w 1722964"/>
                <a:gd name="connsiteY20" fmla="*/ 162714 h 1066464"/>
                <a:gd name="connsiteX21" fmla="*/ 1154384 w 1722964"/>
                <a:gd name="connsiteY21" fmla="*/ 174603 h 1066464"/>
                <a:gd name="connsiteX22" fmla="*/ 1200641 w 1722964"/>
                <a:gd name="connsiteY22" fmla="*/ 223238 h 1066464"/>
                <a:gd name="connsiteX23" fmla="*/ 1258788 w 1722964"/>
                <a:gd name="connsiteY23" fmla="*/ 262362 h 1066464"/>
                <a:gd name="connsiteX24" fmla="*/ 1332281 w 1722964"/>
                <a:gd name="connsiteY24" fmla="*/ 293165 h 1066464"/>
                <a:gd name="connsiteX25" fmla="*/ 1384483 w 1722964"/>
                <a:gd name="connsiteY25" fmla="*/ 351311 h 1066464"/>
                <a:gd name="connsiteX26" fmla="*/ 1468676 w 1722964"/>
                <a:gd name="connsiteY26" fmla="*/ 358444 h 1066464"/>
                <a:gd name="connsiteX27" fmla="*/ 1484131 w 1722964"/>
                <a:gd name="connsiteY27" fmla="*/ 402324 h 1066464"/>
                <a:gd name="connsiteX28" fmla="*/ 1492453 w 1722964"/>
                <a:gd name="connsiteY28" fmla="*/ 525641 h 1066464"/>
                <a:gd name="connsiteX29" fmla="*/ 1511475 w 1722964"/>
                <a:gd name="connsiteY29" fmla="*/ 446203 h 1066464"/>
                <a:gd name="connsiteX30" fmla="*/ 1568432 w 1722964"/>
                <a:gd name="connsiteY30" fmla="*/ 442637 h 1066464"/>
                <a:gd name="connsiteX31" fmla="*/ 1609934 w 1722964"/>
                <a:gd name="connsiteY31" fmla="*/ 450959 h 1066464"/>
                <a:gd name="connsiteX32" fmla="*/ 1637170 w 1722964"/>
                <a:gd name="connsiteY32" fmla="*/ 496028 h 1066464"/>
                <a:gd name="connsiteX33" fmla="*/ 1660839 w 1722964"/>
                <a:gd name="connsiteY33" fmla="*/ 497216 h 1066464"/>
                <a:gd name="connsiteX34" fmla="*/ 1692830 w 1722964"/>
                <a:gd name="connsiteY34" fmla="*/ 554174 h 1066464"/>
                <a:gd name="connsiteX35" fmla="*/ 1715418 w 1722964"/>
                <a:gd name="connsiteY35" fmla="*/ 579032 h 1066464"/>
                <a:gd name="connsiteX36" fmla="*/ 1685697 w 1722964"/>
                <a:gd name="connsiteY36" fmla="*/ 608645 h 1066464"/>
                <a:gd name="connsiteX37" fmla="*/ 1667864 w 1722964"/>
                <a:gd name="connsiteY37" fmla="*/ 634692 h 1066464"/>
                <a:gd name="connsiteX38" fmla="*/ 1631117 w 1722964"/>
                <a:gd name="connsiteY38" fmla="*/ 611023 h 1066464"/>
                <a:gd name="connsiteX39" fmla="*/ 1631117 w 1722964"/>
                <a:gd name="connsiteY39" fmla="*/ 643014 h 1066464"/>
                <a:gd name="connsiteX40" fmla="*/ 1576538 w 1722964"/>
                <a:gd name="connsiteY40" fmla="*/ 637070 h 1066464"/>
                <a:gd name="connsiteX41" fmla="*/ 1578915 w 1722964"/>
                <a:gd name="connsiteY41" fmla="*/ 669061 h 1066464"/>
                <a:gd name="connsiteX42" fmla="*/ 1577727 w 1722964"/>
                <a:gd name="connsiteY42" fmla="*/ 717696 h 1066464"/>
                <a:gd name="connsiteX43" fmla="*/ 1548113 w 1722964"/>
                <a:gd name="connsiteY43" fmla="*/ 733152 h 1066464"/>
                <a:gd name="connsiteX44" fmla="*/ 1563568 w 1722964"/>
                <a:gd name="connsiteY44" fmla="*/ 749795 h 1066464"/>
                <a:gd name="connsiteX45" fmla="*/ 1588426 w 1722964"/>
                <a:gd name="connsiteY45" fmla="*/ 761684 h 1066464"/>
                <a:gd name="connsiteX46" fmla="*/ 1533847 w 1722964"/>
                <a:gd name="connsiteY46" fmla="*/ 786542 h 1066464"/>
                <a:gd name="connsiteX47" fmla="*/ 1487590 w 1722964"/>
                <a:gd name="connsiteY47" fmla="*/ 754551 h 1066464"/>
                <a:gd name="connsiteX48" fmla="*/ 1409341 w 1722964"/>
                <a:gd name="connsiteY48" fmla="*/ 740284 h 1066464"/>
                <a:gd name="connsiteX49" fmla="*/ 1393885 w 1722964"/>
                <a:gd name="connsiteY49" fmla="*/ 703538 h 1066464"/>
                <a:gd name="connsiteX50" fmla="*/ 1373675 w 1722964"/>
                <a:gd name="connsiteY50" fmla="*/ 652525 h 1066464"/>
                <a:gd name="connsiteX51" fmla="*/ 1266893 w 1722964"/>
                <a:gd name="connsiteY51" fmla="*/ 643014 h 1066464"/>
                <a:gd name="connsiteX52" fmla="*/ 1240847 w 1722964"/>
                <a:gd name="connsiteY52" fmla="*/ 614590 h 1066464"/>
                <a:gd name="connsiteX53" fmla="*/ 1238469 w 1722964"/>
                <a:gd name="connsiteY53" fmla="*/ 581410 h 1066464"/>
                <a:gd name="connsiteX54" fmla="*/ 1232525 w 1722964"/>
                <a:gd name="connsiteY54" fmla="*/ 558821 h 1066464"/>
                <a:gd name="connsiteX55" fmla="*/ 1209937 w 1722964"/>
                <a:gd name="connsiteY55" fmla="*/ 548121 h 1066464"/>
                <a:gd name="connsiteX56" fmla="*/ 1198048 w 1722964"/>
                <a:gd name="connsiteY56" fmla="*/ 618156 h 1066464"/>
                <a:gd name="connsiteX57" fmla="*/ 1208747 w 1722964"/>
                <a:gd name="connsiteY57" fmla="*/ 641933 h 1066464"/>
                <a:gd name="connsiteX58" fmla="*/ 1174378 w 1722964"/>
                <a:gd name="connsiteY58" fmla="*/ 709590 h 1066464"/>
                <a:gd name="connsiteX59" fmla="*/ 1100885 w 1722964"/>
                <a:gd name="connsiteY59" fmla="*/ 740393 h 1066464"/>
                <a:gd name="connsiteX60" fmla="*/ 1059384 w 1722964"/>
                <a:gd name="connsiteY60" fmla="*/ 730882 h 1066464"/>
                <a:gd name="connsiteX61" fmla="*/ 1008370 w 1722964"/>
                <a:gd name="connsiteY61" fmla="*/ 718993 h 1066464"/>
                <a:gd name="connsiteX62" fmla="*/ 998859 w 1722964"/>
                <a:gd name="connsiteY62" fmla="*/ 741582 h 1066464"/>
                <a:gd name="connsiteX63" fmla="*/ 1020259 w 1722964"/>
                <a:gd name="connsiteY63" fmla="*/ 768817 h 1066464"/>
                <a:gd name="connsiteX64" fmla="*/ 1028581 w 1722964"/>
                <a:gd name="connsiteY64" fmla="*/ 845877 h 1066464"/>
                <a:gd name="connsiteX65" fmla="*/ 1070083 w 1722964"/>
                <a:gd name="connsiteY65" fmla="*/ 839933 h 1066464"/>
                <a:gd name="connsiteX66" fmla="*/ 1085538 w 1722964"/>
                <a:gd name="connsiteY66" fmla="*/ 831611 h 1066464"/>
                <a:gd name="connsiteX67" fmla="*/ 1097427 w 1722964"/>
                <a:gd name="connsiteY67" fmla="*/ 868357 h 1066464"/>
                <a:gd name="connsiteX68" fmla="*/ 1127040 w 1722964"/>
                <a:gd name="connsiteY68" fmla="*/ 902726 h 1066464"/>
                <a:gd name="connsiteX69" fmla="*/ 1148440 w 1722964"/>
                <a:gd name="connsiteY69" fmla="*/ 953739 h 1066464"/>
                <a:gd name="connsiteX70" fmla="*/ 1138929 w 1722964"/>
                <a:gd name="connsiteY70" fmla="*/ 990486 h 1066464"/>
                <a:gd name="connsiteX71" fmla="*/ 1102182 w 1722964"/>
                <a:gd name="connsiteY71" fmla="*/ 1002374 h 1066464"/>
                <a:gd name="connsiteX72" fmla="*/ 1057114 w 1722964"/>
                <a:gd name="connsiteY72" fmla="*/ 986919 h 1066464"/>
                <a:gd name="connsiteX73" fmla="*/ 1023934 w 1722964"/>
                <a:gd name="connsiteY73" fmla="*/ 991675 h 1066464"/>
                <a:gd name="connsiteX74" fmla="*/ 976487 w 1722964"/>
                <a:gd name="connsiteY74" fmla="*/ 1002374 h 1066464"/>
                <a:gd name="connsiteX75" fmla="*/ 932607 w 1722964"/>
                <a:gd name="connsiteY75" fmla="*/ 1024963 h 1066464"/>
                <a:gd name="connsiteX76" fmla="*/ 880406 w 1722964"/>
                <a:gd name="connsiteY76" fmla="*/ 1066465 h 1066464"/>
                <a:gd name="connsiteX77" fmla="*/ 861384 w 1722964"/>
                <a:gd name="connsiteY77" fmla="*/ 1054576 h 1066464"/>
                <a:gd name="connsiteX78" fmla="*/ 847118 w 1722964"/>
                <a:gd name="connsiteY78" fmla="*/ 1008319 h 1066464"/>
                <a:gd name="connsiteX79" fmla="*/ 835229 w 1722964"/>
                <a:gd name="connsiteY79" fmla="*/ 1002374 h 1066464"/>
                <a:gd name="connsiteX80" fmla="*/ 816315 w 1722964"/>
                <a:gd name="connsiteY80" fmla="*/ 1013074 h 1066464"/>
                <a:gd name="connsiteX81" fmla="*/ 765302 w 1722964"/>
                <a:gd name="connsiteY81" fmla="*/ 1019018 h 1066464"/>
                <a:gd name="connsiteX82" fmla="*/ 746280 w 1722964"/>
                <a:gd name="connsiteY82" fmla="*/ 1020207 h 1066464"/>
                <a:gd name="connsiteX83" fmla="*/ 713100 w 1722964"/>
                <a:gd name="connsiteY83" fmla="*/ 1029718 h 1066464"/>
                <a:gd name="connsiteX84" fmla="*/ 678732 w 1722964"/>
                <a:gd name="connsiteY84" fmla="*/ 1028529 h 1066464"/>
                <a:gd name="connsiteX85" fmla="*/ 671599 w 1722964"/>
                <a:gd name="connsiteY85" fmla="*/ 1024963 h 1066464"/>
                <a:gd name="connsiteX86" fmla="*/ 649010 w 1722964"/>
                <a:gd name="connsiteY86" fmla="*/ 992972 h 1066464"/>
                <a:gd name="connsiteX87" fmla="*/ 634744 w 1722964"/>
                <a:gd name="connsiteY87" fmla="*/ 992972 h 1066464"/>
                <a:gd name="connsiteX88" fmla="*/ 632366 w 1722964"/>
                <a:gd name="connsiteY88" fmla="*/ 960980 h 1066464"/>
                <a:gd name="connsiteX89" fmla="*/ 618100 w 1722964"/>
                <a:gd name="connsiteY89" fmla="*/ 953847 h 1066464"/>
                <a:gd name="connsiteX90" fmla="*/ 578975 w 1722964"/>
                <a:gd name="connsiteY90" fmla="*/ 951470 h 1066464"/>
                <a:gd name="connsiteX91" fmla="*/ 568276 w 1722964"/>
                <a:gd name="connsiteY91" fmla="*/ 924234 h 1066464"/>
                <a:gd name="connsiteX92" fmla="*/ 580164 w 1722964"/>
                <a:gd name="connsiteY92" fmla="*/ 907590 h 1066464"/>
                <a:gd name="connsiteX93" fmla="*/ 628799 w 1722964"/>
                <a:gd name="connsiteY93" fmla="*/ 869654 h 1066464"/>
                <a:gd name="connsiteX94" fmla="*/ 616911 w 1722964"/>
                <a:gd name="connsiteY94" fmla="*/ 835285 h 1066464"/>
                <a:gd name="connsiteX95" fmla="*/ 615722 w 1722964"/>
                <a:gd name="connsiteY95" fmla="*/ 835285 h 1066464"/>
                <a:gd name="connsiteX96" fmla="*/ 586108 w 1722964"/>
                <a:gd name="connsiteY96" fmla="*/ 819830 h 1066464"/>
                <a:gd name="connsiteX97" fmla="*/ 551740 w 1722964"/>
                <a:gd name="connsiteY97" fmla="*/ 786650 h 1066464"/>
                <a:gd name="connsiteX98" fmla="*/ 526882 w 1722964"/>
                <a:gd name="connsiteY98" fmla="*/ 791406 h 1066464"/>
                <a:gd name="connsiteX99" fmla="*/ 503104 w 1722964"/>
                <a:gd name="connsiteY99" fmla="*/ 768817 h 1066464"/>
                <a:gd name="connsiteX100" fmla="*/ 443769 w 1722964"/>
                <a:gd name="connsiteY100" fmla="*/ 753362 h 1066464"/>
                <a:gd name="connsiteX101" fmla="*/ 418912 w 1722964"/>
                <a:gd name="connsiteY101" fmla="*/ 753362 h 1066464"/>
                <a:gd name="connsiteX102" fmla="*/ 399890 w 1722964"/>
                <a:gd name="connsiteY102" fmla="*/ 737907 h 1066464"/>
                <a:gd name="connsiteX103" fmla="*/ 392756 w 1722964"/>
                <a:gd name="connsiteY103" fmla="*/ 747418 h 1066464"/>
                <a:gd name="connsiteX104" fmla="*/ 391567 w 1722964"/>
                <a:gd name="connsiteY104" fmla="*/ 759306 h 1066464"/>
                <a:gd name="connsiteX105" fmla="*/ 352443 w 1722964"/>
                <a:gd name="connsiteY105" fmla="*/ 728504 h 1066464"/>
                <a:gd name="connsiteX106" fmla="*/ 332233 w 1722964"/>
                <a:gd name="connsiteY106" fmla="*/ 716615 h 1066464"/>
                <a:gd name="connsiteX107" fmla="*/ 296675 w 1722964"/>
                <a:gd name="connsiteY107" fmla="*/ 724938 h 1066464"/>
                <a:gd name="connsiteX108" fmla="*/ 289542 w 1722964"/>
                <a:gd name="connsiteY108" fmla="*/ 746337 h 1066464"/>
                <a:gd name="connsiteX109" fmla="*/ 265764 w 1722964"/>
                <a:gd name="connsiteY109" fmla="*/ 753470 h 1066464"/>
                <a:gd name="connsiteX110" fmla="*/ 239718 w 1722964"/>
                <a:gd name="connsiteY110" fmla="*/ 748715 h 1066464"/>
                <a:gd name="connsiteX111" fmla="*/ 230207 w 1722964"/>
                <a:gd name="connsiteY111" fmla="*/ 741582 h 1066464"/>
                <a:gd name="connsiteX112" fmla="*/ 221884 w 1722964"/>
                <a:gd name="connsiteY112" fmla="*/ 713049 h 1066464"/>
                <a:gd name="connsiteX113" fmla="*/ 195838 w 1722964"/>
                <a:gd name="connsiteY113" fmla="*/ 683435 h 1066464"/>
                <a:gd name="connsiteX114" fmla="*/ 176924 w 1722964"/>
                <a:gd name="connsiteY114" fmla="*/ 677491 h 1066464"/>
                <a:gd name="connsiteX115" fmla="*/ 162658 w 1722964"/>
                <a:gd name="connsiteY115" fmla="*/ 682246 h 1066464"/>
                <a:gd name="connsiteX116" fmla="*/ 153147 w 1722964"/>
                <a:gd name="connsiteY116" fmla="*/ 677491 h 1066464"/>
                <a:gd name="connsiteX117" fmla="*/ 137692 w 1722964"/>
                <a:gd name="connsiteY117" fmla="*/ 658577 h 1066464"/>
                <a:gd name="connsiteX118" fmla="*/ 106890 w 1722964"/>
                <a:gd name="connsiteY118" fmla="*/ 632530 h 1066464"/>
                <a:gd name="connsiteX119" fmla="*/ 85490 w 1722964"/>
                <a:gd name="connsiteY119" fmla="*/ 625397 h 1066464"/>
                <a:gd name="connsiteX120" fmla="*/ 75979 w 1722964"/>
                <a:gd name="connsiteY120" fmla="*/ 615887 h 1066464"/>
                <a:gd name="connsiteX121" fmla="*/ 79545 w 1722964"/>
                <a:gd name="connsiteY121" fmla="*/ 545852 h 1066464"/>
                <a:gd name="connsiteX122" fmla="*/ 39232 w 1722964"/>
                <a:gd name="connsiteY122" fmla="*/ 544663 h 1066464"/>
                <a:gd name="connsiteX123" fmla="*/ 40421 w 1722964"/>
                <a:gd name="connsiteY123" fmla="*/ 499594 h 1066464"/>
                <a:gd name="connsiteX124" fmla="*/ 52310 w 1722964"/>
                <a:gd name="connsiteY124" fmla="*/ 491272 h 1066464"/>
                <a:gd name="connsiteX125" fmla="*/ 64199 w 1722964"/>
                <a:gd name="connsiteY125" fmla="*/ 467495 h 1066464"/>
                <a:gd name="connsiteX126" fmla="*/ 47555 w 1722964"/>
                <a:gd name="connsiteY126" fmla="*/ 439070 h 1066464"/>
                <a:gd name="connsiteX127" fmla="*/ 33288 w 1722964"/>
                <a:gd name="connsiteY127" fmla="*/ 427182 h 1066464"/>
                <a:gd name="connsiteX128" fmla="*/ 30910 w 1722964"/>
                <a:gd name="connsiteY128" fmla="*/ 401135 h 1066464"/>
                <a:gd name="connsiteX129" fmla="*/ 15455 w 1722964"/>
                <a:gd name="connsiteY129" fmla="*/ 371521 h 1066464"/>
                <a:gd name="connsiteX130" fmla="*/ 0 w 1722964"/>
                <a:gd name="connsiteY130" fmla="*/ 353688 h 1066464"/>
                <a:gd name="connsiteX131" fmla="*/ 4755 w 1722964"/>
                <a:gd name="connsiteY131" fmla="*/ 335964 h 1066464"/>
                <a:gd name="connsiteX132" fmla="*/ 29613 w 1722964"/>
                <a:gd name="connsiteY132" fmla="*/ 316942 h 1066464"/>
                <a:gd name="connsiteX133" fmla="*/ 55661 w 1722964"/>
                <a:gd name="connsiteY133" fmla="*/ 289706 h 1066464"/>
                <a:gd name="connsiteX134" fmla="*/ 103106 w 1722964"/>
                <a:gd name="connsiteY134" fmla="*/ 287329 h 1066464"/>
                <a:gd name="connsiteX135" fmla="*/ 152931 w 1722964"/>
                <a:gd name="connsiteY135" fmla="*/ 268307 h 1066464"/>
                <a:gd name="connsiteX136" fmla="*/ 245446 w 1722964"/>
                <a:gd name="connsiteY136" fmla="*/ 265929 h 1066464"/>
                <a:gd name="connsiteX137" fmla="*/ 252579 w 1722964"/>
                <a:gd name="connsiteY137" fmla="*/ 246907 h 1066464"/>
                <a:gd name="connsiteX138" fmla="*/ 271601 w 1722964"/>
                <a:gd name="connsiteY138" fmla="*/ 219671 h 1066464"/>
                <a:gd name="connsiteX139" fmla="*/ 278734 w 1722964"/>
                <a:gd name="connsiteY139" fmla="*/ 185302 h 1066464"/>
                <a:gd name="connsiteX140" fmla="*/ 269223 w 1722964"/>
                <a:gd name="connsiteY140" fmla="*/ 133101 h 1066464"/>
                <a:gd name="connsiteX141" fmla="*/ 250309 w 1722964"/>
                <a:gd name="connsiteY141" fmla="*/ 77332 h 1066464"/>
                <a:gd name="connsiteX142" fmla="*/ 259820 w 1722964"/>
                <a:gd name="connsiteY142" fmla="*/ 63066 h 1066464"/>
                <a:gd name="connsiteX143" fmla="*/ 282625 w 1722964"/>
                <a:gd name="connsiteY143" fmla="*/ 50961 h 1066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722964" h="1066464" extrusionOk="0">
                  <a:moveTo>
                    <a:pt x="282625" y="50961"/>
                  </a:moveTo>
                  <a:cubicBezTo>
                    <a:pt x="306402" y="37884"/>
                    <a:pt x="375140" y="52150"/>
                    <a:pt x="404753" y="64039"/>
                  </a:cubicBezTo>
                  <a:cubicBezTo>
                    <a:pt x="434367" y="74738"/>
                    <a:pt x="535204" y="83060"/>
                    <a:pt x="537581" y="69983"/>
                  </a:cubicBezTo>
                  <a:cubicBezTo>
                    <a:pt x="541148" y="55717"/>
                    <a:pt x="538770" y="42747"/>
                    <a:pt x="551848" y="49772"/>
                  </a:cubicBezTo>
                  <a:cubicBezTo>
                    <a:pt x="564925" y="56906"/>
                    <a:pt x="560170" y="100785"/>
                    <a:pt x="568492" y="117429"/>
                  </a:cubicBezTo>
                  <a:cubicBezTo>
                    <a:pt x="576814" y="134073"/>
                    <a:pt x="618316" y="155365"/>
                    <a:pt x="615938" y="167253"/>
                  </a:cubicBezTo>
                  <a:cubicBezTo>
                    <a:pt x="614749" y="180331"/>
                    <a:pt x="633771" y="232425"/>
                    <a:pt x="636149" y="226588"/>
                  </a:cubicBezTo>
                  <a:cubicBezTo>
                    <a:pt x="638527" y="220644"/>
                    <a:pt x="640904" y="187464"/>
                    <a:pt x="645660" y="193408"/>
                  </a:cubicBezTo>
                  <a:cubicBezTo>
                    <a:pt x="651604" y="198164"/>
                    <a:pt x="661115" y="226588"/>
                    <a:pt x="672896" y="220644"/>
                  </a:cubicBezTo>
                  <a:cubicBezTo>
                    <a:pt x="683595" y="215889"/>
                    <a:pt x="687162" y="181520"/>
                    <a:pt x="696673" y="179142"/>
                  </a:cubicBezTo>
                  <a:cubicBezTo>
                    <a:pt x="706183" y="176764"/>
                    <a:pt x="721531" y="163687"/>
                    <a:pt x="710939" y="154284"/>
                  </a:cubicBezTo>
                  <a:cubicBezTo>
                    <a:pt x="699050" y="143584"/>
                    <a:pt x="696673" y="131696"/>
                    <a:pt x="702617" y="117537"/>
                  </a:cubicBezTo>
                  <a:cubicBezTo>
                    <a:pt x="707373" y="103271"/>
                    <a:pt x="714505" y="96138"/>
                    <a:pt x="699050" y="90302"/>
                  </a:cubicBezTo>
                  <a:cubicBezTo>
                    <a:pt x="683595" y="85546"/>
                    <a:pt x="673004" y="71388"/>
                    <a:pt x="675273" y="57122"/>
                  </a:cubicBezTo>
                  <a:cubicBezTo>
                    <a:pt x="677651" y="42855"/>
                    <a:pt x="713209" y="42855"/>
                    <a:pt x="704994" y="34533"/>
                  </a:cubicBezTo>
                  <a:cubicBezTo>
                    <a:pt x="696673" y="26211"/>
                    <a:pt x="682406" y="17889"/>
                    <a:pt x="696673" y="3731"/>
                  </a:cubicBezTo>
                  <a:cubicBezTo>
                    <a:pt x="710939" y="-10535"/>
                    <a:pt x="727475" y="20375"/>
                    <a:pt x="766599" y="25131"/>
                  </a:cubicBezTo>
                  <a:cubicBezTo>
                    <a:pt x="805724" y="28697"/>
                    <a:pt x="929149" y="13242"/>
                    <a:pt x="964707" y="32264"/>
                  </a:cubicBezTo>
                  <a:cubicBezTo>
                    <a:pt x="999076" y="50097"/>
                    <a:pt x="989673" y="77332"/>
                    <a:pt x="1012153" y="83277"/>
                  </a:cubicBezTo>
                  <a:cubicBezTo>
                    <a:pt x="1034741" y="90410"/>
                    <a:pt x="1067922" y="105865"/>
                    <a:pt x="1085647" y="111701"/>
                  </a:cubicBezTo>
                  <a:cubicBezTo>
                    <a:pt x="1102290" y="117646"/>
                    <a:pt x="1097535" y="156770"/>
                    <a:pt x="1111693" y="162714"/>
                  </a:cubicBezTo>
                  <a:cubicBezTo>
                    <a:pt x="1125960" y="167470"/>
                    <a:pt x="1140226" y="157959"/>
                    <a:pt x="1154384" y="174603"/>
                  </a:cubicBezTo>
                  <a:cubicBezTo>
                    <a:pt x="1167462" y="192436"/>
                    <a:pt x="1167462" y="204216"/>
                    <a:pt x="1200641" y="223238"/>
                  </a:cubicBezTo>
                  <a:cubicBezTo>
                    <a:pt x="1232633" y="241071"/>
                    <a:pt x="1238577" y="246907"/>
                    <a:pt x="1258788" y="262362"/>
                  </a:cubicBezTo>
                  <a:cubicBezTo>
                    <a:pt x="1280187" y="277818"/>
                    <a:pt x="1312178" y="287220"/>
                    <a:pt x="1332281" y="293165"/>
                  </a:cubicBezTo>
                  <a:cubicBezTo>
                    <a:pt x="1351303" y="297920"/>
                    <a:pt x="1359517" y="347744"/>
                    <a:pt x="1384483" y="351311"/>
                  </a:cubicBezTo>
                  <a:cubicBezTo>
                    <a:pt x="1408260" y="356066"/>
                    <a:pt x="1459165" y="358444"/>
                    <a:pt x="1468676" y="358444"/>
                  </a:cubicBezTo>
                  <a:cubicBezTo>
                    <a:pt x="1476998" y="358444"/>
                    <a:pt x="1484131" y="389246"/>
                    <a:pt x="1484131" y="402324"/>
                  </a:cubicBezTo>
                  <a:cubicBezTo>
                    <a:pt x="1484131" y="415401"/>
                    <a:pt x="1480564" y="528019"/>
                    <a:pt x="1492453" y="525641"/>
                  </a:cubicBezTo>
                  <a:cubicBezTo>
                    <a:pt x="1503153" y="523263"/>
                    <a:pt x="1500775" y="455606"/>
                    <a:pt x="1511475" y="446203"/>
                  </a:cubicBezTo>
                  <a:cubicBezTo>
                    <a:pt x="1523364" y="435504"/>
                    <a:pt x="1558921" y="446203"/>
                    <a:pt x="1568432" y="442637"/>
                  </a:cubicBezTo>
                  <a:cubicBezTo>
                    <a:pt x="1576754" y="440259"/>
                    <a:pt x="1595668" y="453337"/>
                    <a:pt x="1609934" y="450959"/>
                  </a:cubicBezTo>
                  <a:cubicBezTo>
                    <a:pt x="1624200" y="449770"/>
                    <a:pt x="1624200" y="501972"/>
                    <a:pt x="1637170" y="496028"/>
                  </a:cubicBezTo>
                  <a:cubicBezTo>
                    <a:pt x="1649059" y="491272"/>
                    <a:pt x="1655003" y="481761"/>
                    <a:pt x="1660839" y="497216"/>
                  </a:cubicBezTo>
                  <a:cubicBezTo>
                    <a:pt x="1665594" y="512672"/>
                    <a:pt x="1663217" y="542285"/>
                    <a:pt x="1692830" y="554174"/>
                  </a:cubicBezTo>
                  <a:cubicBezTo>
                    <a:pt x="1722444" y="564874"/>
                    <a:pt x="1730766" y="574385"/>
                    <a:pt x="1715418" y="579032"/>
                  </a:cubicBezTo>
                  <a:cubicBezTo>
                    <a:pt x="1699963" y="583787"/>
                    <a:pt x="1695208" y="587354"/>
                    <a:pt x="1685697" y="608645"/>
                  </a:cubicBezTo>
                  <a:cubicBezTo>
                    <a:pt x="1676186" y="630045"/>
                    <a:pt x="1680941" y="645392"/>
                    <a:pt x="1667864" y="634692"/>
                  </a:cubicBezTo>
                  <a:cubicBezTo>
                    <a:pt x="1653598" y="625181"/>
                    <a:pt x="1627551" y="596756"/>
                    <a:pt x="1631117" y="611023"/>
                  </a:cubicBezTo>
                  <a:cubicBezTo>
                    <a:pt x="1633495" y="625289"/>
                    <a:pt x="1647762" y="643014"/>
                    <a:pt x="1631117" y="643014"/>
                  </a:cubicBezTo>
                  <a:cubicBezTo>
                    <a:pt x="1614474" y="643014"/>
                    <a:pt x="1583671" y="637070"/>
                    <a:pt x="1576538" y="637070"/>
                  </a:cubicBezTo>
                  <a:cubicBezTo>
                    <a:pt x="1569405" y="637070"/>
                    <a:pt x="1577727" y="654903"/>
                    <a:pt x="1578915" y="669061"/>
                  </a:cubicBezTo>
                  <a:cubicBezTo>
                    <a:pt x="1580105" y="683327"/>
                    <a:pt x="1589616" y="714130"/>
                    <a:pt x="1577727" y="717696"/>
                  </a:cubicBezTo>
                  <a:cubicBezTo>
                    <a:pt x="1564650" y="722452"/>
                    <a:pt x="1543358" y="722452"/>
                    <a:pt x="1548113" y="733152"/>
                  </a:cubicBezTo>
                  <a:cubicBezTo>
                    <a:pt x="1552869" y="745040"/>
                    <a:pt x="1554057" y="755632"/>
                    <a:pt x="1563568" y="749795"/>
                  </a:cubicBezTo>
                  <a:cubicBezTo>
                    <a:pt x="1573079" y="745040"/>
                    <a:pt x="1588426" y="748607"/>
                    <a:pt x="1588426" y="761684"/>
                  </a:cubicBezTo>
                  <a:cubicBezTo>
                    <a:pt x="1588426" y="773573"/>
                    <a:pt x="1556436" y="791297"/>
                    <a:pt x="1533847" y="786542"/>
                  </a:cubicBezTo>
                  <a:cubicBezTo>
                    <a:pt x="1511259" y="782975"/>
                    <a:pt x="1508881" y="761684"/>
                    <a:pt x="1487590" y="754551"/>
                  </a:cubicBezTo>
                  <a:cubicBezTo>
                    <a:pt x="1466190" y="747418"/>
                    <a:pt x="1419933" y="747418"/>
                    <a:pt x="1409341" y="740284"/>
                  </a:cubicBezTo>
                  <a:cubicBezTo>
                    <a:pt x="1397452" y="733152"/>
                    <a:pt x="1380917" y="711752"/>
                    <a:pt x="1393885" y="703538"/>
                  </a:cubicBezTo>
                  <a:cubicBezTo>
                    <a:pt x="1405774" y="695216"/>
                    <a:pt x="1387941" y="654903"/>
                    <a:pt x="1373675" y="652525"/>
                  </a:cubicBezTo>
                  <a:cubicBezTo>
                    <a:pt x="1359408" y="648958"/>
                    <a:pt x="1284727" y="652525"/>
                    <a:pt x="1266893" y="643014"/>
                  </a:cubicBezTo>
                  <a:cubicBezTo>
                    <a:pt x="1250250" y="634692"/>
                    <a:pt x="1247980" y="626370"/>
                    <a:pt x="1240847" y="614590"/>
                  </a:cubicBezTo>
                  <a:cubicBezTo>
                    <a:pt x="1233714" y="601512"/>
                    <a:pt x="1228958" y="587354"/>
                    <a:pt x="1238469" y="581410"/>
                  </a:cubicBezTo>
                  <a:cubicBezTo>
                    <a:pt x="1246791" y="576654"/>
                    <a:pt x="1242036" y="568332"/>
                    <a:pt x="1232525" y="558821"/>
                  </a:cubicBezTo>
                  <a:cubicBezTo>
                    <a:pt x="1223014" y="550499"/>
                    <a:pt x="1211125" y="538611"/>
                    <a:pt x="1209937" y="548121"/>
                  </a:cubicBezTo>
                  <a:cubicBezTo>
                    <a:pt x="1208747" y="557632"/>
                    <a:pt x="1193292" y="615778"/>
                    <a:pt x="1198048" y="618156"/>
                  </a:cubicBezTo>
                  <a:cubicBezTo>
                    <a:pt x="1203992" y="621723"/>
                    <a:pt x="1208747" y="630045"/>
                    <a:pt x="1208747" y="641933"/>
                  </a:cubicBezTo>
                  <a:cubicBezTo>
                    <a:pt x="1208747" y="655011"/>
                    <a:pt x="1196859" y="696513"/>
                    <a:pt x="1174378" y="709590"/>
                  </a:cubicBezTo>
                  <a:cubicBezTo>
                    <a:pt x="1151790" y="722668"/>
                    <a:pt x="1118610" y="738015"/>
                    <a:pt x="1100885" y="740393"/>
                  </a:cubicBezTo>
                  <a:cubicBezTo>
                    <a:pt x="1081863" y="742770"/>
                    <a:pt x="1073649" y="730882"/>
                    <a:pt x="1059384" y="730882"/>
                  </a:cubicBezTo>
                  <a:cubicBezTo>
                    <a:pt x="1045117" y="730882"/>
                    <a:pt x="1020259" y="717804"/>
                    <a:pt x="1008370" y="718993"/>
                  </a:cubicBezTo>
                  <a:cubicBezTo>
                    <a:pt x="995293" y="721371"/>
                    <a:pt x="974001" y="736826"/>
                    <a:pt x="998859" y="741582"/>
                  </a:cubicBezTo>
                  <a:cubicBezTo>
                    <a:pt x="1024907" y="747526"/>
                    <a:pt x="1024907" y="753470"/>
                    <a:pt x="1020259" y="768817"/>
                  </a:cubicBezTo>
                  <a:cubicBezTo>
                    <a:pt x="1016693" y="784272"/>
                    <a:pt x="995401" y="837663"/>
                    <a:pt x="1028581" y="845877"/>
                  </a:cubicBezTo>
                  <a:cubicBezTo>
                    <a:pt x="1062950" y="854199"/>
                    <a:pt x="1058302" y="849444"/>
                    <a:pt x="1070083" y="839933"/>
                  </a:cubicBezTo>
                  <a:cubicBezTo>
                    <a:pt x="1080783" y="830422"/>
                    <a:pt x="1083160" y="816156"/>
                    <a:pt x="1085538" y="831611"/>
                  </a:cubicBezTo>
                  <a:cubicBezTo>
                    <a:pt x="1086727" y="847066"/>
                    <a:pt x="1078405" y="862413"/>
                    <a:pt x="1097427" y="868357"/>
                  </a:cubicBezTo>
                  <a:cubicBezTo>
                    <a:pt x="1117637" y="873113"/>
                    <a:pt x="1111693" y="899160"/>
                    <a:pt x="1127040" y="902726"/>
                  </a:cubicBezTo>
                  <a:cubicBezTo>
                    <a:pt x="1142496" y="907482"/>
                    <a:pt x="1149521" y="944228"/>
                    <a:pt x="1148440" y="953739"/>
                  </a:cubicBezTo>
                  <a:cubicBezTo>
                    <a:pt x="1147251" y="963250"/>
                    <a:pt x="1149629" y="983461"/>
                    <a:pt x="1138929" y="990486"/>
                  </a:cubicBezTo>
                  <a:cubicBezTo>
                    <a:pt x="1127040" y="997619"/>
                    <a:pt x="1125851" y="1013074"/>
                    <a:pt x="1102182" y="1002374"/>
                  </a:cubicBezTo>
                  <a:cubicBezTo>
                    <a:pt x="1078405" y="992864"/>
                    <a:pt x="1040470" y="990486"/>
                    <a:pt x="1057114" y="986919"/>
                  </a:cubicBezTo>
                  <a:lnTo>
                    <a:pt x="1023934" y="991675"/>
                  </a:lnTo>
                  <a:lnTo>
                    <a:pt x="976487" y="1002374"/>
                  </a:lnTo>
                  <a:lnTo>
                    <a:pt x="932607" y="1024963"/>
                  </a:lnTo>
                  <a:lnTo>
                    <a:pt x="880406" y="1066465"/>
                  </a:lnTo>
                  <a:lnTo>
                    <a:pt x="861384" y="1054576"/>
                  </a:lnTo>
                  <a:lnTo>
                    <a:pt x="847118" y="1008319"/>
                  </a:lnTo>
                  <a:lnTo>
                    <a:pt x="835229" y="1002374"/>
                  </a:lnTo>
                  <a:lnTo>
                    <a:pt x="816315" y="1013074"/>
                  </a:lnTo>
                  <a:lnTo>
                    <a:pt x="765302" y="1019018"/>
                  </a:lnTo>
                  <a:lnTo>
                    <a:pt x="746280" y="1020207"/>
                  </a:lnTo>
                  <a:lnTo>
                    <a:pt x="713100" y="1029718"/>
                  </a:lnTo>
                  <a:lnTo>
                    <a:pt x="678732" y="1028529"/>
                  </a:lnTo>
                  <a:lnTo>
                    <a:pt x="671599" y="1024963"/>
                  </a:lnTo>
                  <a:lnTo>
                    <a:pt x="649010" y="992972"/>
                  </a:lnTo>
                  <a:lnTo>
                    <a:pt x="634744" y="992972"/>
                  </a:lnTo>
                  <a:lnTo>
                    <a:pt x="632366" y="960980"/>
                  </a:lnTo>
                  <a:lnTo>
                    <a:pt x="618100" y="953847"/>
                  </a:lnTo>
                  <a:lnTo>
                    <a:pt x="578975" y="951470"/>
                  </a:lnTo>
                  <a:lnTo>
                    <a:pt x="568276" y="924234"/>
                  </a:lnTo>
                  <a:lnTo>
                    <a:pt x="580164" y="907590"/>
                  </a:lnTo>
                  <a:lnTo>
                    <a:pt x="628799" y="869654"/>
                  </a:lnTo>
                  <a:lnTo>
                    <a:pt x="616911" y="835285"/>
                  </a:lnTo>
                  <a:lnTo>
                    <a:pt x="615722" y="835285"/>
                  </a:lnTo>
                  <a:lnTo>
                    <a:pt x="586108" y="819830"/>
                  </a:lnTo>
                  <a:lnTo>
                    <a:pt x="551740" y="786650"/>
                  </a:lnTo>
                  <a:lnTo>
                    <a:pt x="526882" y="791406"/>
                  </a:lnTo>
                  <a:lnTo>
                    <a:pt x="503104" y="768817"/>
                  </a:lnTo>
                  <a:lnTo>
                    <a:pt x="443769" y="753362"/>
                  </a:lnTo>
                  <a:lnTo>
                    <a:pt x="418912" y="753362"/>
                  </a:lnTo>
                  <a:lnTo>
                    <a:pt x="399890" y="737907"/>
                  </a:lnTo>
                  <a:lnTo>
                    <a:pt x="392756" y="747418"/>
                  </a:lnTo>
                  <a:lnTo>
                    <a:pt x="391567" y="759306"/>
                  </a:lnTo>
                  <a:lnTo>
                    <a:pt x="352443" y="728504"/>
                  </a:lnTo>
                  <a:lnTo>
                    <a:pt x="332233" y="716615"/>
                  </a:lnTo>
                  <a:lnTo>
                    <a:pt x="296675" y="724938"/>
                  </a:lnTo>
                  <a:lnTo>
                    <a:pt x="289542" y="746337"/>
                  </a:lnTo>
                  <a:lnTo>
                    <a:pt x="265764" y="753470"/>
                  </a:lnTo>
                  <a:lnTo>
                    <a:pt x="239718" y="748715"/>
                  </a:lnTo>
                  <a:lnTo>
                    <a:pt x="230207" y="741582"/>
                  </a:lnTo>
                  <a:lnTo>
                    <a:pt x="221884" y="713049"/>
                  </a:lnTo>
                  <a:lnTo>
                    <a:pt x="195838" y="683435"/>
                  </a:lnTo>
                  <a:lnTo>
                    <a:pt x="176924" y="677491"/>
                  </a:lnTo>
                  <a:lnTo>
                    <a:pt x="162658" y="682246"/>
                  </a:lnTo>
                  <a:lnTo>
                    <a:pt x="153147" y="677491"/>
                  </a:lnTo>
                  <a:lnTo>
                    <a:pt x="137692" y="658577"/>
                  </a:lnTo>
                  <a:lnTo>
                    <a:pt x="106890" y="632530"/>
                  </a:lnTo>
                  <a:lnTo>
                    <a:pt x="85490" y="625397"/>
                  </a:lnTo>
                  <a:lnTo>
                    <a:pt x="75979" y="615887"/>
                  </a:lnTo>
                  <a:lnTo>
                    <a:pt x="79545" y="545852"/>
                  </a:lnTo>
                  <a:lnTo>
                    <a:pt x="39232" y="544663"/>
                  </a:lnTo>
                  <a:lnTo>
                    <a:pt x="40421" y="499594"/>
                  </a:lnTo>
                  <a:lnTo>
                    <a:pt x="52310" y="491272"/>
                  </a:lnTo>
                  <a:lnTo>
                    <a:pt x="64199" y="467495"/>
                  </a:lnTo>
                  <a:lnTo>
                    <a:pt x="47555" y="439070"/>
                  </a:lnTo>
                  <a:lnTo>
                    <a:pt x="33288" y="427182"/>
                  </a:lnTo>
                  <a:lnTo>
                    <a:pt x="30910" y="401135"/>
                  </a:lnTo>
                  <a:lnTo>
                    <a:pt x="15455" y="371521"/>
                  </a:lnTo>
                  <a:lnTo>
                    <a:pt x="0" y="353688"/>
                  </a:lnTo>
                  <a:lnTo>
                    <a:pt x="4755" y="335964"/>
                  </a:lnTo>
                  <a:lnTo>
                    <a:pt x="29613" y="316942"/>
                  </a:lnTo>
                  <a:lnTo>
                    <a:pt x="55661" y="289706"/>
                  </a:lnTo>
                  <a:lnTo>
                    <a:pt x="103106" y="287329"/>
                  </a:lnTo>
                  <a:lnTo>
                    <a:pt x="152931" y="268307"/>
                  </a:lnTo>
                  <a:lnTo>
                    <a:pt x="245446" y="265929"/>
                  </a:lnTo>
                  <a:lnTo>
                    <a:pt x="252579" y="246907"/>
                  </a:lnTo>
                  <a:lnTo>
                    <a:pt x="271601" y="219671"/>
                  </a:lnTo>
                  <a:lnTo>
                    <a:pt x="278734" y="185302"/>
                  </a:lnTo>
                  <a:lnTo>
                    <a:pt x="269223" y="133101"/>
                  </a:lnTo>
                  <a:lnTo>
                    <a:pt x="250309" y="77332"/>
                  </a:lnTo>
                  <a:lnTo>
                    <a:pt x="259820" y="63066"/>
                  </a:lnTo>
                  <a:lnTo>
                    <a:pt x="282625" y="5096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6" name="Полилиния: фигура 216"/>
            <p:cNvSpPr/>
            <p:nvPr/>
          </p:nvSpPr>
          <p:spPr bwMode="auto">
            <a:xfrm>
              <a:off x="2805849" y="4896414"/>
              <a:ext cx="150661" cy="135314"/>
            </a:xfrm>
            <a:custGeom>
              <a:avLst/>
              <a:gdLst>
                <a:gd name="connsiteX0" fmla="*/ 148392 w 150661"/>
                <a:gd name="connsiteY0" fmla="*/ 126992 h 135314"/>
                <a:gd name="connsiteX1" fmla="*/ 59443 w 150661"/>
                <a:gd name="connsiteY1" fmla="*/ 124614 h 135314"/>
                <a:gd name="connsiteX2" fmla="*/ 49932 w 150661"/>
                <a:gd name="connsiteY2" fmla="*/ 135314 h 135314"/>
                <a:gd name="connsiteX3" fmla="*/ 34477 w 150661"/>
                <a:gd name="connsiteY3" fmla="*/ 134125 h 135314"/>
                <a:gd name="connsiteX4" fmla="*/ 11889 w 150661"/>
                <a:gd name="connsiteY4" fmla="*/ 134125 h 135314"/>
                <a:gd name="connsiteX5" fmla="*/ 0 w 150661"/>
                <a:gd name="connsiteY5" fmla="*/ 123426 h 135314"/>
                <a:gd name="connsiteX6" fmla="*/ 15455 w 150661"/>
                <a:gd name="connsiteY6" fmla="*/ 107970 h 135314"/>
                <a:gd name="connsiteX7" fmla="*/ 8322 w 150661"/>
                <a:gd name="connsiteY7" fmla="*/ 56957 h 135314"/>
                <a:gd name="connsiteX8" fmla="*/ 27236 w 150661"/>
                <a:gd name="connsiteY8" fmla="*/ 60524 h 135314"/>
                <a:gd name="connsiteX9" fmla="*/ 46257 w 150661"/>
                <a:gd name="connsiteY9" fmla="*/ 40313 h 135314"/>
                <a:gd name="connsiteX10" fmla="*/ 45069 w 150661"/>
                <a:gd name="connsiteY10" fmla="*/ 8322 h 135314"/>
                <a:gd name="connsiteX11" fmla="*/ 88948 w 150661"/>
                <a:gd name="connsiteY11" fmla="*/ 0 h 135314"/>
                <a:gd name="connsiteX12" fmla="*/ 128073 w 150661"/>
                <a:gd name="connsiteY12" fmla="*/ 14266 h 135314"/>
                <a:gd name="connsiteX13" fmla="*/ 126884 w 150661"/>
                <a:gd name="connsiteY13" fmla="*/ 54580 h 135314"/>
                <a:gd name="connsiteX14" fmla="*/ 117373 w 150661"/>
                <a:gd name="connsiteY14" fmla="*/ 65279 h 135314"/>
                <a:gd name="connsiteX15" fmla="*/ 122128 w 150661"/>
                <a:gd name="connsiteY15" fmla="*/ 79546 h 135314"/>
                <a:gd name="connsiteX16" fmla="*/ 150661 w 150661"/>
                <a:gd name="connsiteY16" fmla="*/ 104404 h 135314"/>
                <a:gd name="connsiteX17" fmla="*/ 150661 w 150661"/>
                <a:gd name="connsiteY17" fmla="*/ 126992 h 135314"/>
                <a:gd name="connsiteX18" fmla="*/ 148392 w 150661"/>
                <a:gd name="connsiteY18" fmla="*/ 126992 h 135314"/>
                <a:gd name="connsiteX19" fmla="*/ 148392 w 150661"/>
                <a:gd name="connsiteY19" fmla="*/ 126992 h 13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0661" h="135314" extrusionOk="0">
                  <a:moveTo>
                    <a:pt x="148392" y="126992"/>
                  </a:moveTo>
                  <a:lnTo>
                    <a:pt x="59443" y="124614"/>
                  </a:lnTo>
                  <a:lnTo>
                    <a:pt x="49932" y="135314"/>
                  </a:lnTo>
                  <a:lnTo>
                    <a:pt x="34477" y="134125"/>
                  </a:lnTo>
                  <a:lnTo>
                    <a:pt x="11889" y="134125"/>
                  </a:lnTo>
                  <a:lnTo>
                    <a:pt x="0" y="123426"/>
                  </a:lnTo>
                  <a:lnTo>
                    <a:pt x="15455" y="107970"/>
                  </a:lnTo>
                  <a:lnTo>
                    <a:pt x="8322" y="56957"/>
                  </a:lnTo>
                  <a:lnTo>
                    <a:pt x="27236" y="60524"/>
                  </a:lnTo>
                  <a:lnTo>
                    <a:pt x="46257" y="40313"/>
                  </a:lnTo>
                  <a:lnTo>
                    <a:pt x="45069" y="8322"/>
                  </a:lnTo>
                  <a:lnTo>
                    <a:pt x="88948" y="0"/>
                  </a:lnTo>
                  <a:lnTo>
                    <a:pt x="128073" y="14266"/>
                  </a:lnTo>
                  <a:lnTo>
                    <a:pt x="126884" y="54580"/>
                  </a:lnTo>
                  <a:lnTo>
                    <a:pt x="117373" y="65279"/>
                  </a:lnTo>
                  <a:lnTo>
                    <a:pt x="122128" y="79546"/>
                  </a:lnTo>
                  <a:lnTo>
                    <a:pt x="150661" y="104404"/>
                  </a:lnTo>
                  <a:lnTo>
                    <a:pt x="150661" y="126992"/>
                  </a:lnTo>
                  <a:lnTo>
                    <a:pt x="148392" y="126992"/>
                  </a:lnTo>
                  <a:lnTo>
                    <a:pt x="148392" y="12699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7" name="Полилиния: фигура 217"/>
            <p:cNvSpPr/>
            <p:nvPr/>
          </p:nvSpPr>
          <p:spPr bwMode="auto">
            <a:xfrm>
              <a:off x="2687395" y="5081444"/>
              <a:ext cx="233665" cy="148391"/>
            </a:xfrm>
            <a:custGeom>
              <a:avLst/>
              <a:gdLst>
                <a:gd name="connsiteX0" fmla="*/ 134017 w 233665"/>
                <a:gd name="connsiteY0" fmla="*/ 11889 h 148391"/>
                <a:gd name="connsiteX1" fmla="*/ 112618 w 233665"/>
                <a:gd name="connsiteY1" fmla="*/ 0 h 148391"/>
                <a:gd name="connsiteX2" fmla="*/ 83004 w 233665"/>
                <a:gd name="connsiteY2" fmla="*/ 3567 h 148391"/>
                <a:gd name="connsiteX3" fmla="*/ 0 w 233665"/>
                <a:gd name="connsiteY3" fmla="*/ 52202 h 148391"/>
                <a:gd name="connsiteX4" fmla="*/ 26047 w 233665"/>
                <a:gd name="connsiteY4" fmla="*/ 85382 h 148391"/>
                <a:gd name="connsiteX5" fmla="*/ 37936 w 233665"/>
                <a:gd name="connsiteY5" fmla="*/ 93704 h 148391"/>
                <a:gd name="connsiteX6" fmla="*/ 94893 w 233665"/>
                <a:gd name="connsiteY6" fmla="*/ 109159 h 148391"/>
                <a:gd name="connsiteX7" fmla="*/ 129262 w 233665"/>
                <a:gd name="connsiteY7" fmla="*/ 117481 h 148391"/>
                <a:gd name="connsiteX8" fmla="*/ 161253 w 233665"/>
                <a:gd name="connsiteY8" fmla="*/ 130559 h 148391"/>
                <a:gd name="connsiteX9" fmla="*/ 213455 w 233665"/>
                <a:gd name="connsiteY9" fmla="*/ 134125 h 148391"/>
                <a:gd name="connsiteX10" fmla="*/ 233665 w 233665"/>
                <a:gd name="connsiteY10" fmla="*/ 148392 h 148391"/>
                <a:gd name="connsiteX11" fmla="*/ 194541 w 233665"/>
                <a:gd name="connsiteY11" fmla="*/ 83112 h 148391"/>
                <a:gd name="connsiteX12" fmla="*/ 183841 w 233665"/>
                <a:gd name="connsiteY12" fmla="*/ 47555 h 148391"/>
                <a:gd name="connsiteX13" fmla="*/ 185030 w 233665"/>
                <a:gd name="connsiteY13" fmla="*/ 47555 h 148391"/>
                <a:gd name="connsiteX14" fmla="*/ 167197 w 233665"/>
                <a:gd name="connsiteY14" fmla="*/ 27344 h 148391"/>
                <a:gd name="connsiteX15" fmla="*/ 155309 w 233665"/>
                <a:gd name="connsiteY15" fmla="*/ 10700 h 148391"/>
                <a:gd name="connsiteX16" fmla="*/ 134017 w 233665"/>
                <a:gd name="connsiteY16" fmla="*/ 11889 h 148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33665" h="148391" extrusionOk="0">
                  <a:moveTo>
                    <a:pt x="134017" y="11889"/>
                  </a:moveTo>
                  <a:lnTo>
                    <a:pt x="112618" y="0"/>
                  </a:lnTo>
                  <a:lnTo>
                    <a:pt x="83004" y="3567"/>
                  </a:lnTo>
                  <a:lnTo>
                    <a:pt x="0" y="52202"/>
                  </a:lnTo>
                  <a:lnTo>
                    <a:pt x="26047" y="85382"/>
                  </a:lnTo>
                  <a:lnTo>
                    <a:pt x="37936" y="93704"/>
                  </a:lnTo>
                  <a:lnTo>
                    <a:pt x="94893" y="109159"/>
                  </a:lnTo>
                  <a:lnTo>
                    <a:pt x="129262" y="117481"/>
                  </a:lnTo>
                  <a:lnTo>
                    <a:pt x="161253" y="130559"/>
                  </a:lnTo>
                  <a:lnTo>
                    <a:pt x="213455" y="134125"/>
                  </a:lnTo>
                  <a:lnTo>
                    <a:pt x="233665" y="148392"/>
                  </a:lnTo>
                  <a:lnTo>
                    <a:pt x="194541" y="83112"/>
                  </a:lnTo>
                  <a:lnTo>
                    <a:pt x="183841" y="47555"/>
                  </a:lnTo>
                  <a:lnTo>
                    <a:pt x="185030" y="47555"/>
                  </a:lnTo>
                  <a:lnTo>
                    <a:pt x="167197" y="27344"/>
                  </a:lnTo>
                  <a:lnTo>
                    <a:pt x="155309" y="10700"/>
                  </a:lnTo>
                  <a:lnTo>
                    <a:pt x="134017" y="11889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8" name="Полилиния: фигура 218"/>
            <p:cNvSpPr/>
            <p:nvPr/>
          </p:nvSpPr>
          <p:spPr bwMode="auto">
            <a:xfrm>
              <a:off x="2672048" y="4091230"/>
              <a:ext cx="640471" cy="349849"/>
            </a:xfrm>
            <a:custGeom>
              <a:avLst/>
              <a:gdLst>
                <a:gd name="connsiteX0" fmla="*/ 144609 w 640471"/>
                <a:gd name="connsiteY0" fmla="*/ 12861 h 349849"/>
                <a:gd name="connsiteX1" fmla="*/ 184922 w 640471"/>
                <a:gd name="connsiteY1" fmla="*/ 86355 h 349849"/>
                <a:gd name="connsiteX2" fmla="*/ 270304 w 640471"/>
                <a:gd name="connsiteY2" fmla="*/ 106565 h 349849"/>
                <a:gd name="connsiteX3" fmla="*/ 329639 w 640471"/>
                <a:gd name="connsiteY3" fmla="*/ 101810 h 349849"/>
                <a:gd name="connsiteX4" fmla="*/ 337961 w 640471"/>
                <a:gd name="connsiteY4" fmla="*/ 78033 h 349849"/>
                <a:gd name="connsiteX5" fmla="*/ 371141 w 640471"/>
                <a:gd name="connsiteY5" fmla="*/ 76844 h 349849"/>
                <a:gd name="connsiteX6" fmla="*/ 383029 w 640471"/>
                <a:gd name="connsiteY6" fmla="*/ 94569 h 349849"/>
                <a:gd name="connsiteX7" fmla="*/ 476733 w 640471"/>
                <a:gd name="connsiteY7" fmla="*/ 66144 h 349849"/>
                <a:gd name="connsiteX8" fmla="*/ 514669 w 640471"/>
                <a:gd name="connsiteY8" fmla="*/ 91002 h 349849"/>
                <a:gd name="connsiteX9" fmla="*/ 536068 w 640471"/>
                <a:gd name="connsiteY9" fmla="*/ 60200 h 349849"/>
                <a:gd name="connsiteX10" fmla="*/ 582326 w 640471"/>
                <a:gd name="connsiteY10" fmla="*/ 75655 h 349849"/>
                <a:gd name="connsiteX11" fmla="*/ 640472 w 640471"/>
                <a:gd name="connsiteY11" fmla="*/ 74466 h 349849"/>
                <a:gd name="connsiteX12" fmla="*/ 635716 w 640471"/>
                <a:gd name="connsiteY12" fmla="*/ 93488 h 349849"/>
                <a:gd name="connsiteX13" fmla="*/ 598970 w 640471"/>
                <a:gd name="connsiteY13" fmla="*/ 139745 h 349849"/>
                <a:gd name="connsiteX14" fmla="*/ 600159 w 640471"/>
                <a:gd name="connsiteY14" fmla="*/ 155201 h 349849"/>
                <a:gd name="connsiteX15" fmla="*/ 633339 w 640471"/>
                <a:gd name="connsiteY15" fmla="*/ 162334 h 349849"/>
                <a:gd name="connsiteX16" fmla="*/ 626206 w 640471"/>
                <a:gd name="connsiteY16" fmla="*/ 224046 h 349849"/>
                <a:gd name="connsiteX17" fmla="*/ 583515 w 640471"/>
                <a:gd name="connsiteY17" fmla="*/ 257227 h 349849"/>
                <a:gd name="connsiteX18" fmla="*/ 481489 w 640471"/>
                <a:gd name="connsiteY18" fmla="*/ 264360 h 349849"/>
                <a:gd name="connsiteX19" fmla="*/ 407996 w 640471"/>
                <a:gd name="connsiteY19" fmla="*/ 256038 h 349849"/>
                <a:gd name="connsiteX20" fmla="*/ 368871 w 640471"/>
                <a:gd name="connsiteY20" fmla="*/ 241771 h 349849"/>
                <a:gd name="connsiteX21" fmla="*/ 315480 w 640471"/>
                <a:gd name="connsiteY21" fmla="*/ 325964 h 349849"/>
                <a:gd name="connsiteX22" fmla="*/ 266845 w 640471"/>
                <a:gd name="connsiteY22" fmla="*/ 322398 h 349849"/>
                <a:gd name="connsiteX23" fmla="*/ 211077 w 640471"/>
                <a:gd name="connsiteY23" fmla="*/ 288029 h 349849"/>
                <a:gd name="connsiteX24" fmla="*/ 126884 w 640471"/>
                <a:gd name="connsiteY24" fmla="*/ 322398 h 349849"/>
                <a:gd name="connsiteX25" fmla="*/ 117373 w 640471"/>
                <a:gd name="connsiteY25" fmla="*/ 309320 h 349849"/>
                <a:gd name="connsiteX26" fmla="*/ 101918 w 640471"/>
                <a:gd name="connsiteY26" fmla="*/ 315265 h 349849"/>
                <a:gd name="connsiteX27" fmla="*/ 93704 w 640471"/>
                <a:gd name="connsiteY27" fmla="*/ 348661 h 349849"/>
                <a:gd name="connsiteX28" fmla="*/ 85382 w 640471"/>
                <a:gd name="connsiteY28" fmla="*/ 349849 h 349849"/>
                <a:gd name="connsiteX29" fmla="*/ 53391 w 640471"/>
                <a:gd name="connsiteY29" fmla="*/ 319047 h 349849"/>
                <a:gd name="connsiteX30" fmla="*/ 53391 w 640471"/>
                <a:gd name="connsiteY30" fmla="*/ 303592 h 349849"/>
                <a:gd name="connsiteX31" fmla="*/ 33180 w 640471"/>
                <a:gd name="connsiteY31" fmla="*/ 300025 h 349849"/>
                <a:gd name="connsiteX32" fmla="*/ 0 w 640471"/>
                <a:gd name="connsiteY32" fmla="*/ 277437 h 349849"/>
                <a:gd name="connsiteX33" fmla="*/ 2378 w 640471"/>
                <a:gd name="connsiteY33" fmla="*/ 253768 h 349849"/>
                <a:gd name="connsiteX34" fmla="*/ 30910 w 640471"/>
                <a:gd name="connsiteY34" fmla="*/ 220588 h 349849"/>
                <a:gd name="connsiteX35" fmla="*/ 15455 w 640471"/>
                <a:gd name="connsiteY35" fmla="*/ 190974 h 349849"/>
                <a:gd name="connsiteX36" fmla="*/ 5944 w 640471"/>
                <a:gd name="connsiteY36" fmla="*/ 143528 h 349849"/>
                <a:gd name="connsiteX37" fmla="*/ 5944 w 640471"/>
                <a:gd name="connsiteY37" fmla="*/ 26047 h 349849"/>
                <a:gd name="connsiteX38" fmla="*/ 77168 w 640471"/>
                <a:gd name="connsiteY38" fmla="*/ 0 h 349849"/>
                <a:gd name="connsiteX39" fmla="*/ 144609 w 640471"/>
                <a:gd name="connsiteY39" fmla="*/ 12861 h 34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40471" h="349849" extrusionOk="0">
                  <a:moveTo>
                    <a:pt x="144609" y="12861"/>
                  </a:moveTo>
                  <a:lnTo>
                    <a:pt x="184922" y="86355"/>
                  </a:lnTo>
                  <a:lnTo>
                    <a:pt x="270304" y="106565"/>
                  </a:lnTo>
                  <a:lnTo>
                    <a:pt x="329639" y="101810"/>
                  </a:lnTo>
                  <a:lnTo>
                    <a:pt x="337961" y="78033"/>
                  </a:lnTo>
                  <a:lnTo>
                    <a:pt x="371141" y="76844"/>
                  </a:lnTo>
                  <a:lnTo>
                    <a:pt x="383029" y="94569"/>
                  </a:lnTo>
                  <a:lnTo>
                    <a:pt x="476733" y="66144"/>
                  </a:lnTo>
                  <a:lnTo>
                    <a:pt x="514669" y="91002"/>
                  </a:lnTo>
                  <a:lnTo>
                    <a:pt x="536068" y="60200"/>
                  </a:lnTo>
                  <a:lnTo>
                    <a:pt x="582326" y="75655"/>
                  </a:lnTo>
                  <a:lnTo>
                    <a:pt x="640472" y="74466"/>
                  </a:lnTo>
                  <a:lnTo>
                    <a:pt x="635716" y="93488"/>
                  </a:lnTo>
                  <a:lnTo>
                    <a:pt x="598970" y="139745"/>
                  </a:lnTo>
                  <a:lnTo>
                    <a:pt x="600159" y="155201"/>
                  </a:lnTo>
                  <a:lnTo>
                    <a:pt x="633339" y="162334"/>
                  </a:lnTo>
                  <a:lnTo>
                    <a:pt x="626206" y="224046"/>
                  </a:lnTo>
                  <a:lnTo>
                    <a:pt x="583515" y="257227"/>
                  </a:lnTo>
                  <a:lnTo>
                    <a:pt x="481489" y="264360"/>
                  </a:lnTo>
                  <a:lnTo>
                    <a:pt x="407996" y="256038"/>
                  </a:lnTo>
                  <a:lnTo>
                    <a:pt x="368871" y="241771"/>
                  </a:lnTo>
                  <a:lnTo>
                    <a:pt x="315480" y="325964"/>
                  </a:lnTo>
                  <a:lnTo>
                    <a:pt x="266845" y="322398"/>
                  </a:lnTo>
                  <a:lnTo>
                    <a:pt x="211077" y="288029"/>
                  </a:lnTo>
                  <a:lnTo>
                    <a:pt x="126884" y="322398"/>
                  </a:lnTo>
                  <a:lnTo>
                    <a:pt x="117373" y="309320"/>
                  </a:lnTo>
                  <a:lnTo>
                    <a:pt x="101918" y="315265"/>
                  </a:lnTo>
                  <a:lnTo>
                    <a:pt x="93704" y="348661"/>
                  </a:lnTo>
                  <a:lnTo>
                    <a:pt x="85382" y="349849"/>
                  </a:lnTo>
                  <a:lnTo>
                    <a:pt x="53391" y="319047"/>
                  </a:lnTo>
                  <a:lnTo>
                    <a:pt x="53391" y="303592"/>
                  </a:lnTo>
                  <a:lnTo>
                    <a:pt x="33180" y="300025"/>
                  </a:lnTo>
                  <a:lnTo>
                    <a:pt x="0" y="277437"/>
                  </a:lnTo>
                  <a:lnTo>
                    <a:pt x="2378" y="253768"/>
                  </a:lnTo>
                  <a:lnTo>
                    <a:pt x="30910" y="220588"/>
                  </a:lnTo>
                  <a:lnTo>
                    <a:pt x="15455" y="190974"/>
                  </a:lnTo>
                  <a:lnTo>
                    <a:pt x="5944" y="143528"/>
                  </a:lnTo>
                  <a:lnTo>
                    <a:pt x="5944" y="26047"/>
                  </a:lnTo>
                  <a:lnTo>
                    <a:pt x="77168" y="0"/>
                  </a:lnTo>
                  <a:lnTo>
                    <a:pt x="144609" y="1286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49" name="Полилиния: фигура 219"/>
            <p:cNvSpPr/>
            <p:nvPr/>
          </p:nvSpPr>
          <p:spPr bwMode="auto">
            <a:xfrm>
              <a:off x="3344619" y="4788552"/>
              <a:ext cx="234854" cy="271600"/>
            </a:xfrm>
            <a:custGeom>
              <a:avLst/>
              <a:gdLst>
                <a:gd name="connsiteX0" fmla="*/ 163631 w 234854"/>
                <a:gd name="connsiteY0" fmla="*/ 271600 h 271600"/>
                <a:gd name="connsiteX1" fmla="*/ 175519 w 234854"/>
                <a:gd name="connsiteY1" fmla="*/ 243176 h 271600"/>
                <a:gd name="connsiteX2" fmla="*/ 183841 w 234854"/>
                <a:gd name="connsiteY2" fmla="*/ 204052 h 271600"/>
                <a:gd name="connsiteX3" fmla="*/ 190974 w 234854"/>
                <a:gd name="connsiteY3" fmla="*/ 154228 h 271600"/>
                <a:gd name="connsiteX4" fmla="*/ 222966 w 234854"/>
                <a:gd name="connsiteY4" fmla="*/ 121047 h 271600"/>
                <a:gd name="connsiteX5" fmla="*/ 220588 w 234854"/>
                <a:gd name="connsiteY5" fmla="*/ 84301 h 271600"/>
                <a:gd name="connsiteX6" fmla="*/ 234854 w 234854"/>
                <a:gd name="connsiteY6" fmla="*/ 64090 h 271600"/>
                <a:gd name="connsiteX7" fmla="*/ 227721 w 234854"/>
                <a:gd name="connsiteY7" fmla="*/ 41502 h 271600"/>
                <a:gd name="connsiteX8" fmla="*/ 181464 w 234854"/>
                <a:gd name="connsiteY8" fmla="*/ 8322 h 271600"/>
                <a:gd name="connsiteX9" fmla="*/ 167197 w 234854"/>
                <a:gd name="connsiteY9" fmla="*/ 0 h 271600"/>
                <a:gd name="connsiteX10" fmla="*/ 156497 w 234854"/>
                <a:gd name="connsiteY10" fmla="*/ 27236 h 271600"/>
                <a:gd name="connsiteX11" fmla="*/ 122128 w 234854"/>
                <a:gd name="connsiteY11" fmla="*/ 24858 h 271600"/>
                <a:gd name="connsiteX12" fmla="*/ 123317 w 234854"/>
                <a:gd name="connsiteY12" fmla="*/ 56849 h 271600"/>
                <a:gd name="connsiteX13" fmla="*/ 90137 w 234854"/>
                <a:gd name="connsiteY13" fmla="*/ 78249 h 271600"/>
                <a:gd name="connsiteX14" fmla="*/ 48635 w 234854"/>
                <a:gd name="connsiteY14" fmla="*/ 101918 h 271600"/>
                <a:gd name="connsiteX15" fmla="*/ 23777 w 234854"/>
                <a:gd name="connsiteY15" fmla="*/ 100729 h 271600"/>
                <a:gd name="connsiteX16" fmla="*/ 4755 w 234854"/>
                <a:gd name="connsiteY16" fmla="*/ 111429 h 271600"/>
                <a:gd name="connsiteX17" fmla="*/ 0 w 234854"/>
                <a:gd name="connsiteY17" fmla="*/ 128073 h 271600"/>
                <a:gd name="connsiteX18" fmla="*/ 24858 w 234854"/>
                <a:gd name="connsiteY18" fmla="*/ 147094 h 271600"/>
                <a:gd name="connsiteX19" fmla="*/ 21291 w 234854"/>
                <a:gd name="connsiteY19" fmla="*/ 167305 h 271600"/>
                <a:gd name="connsiteX20" fmla="*/ 40313 w 234854"/>
                <a:gd name="connsiteY20" fmla="*/ 196919 h 271600"/>
                <a:gd name="connsiteX21" fmla="*/ 163631 w 234854"/>
                <a:gd name="connsiteY21" fmla="*/ 271600 h 2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34854" h="271600" extrusionOk="0">
                  <a:moveTo>
                    <a:pt x="163631" y="271600"/>
                  </a:moveTo>
                  <a:lnTo>
                    <a:pt x="175519" y="243176"/>
                  </a:lnTo>
                  <a:lnTo>
                    <a:pt x="183841" y="204052"/>
                  </a:lnTo>
                  <a:lnTo>
                    <a:pt x="190974" y="154228"/>
                  </a:lnTo>
                  <a:lnTo>
                    <a:pt x="222966" y="121047"/>
                  </a:lnTo>
                  <a:lnTo>
                    <a:pt x="220588" y="84301"/>
                  </a:lnTo>
                  <a:lnTo>
                    <a:pt x="234854" y="64090"/>
                  </a:lnTo>
                  <a:lnTo>
                    <a:pt x="227721" y="41502"/>
                  </a:lnTo>
                  <a:lnTo>
                    <a:pt x="181464" y="8322"/>
                  </a:lnTo>
                  <a:lnTo>
                    <a:pt x="167197" y="0"/>
                  </a:lnTo>
                  <a:lnTo>
                    <a:pt x="156497" y="27236"/>
                  </a:lnTo>
                  <a:lnTo>
                    <a:pt x="122128" y="24858"/>
                  </a:lnTo>
                  <a:lnTo>
                    <a:pt x="123317" y="56849"/>
                  </a:lnTo>
                  <a:lnTo>
                    <a:pt x="90137" y="78249"/>
                  </a:lnTo>
                  <a:lnTo>
                    <a:pt x="48635" y="101918"/>
                  </a:lnTo>
                  <a:lnTo>
                    <a:pt x="23777" y="100729"/>
                  </a:lnTo>
                  <a:lnTo>
                    <a:pt x="4755" y="111429"/>
                  </a:lnTo>
                  <a:lnTo>
                    <a:pt x="0" y="128073"/>
                  </a:lnTo>
                  <a:lnTo>
                    <a:pt x="24858" y="147094"/>
                  </a:lnTo>
                  <a:lnTo>
                    <a:pt x="21291" y="167305"/>
                  </a:lnTo>
                  <a:lnTo>
                    <a:pt x="40313" y="196919"/>
                  </a:lnTo>
                  <a:lnTo>
                    <a:pt x="163631" y="27160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0" name="Полилиния: фигура 220"/>
            <p:cNvSpPr/>
            <p:nvPr/>
          </p:nvSpPr>
          <p:spPr bwMode="auto">
            <a:xfrm>
              <a:off x="3334892" y="4613032"/>
              <a:ext cx="328665" cy="249228"/>
            </a:xfrm>
            <a:custGeom>
              <a:avLst/>
              <a:gdLst>
                <a:gd name="connsiteX0" fmla="*/ 207726 w 328666"/>
                <a:gd name="connsiteY0" fmla="*/ 61605 h 249228"/>
                <a:gd name="connsiteX1" fmla="*/ 168602 w 328666"/>
                <a:gd name="connsiteY1" fmla="*/ 30802 h 249228"/>
                <a:gd name="connsiteX2" fmla="*/ 154336 w 328666"/>
                <a:gd name="connsiteY2" fmla="*/ 7133 h 249228"/>
                <a:gd name="connsiteX3" fmla="*/ 118778 w 328666"/>
                <a:gd name="connsiteY3" fmla="*/ 0 h 249228"/>
                <a:gd name="connsiteX4" fmla="*/ 87976 w 328666"/>
                <a:gd name="connsiteY4" fmla="*/ 15455 h 249228"/>
                <a:gd name="connsiteX5" fmla="*/ 70143 w 328666"/>
                <a:gd name="connsiteY5" fmla="*/ 23777 h 249228"/>
                <a:gd name="connsiteX6" fmla="*/ 67765 w 328666"/>
                <a:gd name="connsiteY6" fmla="*/ 39232 h 249228"/>
                <a:gd name="connsiteX7" fmla="*/ 52310 w 328666"/>
                <a:gd name="connsiteY7" fmla="*/ 60632 h 249228"/>
                <a:gd name="connsiteX8" fmla="*/ 42799 w 328666"/>
                <a:gd name="connsiteY8" fmla="*/ 71332 h 249228"/>
                <a:gd name="connsiteX9" fmla="*/ 30910 w 328666"/>
                <a:gd name="connsiteY9" fmla="*/ 71332 h 249228"/>
                <a:gd name="connsiteX10" fmla="*/ 13077 w 328666"/>
                <a:gd name="connsiteY10" fmla="*/ 99865 h 249228"/>
                <a:gd name="connsiteX11" fmla="*/ 10700 w 328666"/>
                <a:gd name="connsiteY11" fmla="*/ 135422 h 249228"/>
                <a:gd name="connsiteX12" fmla="*/ 3567 w 328666"/>
                <a:gd name="connsiteY12" fmla="*/ 146122 h 249228"/>
                <a:gd name="connsiteX13" fmla="*/ 0 w 328666"/>
                <a:gd name="connsiteY13" fmla="*/ 172169 h 249228"/>
                <a:gd name="connsiteX14" fmla="*/ 11889 w 328666"/>
                <a:gd name="connsiteY14" fmla="*/ 184057 h 249228"/>
                <a:gd name="connsiteX15" fmla="*/ 41610 w 328666"/>
                <a:gd name="connsiteY15" fmla="*/ 185246 h 249228"/>
                <a:gd name="connsiteX16" fmla="*/ 63010 w 328666"/>
                <a:gd name="connsiteY16" fmla="*/ 162658 h 249228"/>
                <a:gd name="connsiteX17" fmla="*/ 90245 w 328666"/>
                <a:gd name="connsiteY17" fmla="*/ 162658 h 249228"/>
                <a:gd name="connsiteX18" fmla="*/ 134125 w 328666"/>
                <a:gd name="connsiteY18" fmla="*/ 200593 h 249228"/>
                <a:gd name="connsiteX19" fmla="*/ 166116 w 328666"/>
                <a:gd name="connsiteY19" fmla="*/ 204160 h 249228"/>
                <a:gd name="connsiteX20" fmla="*/ 178005 w 328666"/>
                <a:gd name="connsiteY20" fmla="*/ 175735 h 249228"/>
                <a:gd name="connsiteX21" fmla="*/ 237340 w 328666"/>
                <a:gd name="connsiteY21" fmla="*/ 216049 h 249228"/>
                <a:gd name="connsiteX22" fmla="*/ 252795 w 328666"/>
                <a:gd name="connsiteY22" fmla="*/ 212482 h 249228"/>
                <a:gd name="connsiteX23" fmla="*/ 300241 w 328666"/>
                <a:gd name="connsiteY23" fmla="*/ 249229 h 249228"/>
                <a:gd name="connsiteX24" fmla="*/ 297864 w 328666"/>
                <a:gd name="connsiteY24" fmla="*/ 188705 h 249228"/>
                <a:gd name="connsiteX25" fmla="*/ 308564 w 328666"/>
                <a:gd name="connsiteY25" fmla="*/ 175627 h 249228"/>
                <a:gd name="connsiteX26" fmla="*/ 308564 w 328666"/>
                <a:gd name="connsiteY26" fmla="*/ 140070 h 249228"/>
                <a:gd name="connsiteX27" fmla="*/ 297864 w 328666"/>
                <a:gd name="connsiteY27" fmla="*/ 130559 h 249228"/>
                <a:gd name="connsiteX28" fmla="*/ 299053 w 328666"/>
                <a:gd name="connsiteY28" fmla="*/ 122237 h 249228"/>
                <a:gd name="connsiteX29" fmla="*/ 327477 w 328666"/>
                <a:gd name="connsiteY29" fmla="*/ 103323 h 249228"/>
                <a:gd name="connsiteX30" fmla="*/ 328666 w 328666"/>
                <a:gd name="connsiteY30" fmla="*/ 73709 h 249228"/>
                <a:gd name="connsiteX31" fmla="*/ 314400 w 328666"/>
                <a:gd name="connsiteY31" fmla="*/ 58254 h 249228"/>
                <a:gd name="connsiteX32" fmla="*/ 275275 w 328666"/>
                <a:gd name="connsiteY32" fmla="*/ 34585 h 249228"/>
                <a:gd name="connsiteX33" fmla="*/ 253876 w 328666"/>
                <a:gd name="connsiteY33" fmla="*/ 58254 h 249228"/>
                <a:gd name="connsiteX34" fmla="*/ 207726 w 328666"/>
                <a:gd name="connsiteY34" fmla="*/ 61605 h 24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28666" h="249228" extrusionOk="0">
                  <a:moveTo>
                    <a:pt x="207726" y="61605"/>
                  </a:moveTo>
                  <a:lnTo>
                    <a:pt x="168602" y="30802"/>
                  </a:lnTo>
                  <a:lnTo>
                    <a:pt x="154336" y="7133"/>
                  </a:lnTo>
                  <a:lnTo>
                    <a:pt x="118778" y="0"/>
                  </a:lnTo>
                  <a:lnTo>
                    <a:pt x="87976" y="15455"/>
                  </a:lnTo>
                  <a:lnTo>
                    <a:pt x="70143" y="23777"/>
                  </a:lnTo>
                  <a:lnTo>
                    <a:pt x="67765" y="39232"/>
                  </a:lnTo>
                  <a:lnTo>
                    <a:pt x="52310" y="60632"/>
                  </a:lnTo>
                  <a:lnTo>
                    <a:pt x="42799" y="71332"/>
                  </a:lnTo>
                  <a:lnTo>
                    <a:pt x="30910" y="71332"/>
                  </a:lnTo>
                  <a:lnTo>
                    <a:pt x="13077" y="99865"/>
                  </a:lnTo>
                  <a:lnTo>
                    <a:pt x="10700" y="135422"/>
                  </a:lnTo>
                  <a:lnTo>
                    <a:pt x="3567" y="146122"/>
                  </a:lnTo>
                  <a:lnTo>
                    <a:pt x="0" y="172169"/>
                  </a:lnTo>
                  <a:lnTo>
                    <a:pt x="11889" y="184057"/>
                  </a:lnTo>
                  <a:lnTo>
                    <a:pt x="41610" y="185246"/>
                  </a:lnTo>
                  <a:lnTo>
                    <a:pt x="63010" y="162658"/>
                  </a:lnTo>
                  <a:lnTo>
                    <a:pt x="90245" y="162658"/>
                  </a:lnTo>
                  <a:lnTo>
                    <a:pt x="134125" y="200593"/>
                  </a:lnTo>
                  <a:lnTo>
                    <a:pt x="166116" y="204160"/>
                  </a:lnTo>
                  <a:lnTo>
                    <a:pt x="178005" y="175735"/>
                  </a:lnTo>
                  <a:lnTo>
                    <a:pt x="237340" y="216049"/>
                  </a:lnTo>
                  <a:lnTo>
                    <a:pt x="252795" y="212482"/>
                  </a:lnTo>
                  <a:lnTo>
                    <a:pt x="300241" y="249229"/>
                  </a:lnTo>
                  <a:lnTo>
                    <a:pt x="297864" y="188705"/>
                  </a:lnTo>
                  <a:lnTo>
                    <a:pt x="308564" y="175627"/>
                  </a:lnTo>
                  <a:lnTo>
                    <a:pt x="308564" y="140070"/>
                  </a:lnTo>
                  <a:lnTo>
                    <a:pt x="297864" y="130559"/>
                  </a:lnTo>
                  <a:lnTo>
                    <a:pt x="299053" y="122237"/>
                  </a:lnTo>
                  <a:lnTo>
                    <a:pt x="327477" y="103323"/>
                  </a:lnTo>
                  <a:lnTo>
                    <a:pt x="328666" y="73709"/>
                  </a:lnTo>
                  <a:lnTo>
                    <a:pt x="314400" y="58254"/>
                  </a:lnTo>
                  <a:lnTo>
                    <a:pt x="275275" y="34585"/>
                  </a:lnTo>
                  <a:lnTo>
                    <a:pt x="253876" y="58254"/>
                  </a:lnTo>
                  <a:lnTo>
                    <a:pt x="207726" y="6160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1" name="Полилиния: фигура 221"/>
            <p:cNvSpPr/>
            <p:nvPr/>
          </p:nvSpPr>
          <p:spPr bwMode="auto">
            <a:xfrm>
              <a:off x="3632864" y="4624813"/>
              <a:ext cx="358171" cy="418803"/>
            </a:xfrm>
            <a:custGeom>
              <a:avLst/>
              <a:gdLst>
                <a:gd name="connsiteX0" fmla="*/ 75871 w 358171"/>
                <a:gd name="connsiteY0" fmla="*/ 0 h 418803"/>
                <a:gd name="connsiteX1" fmla="*/ 21291 w 358171"/>
                <a:gd name="connsiteY1" fmla="*/ 51013 h 418803"/>
                <a:gd name="connsiteX2" fmla="*/ 31991 w 358171"/>
                <a:gd name="connsiteY2" fmla="*/ 62902 h 418803"/>
                <a:gd name="connsiteX3" fmla="*/ 30802 w 358171"/>
                <a:gd name="connsiteY3" fmla="*/ 88949 h 418803"/>
                <a:gd name="connsiteX4" fmla="*/ 0 w 358171"/>
                <a:gd name="connsiteY4" fmla="*/ 110348 h 418803"/>
                <a:gd name="connsiteX5" fmla="*/ 1189 w 358171"/>
                <a:gd name="connsiteY5" fmla="*/ 118670 h 418803"/>
                <a:gd name="connsiteX6" fmla="*/ 11889 w 358171"/>
                <a:gd name="connsiteY6" fmla="*/ 129370 h 418803"/>
                <a:gd name="connsiteX7" fmla="*/ 11889 w 358171"/>
                <a:gd name="connsiteY7" fmla="*/ 160172 h 418803"/>
                <a:gd name="connsiteX8" fmla="*/ 0 w 358171"/>
                <a:gd name="connsiteY8" fmla="*/ 176816 h 418803"/>
                <a:gd name="connsiteX9" fmla="*/ 0 w 358171"/>
                <a:gd name="connsiteY9" fmla="*/ 238529 h 418803"/>
                <a:gd name="connsiteX10" fmla="*/ 17833 w 358171"/>
                <a:gd name="connsiteY10" fmla="*/ 236151 h 418803"/>
                <a:gd name="connsiteX11" fmla="*/ 49824 w 358171"/>
                <a:gd name="connsiteY11" fmla="*/ 262198 h 418803"/>
                <a:gd name="connsiteX12" fmla="*/ 58146 w 358171"/>
                <a:gd name="connsiteY12" fmla="*/ 289434 h 418803"/>
                <a:gd name="connsiteX13" fmla="*/ 86571 w 358171"/>
                <a:gd name="connsiteY13" fmla="*/ 300134 h 418803"/>
                <a:gd name="connsiteX14" fmla="*/ 118562 w 358171"/>
                <a:gd name="connsiteY14" fmla="*/ 334502 h 418803"/>
                <a:gd name="connsiteX15" fmla="*/ 134017 w 358171"/>
                <a:gd name="connsiteY15" fmla="*/ 364224 h 418803"/>
                <a:gd name="connsiteX16" fmla="*/ 168386 w 358171"/>
                <a:gd name="connsiteY16" fmla="*/ 340447 h 418803"/>
                <a:gd name="connsiteX17" fmla="*/ 181464 w 358171"/>
                <a:gd name="connsiteY17" fmla="*/ 340447 h 418803"/>
                <a:gd name="connsiteX18" fmla="*/ 177897 w 358171"/>
                <a:gd name="connsiteY18" fmla="*/ 387893 h 418803"/>
                <a:gd name="connsiteX19" fmla="*/ 205133 w 358171"/>
                <a:gd name="connsiteY19" fmla="*/ 409293 h 418803"/>
                <a:gd name="connsiteX20" fmla="*/ 237124 w 358171"/>
                <a:gd name="connsiteY20" fmla="*/ 418803 h 418803"/>
                <a:gd name="connsiteX21" fmla="*/ 260901 w 358171"/>
                <a:gd name="connsiteY21" fmla="*/ 410481 h 418803"/>
                <a:gd name="connsiteX22" fmla="*/ 286948 w 358171"/>
                <a:gd name="connsiteY22" fmla="*/ 399782 h 418803"/>
                <a:gd name="connsiteX23" fmla="*/ 303592 w 358171"/>
                <a:gd name="connsiteY23" fmla="*/ 377301 h 418803"/>
                <a:gd name="connsiteX24" fmla="*/ 307158 w 358171"/>
                <a:gd name="connsiteY24" fmla="*/ 340555 h 418803"/>
                <a:gd name="connsiteX25" fmla="*/ 302403 w 358171"/>
                <a:gd name="connsiteY25" fmla="*/ 320344 h 418803"/>
                <a:gd name="connsiteX26" fmla="*/ 313103 w 358171"/>
                <a:gd name="connsiteY26" fmla="*/ 284786 h 418803"/>
                <a:gd name="connsiteX27" fmla="*/ 321425 w 358171"/>
                <a:gd name="connsiteY27" fmla="*/ 262198 h 418803"/>
                <a:gd name="connsiteX28" fmla="*/ 319047 w 358171"/>
                <a:gd name="connsiteY28" fmla="*/ 224262 h 418803"/>
                <a:gd name="connsiteX29" fmla="*/ 335691 w 358171"/>
                <a:gd name="connsiteY29" fmla="*/ 212374 h 418803"/>
                <a:gd name="connsiteX30" fmla="*/ 333314 w 358171"/>
                <a:gd name="connsiteY30" fmla="*/ 187408 h 418803"/>
                <a:gd name="connsiteX31" fmla="*/ 358171 w 358171"/>
                <a:gd name="connsiteY31" fmla="*/ 160172 h 418803"/>
                <a:gd name="connsiteX32" fmla="*/ 353416 w 358171"/>
                <a:gd name="connsiteY32" fmla="*/ 148283 h 418803"/>
                <a:gd name="connsiteX33" fmla="*/ 341527 w 358171"/>
                <a:gd name="connsiteY33" fmla="*/ 150661 h 418803"/>
                <a:gd name="connsiteX34" fmla="*/ 322614 w 358171"/>
                <a:gd name="connsiteY34" fmla="*/ 173249 h 418803"/>
                <a:gd name="connsiteX35" fmla="*/ 311914 w 358171"/>
                <a:gd name="connsiteY35" fmla="*/ 182760 h 418803"/>
                <a:gd name="connsiteX36" fmla="*/ 292892 w 358171"/>
                <a:gd name="connsiteY36" fmla="*/ 192271 h 418803"/>
                <a:gd name="connsiteX37" fmla="*/ 273979 w 358171"/>
                <a:gd name="connsiteY37" fmla="*/ 182760 h 418803"/>
                <a:gd name="connsiteX38" fmla="*/ 243176 w 358171"/>
                <a:gd name="connsiteY38" fmla="*/ 170872 h 418803"/>
                <a:gd name="connsiteX39" fmla="*/ 226532 w 358171"/>
                <a:gd name="connsiteY39" fmla="*/ 155417 h 418803"/>
                <a:gd name="connsiteX40" fmla="*/ 209888 w 358171"/>
                <a:gd name="connsiteY40" fmla="*/ 132828 h 418803"/>
                <a:gd name="connsiteX41" fmla="*/ 213455 w 358171"/>
                <a:gd name="connsiteY41" fmla="*/ 118562 h 418803"/>
                <a:gd name="connsiteX42" fmla="*/ 218210 w 358171"/>
                <a:gd name="connsiteY42" fmla="*/ 107862 h 418803"/>
                <a:gd name="connsiteX43" fmla="*/ 234854 w 358171"/>
                <a:gd name="connsiteY43" fmla="*/ 101918 h 418803"/>
                <a:gd name="connsiteX44" fmla="*/ 263279 w 358171"/>
                <a:gd name="connsiteY44" fmla="*/ 104296 h 418803"/>
                <a:gd name="connsiteX45" fmla="*/ 275167 w 358171"/>
                <a:gd name="connsiteY45" fmla="*/ 129154 h 418803"/>
                <a:gd name="connsiteX46" fmla="*/ 292892 w 358171"/>
                <a:gd name="connsiteY46" fmla="*/ 135098 h 418803"/>
                <a:gd name="connsiteX47" fmla="*/ 309536 w 358171"/>
                <a:gd name="connsiteY47" fmla="*/ 106565 h 418803"/>
                <a:gd name="connsiteX48" fmla="*/ 323803 w 358171"/>
                <a:gd name="connsiteY48" fmla="*/ 97054 h 418803"/>
                <a:gd name="connsiteX49" fmla="*/ 341635 w 358171"/>
                <a:gd name="connsiteY49" fmla="*/ 87543 h 418803"/>
                <a:gd name="connsiteX50" fmla="*/ 329747 w 358171"/>
                <a:gd name="connsiteY50" fmla="*/ 66144 h 418803"/>
                <a:gd name="connsiteX51" fmla="*/ 317858 w 358171"/>
                <a:gd name="connsiteY51" fmla="*/ 54256 h 418803"/>
                <a:gd name="connsiteX52" fmla="*/ 319047 w 358171"/>
                <a:gd name="connsiteY52" fmla="*/ 28209 h 418803"/>
                <a:gd name="connsiteX53" fmla="*/ 258523 w 358171"/>
                <a:gd name="connsiteY53" fmla="*/ 31775 h 418803"/>
                <a:gd name="connsiteX54" fmla="*/ 233665 w 358171"/>
                <a:gd name="connsiteY54" fmla="*/ 4539 h 418803"/>
                <a:gd name="connsiteX55" fmla="*/ 213455 w 358171"/>
                <a:gd name="connsiteY55" fmla="*/ 12861 h 418803"/>
                <a:gd name="connsiteX56" fmla="*/ 188597 w 358171"/>
                <a:gd name="connsiteY56" fmla="*/ 22372 h 418803"/>
                <a:gd name="connsiteX57" fmla="*/ 153039 w 358171"/>
                <a:gd name="connsiteY57" fmla="*/ 23561 h 418803"/>
                <a:gd name="connsiteX58" fmla="*/ 122237 w 358171"/>
                <a:gd name="connsiteY58" fmla="*/ 14050 h 418803"/>
                <a:gd name="connsiteX59" fmla="*/ 107970 w 358171"/>
                <a:gd name="connsiteY59" fmla="*/ 12861 h 418803"/>
                <a:gd name="connsiteX60" fmla="*/ 100837 w 358171"/>
                <a:gd name="connsiteY60" fmla="*/ 973 h 418803"/>
                <a:gd name="connsiteX61" fmla="*/ 75871 w 358171"/>
                <a:gd name="connsiteY61" fmla="*/ 0 h 418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58171" h="418803" extrusionOk="0">
                  <a:moveTo>
                    <a:pt x="75871" y="0"/>
                  </a:moveTo>
                  <a:lnTo>
                    <a:pt x="21291" y="51013"/>
                  </a:lnTo>
                  <a:lnTo>
                    <a:pt x="31991" y="62902"/>
                  </a:lnTo>
                  <a:lnTo>
                    <a:pt x="30802" y="88949"/>
                  </a:lnTo>
                  <a:lnTo>
                    <a:pt x="0" y="110348"/>
                  </a:lnTo>
                  <a:lnTo>
                    <a:pt x="1189" y="118670"/>
                  </a:lnTo>
                  <a:lnTo>
                    <a:pt x="11889" y="129370"/>
                  </a:lnTo>
                  <a:lnTo>
                    <a:pt x="11889" y="160172"/>
                  </a:lnTo>
                  <a:lnTo>
                    <a:pt x="0" y="176816"/>
                  </a:lnTo>
                  <a:lnTo>
                    <a:pt x="0" y="238529"/>
                  </a:lnTo>
                  <a:lnTo>
                    <a:pt x="17833" y="236151"/>
                  </a:lnTo>
                  <a:lnTo>
                    <a:pt x="49824" y="262198"/>
                  </a:lnTo>
                  <a:lnTo>
                    <a:pt x="58146" y="289434"/>
                  </a:lnTo>
                  <a:lnTo>
                    <a:pt x="86571" y="300134"/>
                  </a:lnTo>
                  <a:lnTo>
                    <a:pt x="118562" y="334502"/>
                  </a:lnTo>
                  <a:lnTo>
                    <a:pt x="134017" y="364224"/>
                  </a:lnTo>
                  <a:lnTo>
                    <a:pt x="168386" y="340447"/>
                  </a:lnTo>
                  <a:lnTo>
                    <a:pt x="181464" y="340447"/>
                  </a:lnTo>
                  <a:lnTo>
                    <a:pt x="177897" y="387893"/>
                  </a:lnTo>
                  <a:lnTo>
                    <a:pt x="205133" y="409293"/>
                  </a:lnTo>
                  <a:lnTo>
                    <a:pt x="237124" y="418803"/>
                  </a:lnTo>
                  <a:lnTo>
                    <a:pt x="260901" y="410481"/>
                  </a:lnTo>
                  <a:lnTo>
                    <a:pt x="286948" y="399782"/>
                  </a:lnTo>
                  <a:lnTo>
                    <a:pt x="303592" y="377301"/>
                  </a:lnTo>
                  <a:lnTo>
                    <a:pt x="307158" y="340555"/>
                  </a:lnTo>
                  <a:lnTo>
                    <a:pt x="302403" y="320344"/>
                  </a:lnTo>
                  <a:lnTo>
                    <a:pt x="313103" y="284786"/>
                  </a:lnTo>
                  <a:lnTo>
                    <a:pt x="321425" y="262198"/>
                  </a:lnTo>
                  <a:lnTo>
                    <a:pt x="319047" y="224262"/>
                  </a:lnTo>
                  <a:lnTo>
                    <a:pt x="335691" y="212374"/>
                  </a:lnTo>
                  <a:lnTo>
                    <a:pt x="333314" y="187408"/>
                  </a:lnTo>
                  <a:lnTo>
                    <a:pt x="358171" y="160172"/>
                  </a:lnTo>
                  <a:lnTo>
                    <a:pt x="353416" y="148283"/>
                  </a:lnTo>
                  <a:lnTo>
                    <a:pt x="341527" y="150661"/>
                  </a:lnTo>
                  <a:lnTo>
                    <a:pt x="322614" y="173249"/>
                  </a:lnTo>
                  <a:lnTo>
                    <a:pt x="311914" y="182760"/>
                  </a:lnTo>
                  <a:lnTo>
                    <a:pt x="292892" y="192271"/>
                  </a:lnTo>
                  <a:lnTo>
                    <a:pt x="273979" y="182760"/>
                  </a:lnTo>
                  <a:lnTo>
                    <a:pt x="243176" y="170872"/>
                  </a:lnTo>
                  <a:lnTo>
                    <a:pt x="226532" y="155417"/>
                  </a:lnTo>
                  <a:lnTo>
                    <a:pt x="209888" y="132828"/>
                  </a:lnTo>
                  <a:lnTo>
                    <a:pt x="213455" y="118562"/>
                  </a:lnTo>
                  <a:lnTo>
                    <a:pt x="218210" y="107862"/>
                  </a:lnTo>
                  <a:lnTo>
                    <a:pt x="234854" y="101918"/>
                  </a:lnTo>
                  <a:lnTo>
                    <a:pt x="263279" y="104296"/>
                  </a:lnTo>
                  <a:lnTo>
                    <a:pt x="275167" y="129154"/>
                  </a:lnTo>
                  <a:lnTo>
                    <a:pt x="292892" y="135098"/>
                  </a:lnTo>
                  <a:lnTo>
                    <a:pt x="309536" y="106565"/>
                  </a:lnTo>
                  <a:lnTo>
                    <a:pt x="323803" y="97054"/>
                  </a:lnTo>
                  <a:lnTo>
                    <a:pt x="341635" y="87543"/>
                  </a:lnTo>
                  <a:lnTo>
                    <a:pt x="329747" y="66144"/>
                  </a:lnTo>
                  <a:lnTo>
                    <a:pt x="317858" y="54256"/>
                  </a:lnTo>
                  <a:lnTo>
                    <a:pt x="319047" y="28209"/>
                  </a:lnTo>
                  <a:lnTo>
                    <a:pt x="258523" y="31775"/>
                  </a:lnTo>
                  <a:lnTo>
                    <a:pt x="233665" y="4539"/>
                  </a:lnTo>
                  <a:lnTo>
                    <a:pt x="213455" y="12861"/>
                  </a:lnTo>
                  <a:lnTo>
                    <a:pt x="188597" y="22372"/>
                  </a:lnTo>
                  <a:lnTo>
                    <a:pt x="153039" y="23561"/>
                  </a:lnTo>
                  <a:lnTo>
                    <a:pt x="122237" y="14050"/>
                  </a:lnTo>
                  <a:lnTo>
                    <a:pt x="107970" y="12861"/>
                  </a:lnTo>
                  <a:lnTo>
                    <a:pt x="100837" y="973"/>
                  </a:lnTo>
                  <a:lnTo>
                    <a:pt x="75871" y="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2" name="Полилиния: фигура 222"/>
            <p:cNvSpPr/>
            <p:nvPr/>
          </p:nvSpPr>
          <p:spPr bwMode="auto">
            <a:xfrm>
              <a:off x="3847183" y="4075667"/>
              <a:ext cx="466573" cy="597132"/>
            </a:xfrm>
            <a:custGeom>
              <a:avLst/>
              <a:gdLst>
                <a:gd name="connsiteX0" fmla="*/ 122453 w 466573"/>
                <a:gd name="connsiteY0" fmla="*/ 0 h 597132"/>
                <a:gd name="connsiteX1" fmla="*/ 198324 w 466573"/>
                <a:gd name="connsiteY1" fmla="*/ 1189 h 597132"/>
                <a:gd name="connsiteX2" fmla="*/ 232693 w 466573"/>
                <a:gd name="connsiteY2" fmla="*/ 24858 h 597132"/>
                <a:gd name="connsiteX3" fmla="*/ 251606 w 466573"/>
                <a:gd name="connsiteY3" fmla="*/ 48635 h 597132"/>
                <a:gd name="connsiteX4" fmla="*/ 276572 w 466573"/>
                <a:gd name="connsiteY4" fmla="*/ 48635 h 597132"/>
                <a:gd name="connsiteX5" fmla="*/ 286083 w 466573"/>
                <a:gd name="connsiteY5" fmla="*/ 59335 h 597132"/>
                <a:gd name="connsiteX6" fmla="*/ 306294 w 466573"/>
                <a:gd name="connsiteY6" fmla="*/ 80735 h 597132"/>
                <a:gd name="connsiteX7" fmla="*/ 305105 w 466573"/>
                <a:gd name="connsiteY7" fmla="*/ 125803 h 597132"/>
                <a:gd name="connsiteX8" fmla="*/ 312238 w 466573"/>
                <a:gd name="connsiteY8" fmla="*/ 147203 h 597132"/>
                <a:gd name="connsiteX9" fmla="*/ 324127 w 466573"/>
                <a:gd name="connsiteY9" fmla="*/ 160280 h 597132"/>
                <a:gd name="connsiteX10" fmla="*/ 325316 w 466573"/>
                <a:gd name="connsiteY10" fmla="*/ 161469 h 597132"/>
                <a:gd name="connsiteX11" fmla="*/ 332449 w 466573"/>
                <a:gd name="connsiteY11" fmla="*/ 173358 h 597132"/>
                <a:gd name="connsiteX12" fmla="*/ 336015 w 466573"/>
                <a:gd name="connsiteY12" fmla="*/ 191191 h 597132"/>
                <a:gd name="connsiteX13" fmla="*/ 351471 w 466573"/>
                <a:gd name="connsiteY13" fmla="*/ 206646 h 597132"/>
                <a:gd name="connsiteX14" fmla="*/ 355037 w 466573"/>
                <a:gd name="connsiteY14" fmla="*/ 232693 h 597132"/>
                <a:gd name="connsiteX15" fmla="*/ 369303 w 466573"/>
                <a:gd name="connsiteY15" fmla="*/ 251714 h 597132"/>
                <a:gd name="connsiteX16" fmla="*/ 398917 w 466573"/>
                <a:gd name="connsiteY16" fmla="*/ 262414 h 597132"/>
                <a:gd name="connsiteX17" fmla="*/ 417939 w 466573"/>
                <a:gd name="connsiteY17" fmla="*/ 292028 h 597132"/>
                <a:gd name="connsiteX18" fmla="*/ 448741 w 466573"/>
                <a:gd name="connsiteY18" fmla="*/ 321749 h 597132"/>
                <a:gd name="connsiteX19" fmla="*/ 465385 w 466573"/>
                <a:gd name="connsiteY19" fmla="*/ 339474 h 597132"/>
                <a:gd name="connsiteX20" fmla="*/ 466574 w 466573"/>
                <a:gd name="connsiteY20" fmla="*/ 369196 h 597132"/>
                <a:gd name="connsiteX21" fmla="*/ 458252 w 466573"/>
                <a:gd name="connsiteY21" fmla="*/ 405942 h 597132"/>
                <a:gd name="connsiteX22" fmla="*/ 443986 w 466573"/>
                <a:gd name="connsiteY22" fmla="*/ 415453 h 597132"/>
                <a:gd name="connsiteX23" fmla="*/ 434475 w 466573"/>
                <a:gd name="connsiteY23" fmla="*/ 423775 h 597132"/>
                <a:gd name="connsiteX24" fmla="*/ 417831 w 466573"/>
                <a:gd name="connsiteY24" fmla="*/ 432097 h 597132"/>
                <a:gd name="connsiteX25" fmla="*/ 409509 w 466573"/>
                <a:gd name="connsiteY25" fmla="*/ 441608 h 597132"/>
                <a:gd name="connsiteX26" fmla="*/ 409509 w 466573"/>
                <a:gd name="connsiteY26" fmla="*/ 442797 h 597132"/>
                <a:gd name="connsiteX27" fmla="*/ 407131 w 466573"/>
                <a:gd name="connsiteY27" fmla="*/ 475977 h 597132"/>
                <a:gd name="connsiteX28" fmla="*/ 409509 w 466573"/>
                <a:gd name="connsiteY28" fmla="*/ 500835 h 597132"/>
                <a:gd name="connsiteX29" fmla="*/ 403564 w 466573"/>
                <a:gd name="connsiteY29" fmla="*/ 509157 h 597132"/>
                <a:gd name="connsiteX30" fmla="*/ 383354 w 466573"/>
                <a:gd name="connsiteY30" fmla="*/ 524612 h 597132"/>
                <a:gd name="connsiteX31" fmla="*/ 367899 w 466573"/>
                <a:gd name="connsiteY31" fmla="*/ 537690 h 597132"/>
                <a:gd name="connsiteX32" fmla="*/ 315697 w 466573"/>
                <a:gd name="connsiteY32" fmla="*/ 540067 h 597132"/>
                <a:gd name="connsiteX33" fmla="*/ 294297 w 466573"/>
                <a:gd name="connsiteY33" fmla="*/ 546012 h 597132"/>
                <a:gd name="connsiteX34" fmla="*/ 283597 w 466573"/>
                <a:gd name="connsiteY34" fmla="*/ 544823 h 597132"/>
                <a:gd name="connsiteX35" fmla="*/ 270520 w 466573"/>
                <a:gd name="connsiteY35" fmla="*/ 559089 h 597132"/>
                <a:gd name="connsiteX36" fmla="*/ 270520 w 466573"/>
                <a:gd name="connsiteY36" fmla="*/ 572167 h 597132"/>
                <a:gd name="connsiteX37" fmla="*/ 270520 w 466573"/>
                <a:gd name="connsiteY37" fmla="*/ 589999 h 597132"/>
                <a:gd name="connsiteX38" fmla="*/ 263387 w 466573"/>
                <a:gd name="connsiteY38" fmla="*/ 597133 h 597132"/>
                <a:gd name="connsiteX39" fmla="*/ 259820 w 466573"/>
                <a:gd name="connsiteY39" fmla="*/ 591188 h 597132"/>
                <a:gd name="connsiteX40" fmla="*/ 256254 w 466573"/>
                <a:gd name="connsiteY40" fmla="*/ 578111 h 597132"/>
                <a:gd name="connsiteX41" fmla="*/ 255065 w 466573"/>
                <a:gd name="connsiteY41" fmla="*/ 578111 h 597132"/>
                <a:gd name="connsiteX42" fmla="*/ 238421 w 466573"/>
                <a:gd name="connsiteY42" fmla="*/ 578111 h 597132"/>
                <a:gd name="connsiteX43" fmla="*/ 232477 w 466573"/>
                <a:gd name="connsiteY43" fmla="*/ 573356 h 597132"/>
                <a:gd name="connsiteX44" fmla="*/ 189785 w 466573"/>
                <a:gd name="connsiteY44" fmla="*/ 573356 h 597132"/>
                <a:gd name="connsiteX45" fmla="*/ 115103 w 466573"/>
                <a:gd name="connsiteY45" fmla="*/ 562656 h 597132"/>
                <a:gd name="connsiteX46" fmla="*/ 100837 w 466573"/>
                <a:gd name="connsiteY46" fmla="*/ 562656 h 597132"/>
                <a:gd name="connsiteX47" fmla="*/ 100837 w 466573"/>
                <a:gd name="connsiteY47" fmla="*/ 578111 h 597132"/>
                <a:gd name="connsiteX48" fmla="*/ 45069 w 466573"/>
                <a:gd name="connsiteY48" fmla="*/ 582867 h 597132"/>
                <a:gd name="connsiteX49" fmla="*/ 17833 w 466573"/>
                <a:gd name="connsiteY49" fmla="*/ 555631 h 597132"/>
                <a:gd name="connsiteX50" fmla="*/ 16644 w 466573"/>
                <a:gd name="connsiteY50" fmla="*/ 546120 h 597132"/>
                <a:gd name="connsiteX51" fmla="*/ 0 w 466573"/>
                <a:gd name="connsiteY51" fmla="*/ 533042 h 597132"/>
                <a:gd name="connsiteX52" fmla="*/ 1189 w 466573"/>
                <a:gd name="connsiteY52" fmla="*/ 519965 h 597132"/>
                <a:gd name="connsiteX53" fmla="*/ 1189 w 466573"/>
                <a:gd name="connsiteY53" fmla="*/ 515209 h 597132"/>
                <a:gd name="connsiteX54" fmla="*/ 43880 w 466573"/>
                <a:gd name="connsiteY54" fmla="*/ 483218 h 597132"/>
                <a:gd name="connsiteX55" fmla="*/ 47446 w 466573"/>
                <a:gd name="connsiteY55" fmla="*/ 470141 h 597132"/>
                <a:gd name="connsiteX56" fmla="*/ 43880 w 466573"/>
                <a:gd name="connsiteY56" fmla="*/ 447552 h 597132"/>
                <a:gd name="connsiteX57" fmla="*/ 59335 w 466573"/>
                <a:gd name="connsiteY57" fmla="*/ 430908 h 597132"/>
                <a:gd name="connsiteX58" fmla="*/ 86571 w 466573"/>
                <a:gd name="connsiteY58" fmla="*/ 432097 h 597132"/>
                <a:gd name="connsiteX59" fmla="*/ 92515 w 466573"/>
                <a:gd name="connsiteY59" fmla="*/ 427342 h 597132"/>
                <a:gd name="connsiteX60" fmla="*/ 84193 w 466573"/>
                <a:gd name="connsiteY60" fmla="*/ 408428 h 597132"/>
                <a:gd name="connsiteX61" fmla="*/ 73493 w 466573"/>
                <a:gd name="connsiteY61" fmla="*/ 397728 h 597132"/>
                <a:gd name="connsiteX62" fmla="*/ 78249 w 466573"/>
                <a:gd name="connsiteY62" fmla="*/ 384651 h 597132"/>
                <a:gd name="connsiteX63" fmla="*/ 102026 w 466573"/>
                <a:gd name="connsiteY63" fmla="*/ 369196 h 597132"/>
                <a:gd name="connsiteX64" fmla="*/ 120940 w 466573"/>
                <a:gd name="connsiteY64" fmla="*/ 353740 h 597132"/>
                <a:gd name="connsiteX65" fmla="*/ 122128 w 466573"/>
                <a:gd name="connsiteY65" fmla="*/ 341852 h 597132"/>
                <a:gd name="connsiteX66" fmla="*/ 116184 w 466573"/>
                <a:gd name="connsiteY66" fmla="*/ 324019 h 597132"/>
                <a:gd name="connsiteX67" fmla="*/ 91218 w 466573"/>
                <a:gd name="connsiteY67" fmla="*/ 308564 h 597132"/>
                <a:gd name="connsiteX68" fmla="*/ 92407 w 466573"/>
                <a:gd name="connsiteY68" fmla="*/ 262306 h 597132"/>
                <a:gd name="connsiteX69" fmla="*/ 62793 w 466573"/>
                <a:gd name="connsiteY69" fmla="*/ 235070 h 597132"/>
                <a:gd name="connsiteX70" fmla="*/ 63982 w 466573"/>
                <a:gd name="connsiteY70" fmla="*/ 218426 h 597132"/>
                <a:gd name="connsiteX71" fmla="*/ 91218 w 466573"/>
                <a:gd name="connsiteY71" fmla="*/ 197027 h 597132"/>
                <a:gd name="connsiteX72" fmla="*/ 110240 w 466573"/>
                <a:gd name="connsiteY72" fmla="*/ 168602 h 597132"/>
                <a:gd name="connsiteX73" fmla="*/ 109051 w 466573"/>
                <a:gd name="connsiteY73" fmla="*/ 165036 h 597132"/>
                <a:gd name="connsiteX74" fmla="*/ 125695 w 466573"/>
                <a:gd name="connsiteY74" fmla="*/ 138989 h 597132"/>
                <a:gd name="connsiteX75" fmla="*/ 122453 w 466573"/>
                <a:gd name="connsiteY75" fmla="*/ 0 h 597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466573" h="597132" extrusionOk="0">
                  <a:moveTo>
                    <a:pt x="122453" y="0"/>
                  </a:moveTo>
                  <a:lnTo>
                    <a:pt x="198324" y="1189"/>
                  </a:lnTo>
                  <a:lnTo>
                    <a:pt x="232693" y="24858"/>
                  </a:lnTo>
                  <a:lnTo>
                    <a:pt x="251606" y="48635"/>
                  </a:lnTo>
                  <a:lnTo>
                    <a:pt x="276572" y="48635"/>
                  </a:lnTo>
                  <a:lnTo>
                    <a:pt x="286083" y="59335"/>
                  </a:lnTo>
                  <a:lnTo>
                    <a:pt x="306294" y="80735"/>
                  </a:lnTo>
                  <a:lnTo>
                    <a:pt x="305105" y="125803"/>
                  </a:lnTo>
                  <a:lnTo>
                    <a:pt x="312238" y="147203"/>
                  </a:lnTo>
                  <a:lnTo>
                    <a:pt x="324127" y="160280"/>
                  </a:lnTo>
                  <a:lnTo>
                    <a:pt x="325316" y="161469"/>
                  </a:lnTo>
                  <a:lnTo>
                    <a:pt x="332449" y="173358"/>
                  </a:lnTo>
                  <a:lnTo>
                    <a:pt x="336015" y="191191"/>
                  </a:lnTo>
                  <a:lnTo>
                    <a:pt x="351471" y="206646"/>
                  </a:lnTo>
                  <a:lnTo>
                    <a:pt x="355037" y="232693"/>
                  </a:lnTo>
                  <a:lnTo>
                    <a:pt x="369303" y="251714"/>
                  </a:lnTo>
                  <a:lnTo>
                    <a:pt x="398917" y="262414"/>
                  </a:lnTo>
                  <a:lnTo>
                    <a:pt x="417939" y="292028"/>
                  </a:lnTo>
                  <a:lnTo>
                    <a:pt x="448741" y="321749"/>
                  </a:lnTo>
                  <a:lnTo>
                    <a:pt x="465385" y="339474"/>
                  </a:lnTo>
                  <a:lnTo>
                    <a:pt x="466574" y="369196"/>
                  </a:lnTo>
                  <a:lnTo>
                    <a:pt x="458252" y="405942"/>
                  </a:lnTo>
                  <a:lnTo>
                    <a:pt x="443986" y="415453"/>
                  </a:lnTo>
                  <a:lnTo>
                    <a:pt x="434475" y="423775"/>
                  </a:lnTo>
                  <a:lnTo>
                    <a:pt x="417831" y="432097"/>
                  </a:lnTo>
                  <a:lnTo>
                    <a:pt x="409509" y="441608"/>
                  </a:lnTo>
                  <a:lnTo>
                    <a:pt x="409509" y="442797"/>
                  </a:lnTo>
                  <a:lnTo>
                    <a:pt x="407131" y="475977"/>
                  </a:lnTo>
                  <a:lnTo>
                    <a:pt x="409509" y="500835"/>
                  </a:lnTo>
                  <a:lnTo>
                    <a:pt x="403564" y="509157"/>
                  </a:lnTo>
                  <a:lnTo>
                    <a:pt x="383354" y="524612"/>
                  </a:lnTo>
                  <a:lnTo>
                    <a:pt x="367899" y="537690"/>
                  </a:lnTo>
                  <a:lnTo>
                    <a:pt x="315697" y="540067"/>
                  </a:lnTo>
                  <a:lnTo>
                    <a:pt x="294297" y="546012"/>
                  </a:lnTo>
                  <a:lnTo>
                    <a:pt x="283597" y="544823"/>
                  </a:lnTo>
                  <a:lnTo>
                    <a:pt x="270520" y="559089"/>
                  </a:lnTo>
                  <a:lnTo>
                    <a:pt x="270520" y="572167"/>
                  </a:lnTo>
                  <a:lnTo>
                    <a:pt x="270520" y="589999"/>
                  </a:lnTo>
                  <a:lnTo>
                    <a:pt x="263387" y="597133"/>
                  </a:lnTo>
                  <a:lnTo>
                    <a:pt x="259820" y="591188"/>
                  </a:lnTo>
                  <a:lnTo>
                    <a:pt x="256254" y="578111"/>
                  </a:lnTo>
                  <a:lnTo>
                    <a:pt x="255065" y="578111"/>
                  </a:lnTo>
                  <a:lnTo>
                    <a:pt x="238421" y="578111"/>
                  </a:lnTo>
                  <a:lnTo>
                    <a:pt x="232477" y="573356"/>
                  </a:lnTo>
                  <a:lnTo>
                    <a:pt x="189785" y="573356"/>
                  </a:lnTo>
                  <a:lnTo>
                    <a:pt x="115103" y="562656"/>
                  </a:lnTo>
                  <a:lnTo>
                    <a:pt x="100837" y="562656"/>
                  </a:lnTo>
                  <a:lnTo>
                    <a:pt x="100837" y="578111"/>
                  </a:lnTo>
                  <a:lnTo>
                    <a:pt x="45069" y="582867"/>
                  </a:lnTo>
                  <a:lnTo>
                    <a:pt x="17833" y="555631"/>
                  </a:lnTo>
                  <a:lnTo>
                    <a:pt x="16644" y="546120"/>
                  </a:lnTo>
                  <a:lnTo>
                    <a:pt x="0" y="533042"/>
                  </a:lnTo>
                  <a:lnTo>
                    <a:pt x="1189" y="519965"/>
                  </a:lnTo>
                  <a:lnTo>
                    <a:pt x="1189" y="515209"/>
                  </a:lnTo>
                  <a:lnTo>
                    <a:pt x="43880" y="483218"/>
                  </a:lnTo>
                  <a:lnTo>
                    <a:pt x="47446" y="470141"/>
                  </a:lnTo>
                  <a:lnTo>
                    <a:pt x="43880" y="447552"/>
                  </a:lnTo>
                  <a:lnTo>
                    <a:pt x="59335" y="430908"/>
                  </a:lnTo>
                  <a:lnTo>
                    <a:pt x="86571" y="432097"/>
                  </a:lnTo>
                  <a:lnTo>
                    <a:pt x="92515" y="427342"/>
                  </a:lnTo>
                  <a:lnTo>
                    <a:pt x="84193" y="408428"/>
                  </a:lnTo>
                  <a:lnTo>
                    <a:pt x="73493" y="397728"/>
                  </a:lnTo>
                  <a:lnTo>
                    <a:pt x="78249" y="384651"/>
                  </a:lnTo>
                  <a:lnTo>
                    <a:pt x="102026" y="369196"/>
                  </a:lnTo>
                  <a:lnTo>
                    <a:pt x="120940" y="353740"/>
                  </a:lnTo>
                  <a:lnTo>
                    <a:pt x="122128" y="341852"/>
                  </a:lnTo>
                  <a:lnTo>
                    <a:pt x="116184" y="324019"/>
                  </a:lnTo>
                  <a:lnTo>
                    <a:pt x="91218" y="308564"/>
                  </a:lnTo>
                  <a:lnTo>
                    <a:pt x="92407" y="262306"/>
                  </a:lnTo>
                  <a:lnTo>
                    <a:pt x="62793" y="235070"/>
                  </a:lnTo>
                  <a:lnTo>
                    <a:pt x="63982" y="218426"/>
                  </a:lnTo>
                  <a:lnTo>
                    <a:pt x="91218" y="197027"/>
                  </a:lnTo>
                  <a:lnTo>
                    <a:pt x="110240" y="168602"/>
                  </a:lnTo>
                  <a:lnTo>
                    <a:pt x="109051" y="165036"/>
                  </a:lnTo>
                  <a:lnTo>
                    <a:pt x="125695" y="138989"/>
                  </a:lnTo>
                  <a:lnTo>
                    <a:pt x="122453" y="0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3" name="Полилиния: фигура 223"/>
            <p:cNvSpPr/>
            <p:nvPr/>
          </p:nvSpPr>
          <p:spPr bwMode="auto">
            <a:xfrm>
              <a:off x="4792760" y="4161914"/>
              <a:ext cx="742389" cy="530232"/>
            </a:xfrm>
            <a:custGeom>
              <a:avLst/>
              <a:gdLst>
                <a:gd name="connsiteX0" fmla="*/ 42799 w 742389"/>
                <a:gd name="connsiteY0" fmla="*/ 390595 h 530232"/>
                <a:gd name="connsiteX1" fmla="*/ 48743 w 742389"/>
                <a:gd name="connsiteY1" fmla="*/ 370384 h 530232"/>
                <a:gd name="connsiteX2" fmla="*/ 38044 w 742389"/>
                <a:gd name="connsiteY2" fmla="*/ 353740 h 530232"/>
                <a:gd name="connsiteX3" fmla="*/ 27344 w 742389"/>
                <a:gd name="connsiteY3" fmla="*/ 332341 h 530232"/>
                <a:gd name="connsiteX4" fmla="*/ 11889 w 742389"/>
                <a:gd name="connsiteY4" fmla="*/ 325208 h 530232"/>
                <a:gd name="connsiteX5" fmla="*/ 1189 w 742389"/>
                <a:gd name="connsiteY5" fmla="*/ 310941 h 530232"/>
                <a:gd name="connsiteX6" fmla="*/ 0 w 742389"/>
                <a:gd name="connsiteY6" fmla="*/ 236259 h 530232"/>
                <a:gd name="connsiteX7" fmla="*/ 24858 w 742389"/>
                <a:gd name="connsiteY7" fmla="*/ 214860 h 530232"/>
                <a:gd name="connsiteX8" fmla="*/ 37936 w 742389"/>
                <a:gd name="connsiteY8" fmla="*/ 194649 h 530232"/>
                <a:gd name="connsiteX9" fmla="*/ 41502 w 742389"/>
                <a:gd name="connsiteY9" fmla="*/ 161469 h 530232"/>
                <a:gd name="connsiteX10" fmla="*/ 75871 w 742389"/>
                <a:gd name="connsiteY10" fmla="*/ 140069 h 530232"/>
                <a:gd name="connsiteX11" fmla="*/ 86571 w 742389"/>
                <a:gd name="connsiteY11" fmla="*/ 115103 h 530232"/>
                <a:gd name="connsiteX12" fmla="*/ 84193 w 742389"/>
                <a:gd name="connsiteY12" fmla="*/ 60524 h 530232"/>
                <a:gd name="connsiteX13" fmla="*/ 93704 w 742389"/>
                <a:gd name="connsiteY13" fmla="*/ 46257 h 530232"/>
                <a:gd name="connsiteX14" fmla="*/ 96082 w 742389"/>
                <a:gd name="connsiteY14" fmla="*/ 28425 h 530232"/>
                <a:gd name="connsiteX15" fmla="*/ 123317 w 742389"/>
                <a:gd name="connsiteY15" fmla="*/ 7025 h 530232"/>
                <a:gd name="connsiteX16" fmla="*/ 164819 w 742389"/>
                <a:gd name="connsiteY16" fmla="*/ 9403 h 530232"/>
                <a:gd name="connsiteX17" fmla="*/ 215832 w 742389"/>
                <a:gd name="connsiteY17" fmla="*/ 24858 h 530232"/>
                <a:gd name="connsiteX18" fmla="*/ 339150 w 742389"/>
                <a:gd name="connsiteY18" fmla="*/ 26047 h 530232"/>
                <a:gd name="connsiteX19" fmla="*/ 367574 w 742389"/>
                <a:gd name="connsiteY19" fmla="*/ 41502 h 530232"/>
                <a:gd name="connsiteX20" fmla="*/ 373519 w 742389"/>
                <a:gd name="connsiteY20" fmla="*/ 39124 h 530232"/>
                <a:gd name="connsiteX21" fmla="*/ 417399 w 742389"/>
                <a:gd name="connsiteY21" fmla="*/ 0 h 530232"/>
                <a:gd name="connsiteX22" fmla="*/ 463656 w 742389"/>
                <a:gd name="connsiteY22" fmla="*/ 0 h 530232"/>
                <a:gd name="connsiteX23" fmla="*/ 482678 w 742389"/>
                <a:gd name="connsiteY23" fmla="*/ 15455 h 530232"/>
                <a:gd name="connsiteX24" fmla="*/ 494566 w 742389"/>
                <a:gd name="connsiteY24" fmla="*/ 34477 h 530232"/>
                <a:gd name="connsiteX25" fmla="*/ 495755 w 742389"/>
                <a:gd name="connsiteY25" fmla="*/ 36855 h 530232"/>
                <a:gd name="connsiteX26" fmla="*/ 502888 w 742389"/>
                <a:gd name="connsiteY26" fmla="*/ 92623 h 530232"/>
                <a:gd name="connsiteX27" fmla="*/ 534880 w 742389"/>
                <a:gd name="connsiteY27" fmla="*/ 110348 h 530232"/>
                <a:gd name="connsiteX28" fmla="*/ 559738 w 742389"/>
                <a:gd name="connsiteY28" fmla="*/ 106781 h 530232"/>
                <a:gd name="connsiteX29" fmla="*/ 598862 w 742389"/>
                <a:gd name="connsiteY29" fmla="*/ 126992 h 530232"/>
                <a:gd name="connsiteX30" fmla="*/ 639175 w 742389"/>
                <a:gd name="connsiteY30" fmla="*/ 123426 h 530232"/>
                <a:gd name="connsiteX31" fmla="*/ 673544 w 742389"/>
                <a:gd name="connsiteY31" fmla="*/ 143636 h 530232"/>
                <a:gd name="connsiteX32" fmla="*/ 678299 w 742389"/>
                <a:gd name="connsiteY32" fmla="*/ 165035 h 530232"/>
                <a:gd name="connsiteX33" fmla="*/ 678299 w 742389"/>
                <a:gd name="connsiteY33" fmla="*/ 165035 h 530232"/>
                <a:gd name="connsiteX34" fmla="*/ 717424 w 742389"/>
                <a:gd name="connsiteY34" fmla="*/ 194649 h 530232"/>
                <a:gd name="connsiteX35" fmla="*/ 688999 w 742389"/>
                <a:gd name="connsiteY35" fmla="*/ 230207 h 530232"/>
                <a:gd name="connsiteX36" fmla="*/ 683055 w 742389"/>
                <a:gd name="connsiteY36" fmla="*/ 259820 h 530232"/>
                <a:gd name="connsiteX37" fmla="*/ 681866 w 742389"/>
                <a:gd name="connsiteY37" fmla="*/ 290622 h 530232"/>
                <a:gd name="connsiteX38" fmla="*/ 731690 w 742389"/>
                <a:gd name="connsiteY38" fmla="*/ 304889 h 530232"/>
                <a:gd name="connsiteX39" fmla="*/ 742390 w 742389"/>
                <a:gd name="connsiteY39" fmla="*/ 354713 h 530232"/>
                <a:gd name="connsiteX40" fmla="*/ 734068 w 742389"/>
                <a:gd name="connsiteY40" fmla="*/ 381949 h 530232"/>
                <a:gd name="connsiteX41" fmla="*/ 713857 w 742389"/>
                <a:gd name="connsiteY41" fmla="*/ 410373 h 530232"/>
                <a:gd name="connsiteX42" fmla="*/ 713857 w 742389"/>
                <a:gd name="connsiteY42" fmla="*/ 427017 h 530232"/>
                <a:gd name="connsiteX43" fmla="*/ 688999 w 742389"/>
                <a:gd name="connsiteY43" fmla="*/ 430584 h 530232"/>
                <a:gd name="connsiteX44" fmla="*/ 673544 w 742389"/>
                <a:gd name="connsiteY44" fmla="*/ 444850 h 530232"/>
                <a:gd name="connsiteX45" fmla="*/ 595295 w 742389"/>
                <a:gd name="connsiteY45" fmla="*/ 449606 h 530232"/>
                <a:gd name="connsiteX46" fmla="*/ 566763 w 742389"/>
                <a:gd name="connsiteY46" fmla="*/ 463872 h 530232"/>
                <a:gd name="connsiteX47" fmla="*/ 543093 w 742389"/>
                <a:gd name="connsiteY47" fmla="*/ 487541 h 530232"/>
                <a:gd name="connsiteX48" fmla="*/ 496836 w 742389"/>
                <a:gd name="connsiteY48" fmla="*/ 502996 h 530232"/>
                <a:gd name="connsiteX49" fmla="*/ 447012 w 742389"/>
                <a:gd name="connsiteY49" fmla="*/ 527854 h 530232"/>
                <a:gd name="connsiteX50" fmla="*/ 427990 w 742389"/>
                <a:gd name="connsiteY50" fmla="*/ 530232 h 530232"/>
                <a:gd name="connsiteX51" fmla="*/ 425612 w 742389"/>
                <a:gd name="connsiteY51" fmla="*/ 464953 h 530232"/>
                <a:gd name="connsiteX52" fmla="*/ 416101 w 742389"/>
                <a:gd name="connsiteY52" fmla="*/ 459009 h 530232"/>
                <a:gd name="connsiteX53" fmla="*/ 399458 w 742389"/>
                <a:gd name="connsiteY53" fmla="*/ 463764 h 530232"/>
                <a:gd name="connsiteX54" fmla="*/ 381624 w 742389"/>
                <a:gd name="connsiteY54" fmla="*/ 475653 h 530232"/>
                <a:gd name="connsiteX55" fmla="*/ 337745 w 742389"/>
                <a:gd name="connsiteY55" fmla="*/ 480408 h 530232"/>
                <a:gd name="connsiteX56" fmla="*/ 314075 w 742389"/>
                <a:gd name="connsiteY56" fmla="*/ 462575 h 530232"/>
                <a:gd name="connsiteX57" fmla="*/ 288029 w 742389"/>
                <a:gd name="connsiteY57" fmla="*/ 457820 h 530232"/>
                <a:gd name="connsiteX58" fmla="*/ 265440 w 742389"/>
                <a:gd name="connsiteY58" fmla="*/ 442364 h 530232"/>
                <a:gd name="connsiteX59" fmla="*/ 265440 w 742389"/>
                <a:gd name="connsiteY59" fmla="*/ 441176 h 530232"/>
                <a:gd name="connsiteX60" fmla="*/ 228694 w 742389"/>
                <a:gd name="connsiteY60" fmla="*/ 416317 h 530232"/>
                <a:gd name="connsiteX61" fmla="*/ 184814 w 742389"/>
                <a:gd name="connsiteY61" fmla="*/ 409184 h 530232"/>
                <a:gd name="connsiteX62" fmla="*/ 151634 w 742389"/>
                <a:gd name="connsiteY62" fmla="*/ 398485 h 530232"/>
                <a:gd name="connsiteX63" fmla="*/ 126776 w 742389"/>
                <a:gd name="connsiteY63" fmla="*/ 391351 h 530232"/>
                <a:gd name="connsiteX64" fmla="*/ 81707 w 742389"/>
                <a:gd name="connsiteY64" fmla="*/ 391351 h 530232"/>
                <a:gd name="connsiteX65" fmla="*/ 42799 w 742389"/>
                <a:gd name="connsiteY65" fmla="*/ 390595 h 530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742389" h="530232" extrusionOk="0">
                  <a:moveTo>
                    <a:pt x="42799" y="390595"/>
                  </a:moveTo>
                  <a:lnTo>
                    <a:pt x="48743" y="370384"/>
                  </a:lnTo>
                  <a:lnTo>
                    <a:pt x="38044" y="353740"/>
                  </a:lnTo>
                  <a:lnTo>
                    <a:pt x="27344" y="332341"/>
                  </a:lnTo>
                  <a:lnTo>
                    <a:pt x="11889" y="325208"/>
                  </a:lnTo>
                  <a:lnTo>
                    <a:pt x="1189" y="310941"/>
                  </a:lnTo>
                  <a:lnTo>
                    <a:pt x="0" y="236259"/>
                  </a:lnTo>
                  <a:lnTo>
                    <a:pt x="24858" y="214860"/>
                  </a:lnTo>
                  <a:lnTo>
                    <a:pt x="37936" y="194649"/>
                  </a:lnTo>
                  <a:lnTo>
                    <a:pt x="41502" y="161469"/>
                  </a:lnTo>
                  <a:lnTo>
                    <a:pt x="75871" y="140069"/>
                  </a:lnTo>
                  <a:lnTo>
                    <a:pt x="86571" y="115103"/>
                  </a:lnTo>
                  <a:lnTo>
                    <a:pt x="84193" y="60524"/>
                  </a:lnTo>
                  <a:lnTo>
                    <a:pt x="93704" y="46257"/>
                  </a:lnTo>
                  <a:lnTo>
                    <a:pt x="96082" y="28425"/>
                  </a:lnTo>
                  <a:lnTo>
                    <a:pt x="123317" y="7025"/>
                  </a:lnTo>
                  <a:lnTo>
                    <a:pt x="164819" y="9403"/>
                  </a:lnTo>
                  <a:lnTo>
                    <a:pt x="215832" y="24858"/>
                  </a:lnTo>
                  <a:lnTo>
                    <a:pt x="339150" y="26047"/>
                  </a:lnTo>
                  <a:lnTo>
                    <a:pt x="367574" y="41502"/>
                  </a:lnTo>
                  <a:lnTo>
                    <a:pt x="373519" y="39124"/>
                  </a:lnTo>
                  <a:lnTo>
                    <a:pt x="417399" y="0"/>
                  </a:lnTo>
                  <a:lnTo>
                    <a:pt x="463656" y="0"/>
                  </a:lnTo>
                  <a:lnTo>
                    <a:pt x="482678" y="15455"/>
                  </a:lnTo>
                  <a:lnTo>
                    <a:pt x="494566" y="34477"/>
                  </a:lnTo>
                  <a:lnTo>
                    <a:pt x="495755" y="36855"/>
                  </a:lnTo>
                  <a:lnTo>
                    <a:pt x="502888" y="92623"/>
                  </a:lnTo>
                  <a:lnTo>
                    <a:pt x="534880" y="110348"/>
                  </a:lnTo>
                  <a:lnTo>
                    <a:pt x="559738" y="106781"/>
                  </a:lnTo>
                  <a:lnTo>
                    <a:pt x="598862" y="126992"/>
                  </a:lnTo>
                  <a:lnTo>
                    <a:pt x="639175" y="123426"/>
                  </a:lnTo>
                  <a:lnTo>
                    <a:pt x="673544" y="143636"/>
                  </a:lnTo>
                  <a:lnTo>
                    <a:pt x="678299" y="165035"/>
                  </a:lnTo>
                  <a:lnTo>
                    <a:pt x="678299" y="165035"/>
                  </a:lnTo>
                  <a:lnTo>
                    <a:pt x="717424" y="194649"/>
                  </a:lnTo>
                  <a:lnTo>
                    <a:pt x="688999" y="230207"/>
                  </a:lnTo>
                  <a:lnTo>
                    <a:pt x="683055" y="259820"/>
                  </a:lnTo>
                  <a:lnTo>
                    <a:pt x="681866" y="290622"/>
                  </a:lnTo>
                  <a:lnTo>
                    <a:pt x="731690" y="304889"/>
                  </a:lnTo>
                  <a:lnTo>
                    <a:pt x="742390" y="354713"/>
                  </a:lnTo>
                  <a:lnTo>
                    <a:pt x="734068" y="381949"/>
                  </a:lnTo>
                  <a:lnTo>
                    <a:pt x="713857" y="410373"/>
                  </a:lnTo>
                  <a:lnTo>
                    <a:pt x="713857" y="427017"/>
                  </a:lnTo>
                  <a:lnTo>
                    <a:pt x="688999" y="430584"/>
                  </a:lnTo>
                  <a:lnTo>
                    <a:pt x="673544" y="444850"/>
                  </a:lnTo>
                  <a:lnTo>
                    <a:pt x="595295" y="449606"/>
                  </a:lnTo>
                  <a:lnTo>
                    <a:pt x="566763" y="463872"/>
                  </a:lnTo>
                  <a:lnTo>
                    <a:pt x="543093" y="487541"/>
                  </a:lnTo>
                  <a:lnTo>
                    <a:pt x="496836" y="502996"/>
                  </a:lnTo>
                  <a:lnTo>
                    <a:pt x="447012" y="527854"/>
                  </a:lnTo>
                  <a:lnTo>
                    <a:pt x="427990" y="530232"/>
                  </a:lnTo>
                  <a:lnTo>
                    <a:pt x="425612" y="464953"/>
                  </a:lnTo>
                  <a:lnTo>
                    <a:pt x="416101" y="459009"/>
                  </a:lnTo>
                  <a:lnTo>
                    <a:pt x="399458" y="463764"/>
                  </a:lnTo>
                  <a:lnTo>
                    <a:pt x="381624" y="475653"/>
                  </a:lnTo>
                  <a:lnTo>
                    <a:pt x="337745" y="480408"/>
                  </a:lnTo>
                  <a:lnTo>
                    <a:pt x="314075" y="462575"/>
                  </a:lnTo>
                  <a:lnTo>
                    <a:pt x="288029" y="457820"/>
                  </a:lnTo>
                  <a:lnTo>
                    <a:pt x="265440" y="442364"/>
                  </a:lnTo>
                  <a:lnTo>
                    <a:pt x="265440" y="441176"/>
                  </a:lnTo>
                  <a:lnTo>
                    <a:pt x="228694" y="416317"/>
                  </a:lnTo>
                  <a:lnTo>
                    <a:pt x="184814" y="409184"/>
                  </a:lnTo>
                  <a:lnTo>
                    <a:pt x="151634" y="398485"/>
                  </a:lnTo>
                  <a:lnTo>
                    <a:pt x="126776" y="391351"/>
                  </a:lnTo>
                  <a:lnTo>
                    <a:pt x="81707" y="391351"/>
                  </a:lnTo>
                  <a:lnTo>
                    <a:pt x="42799" y="390595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4" name="Полилиния: фигура 224"/>
            <p:cNvSpPr/>
            <p:nvPr/>
          </p:nvSpPr>
          <p:spPr bwMode="auto">
            <a:xfrm>
              <a:off x="4944610" y="1508051"/>
              <a:ext cx="1879805" cy="3533295"/>
            </a:xfrm>
            <a:custGeom>
              <a:avLst/>
              <a:gdLst>
                <a:gd name="connsiteX0" fmla="*/ 17833 w 1879805"/>
                <a:gd name="connsiteY0" fmla="*/ 1092023 h 3533295"/>
                <a:gd name="connsiteX1" fmla="*/ 35666 w 1879805"/>
                <a:gd name="connsiteY1" fmla="*/ 1113423 h 3533295"/>
                <a:gd name="connsiteX2" fmla="*/ 72412 w 1879805"/>
                <a:gd name="connsiteY2" fmla="*/ 1143036 h 3533295"/>
                <a:gd name="connsiteX3" fmla="*/ 109159 w 1879805"/>
                <a:gd name="connsiteY3" fmla="*/ 1163247 h 3533295"/>
                <a:gd name="connsiteX4" fmla="*/ 113915 w 1879805"/>
                <a:gd name="connsiteY4" fmla="*/ 1208315 h 3533295"/>
                <a:gd name="connsiteX5" fmla="*/ 102026 w 1879805"/>
                <a:gd name="connsiteY5" fmla="*/ 1224959 h 3533295"/>
                <a:gd name="connsiteX6" fmla="*/ 80626 w 1879805"/>
                <a:gd name="connsiteY6" fmla="*/ 1233281 h 3533295"/>
                <a:gd name="connsiteX7" fmla="*/ 79438 w 1879805"/>
                <a:gd name="connsiteY7" fmla="*/ 1259328 h 3533295"/>
                <a:gd name="connsiteX8" fmla="*/ 91326 w 1879805"/>
                <a:gd name="connsiteY8" fmla="*/ 1277161 h 3533295"/>
                <a:gd name="connsiteX9" fmla="*/ 123317 w 1879805"/>
                <a:gd name="connsiteY9" fmla="*/ 1296075 h 3533295"/>
                <a:gd name="connsiteX10" fmla="*/ 123317 w 1879805"/>
                <a:gd name="connsiteY10" fmla="*/ 1296075 h 3533295"/>
                <a:gd name="connsiteX11" fmla="*/ 130451 w 1879805"/>
                <a:gd name="connsiteY11" fmla="*/ 1322122 h 3533295"/>
                <a:gd name="connsiteX12" fmla="*/ 131639 w 1879805"/>
                <a:gd name="connsiteY12" fmla="*/ 1323311 h 3533295"/>
                <a:gd name="connsiteX13" fmla="*/ 139961 w 1879805"/>
                <a:gd name="connsiteY13" fmla="*/ 1350546 h 3533295"/>
                <a:gd name="connsiteX14" fmla="*/ 145906 w 1879805"/>
                <a:gd name="connsiteY14" fmla="*/ 1378971 h 3533295"/>
                <a:gd name="connsiteX15" fmla="*/ 142339 w 1879805"/>
                <a:gd name="connsiteY15" fmla="*/ 1409773 h 3533295"/>
                <a:gd name="connsiteX16" fmla="*/ 94893 w 1879805"/>
                <a:gd name="connsiteY16" fmla="*/ 1456031 h 3533295"/>
                <a:gd name="connsiteX17" fmla="*/ 75979 w 1879805"/>
                <a:gd name="connsiteY17" fmla="*/ 1489211 h 3533295"/>
                <a:gd name="connsiteX18" fmla="*/ 75979 w 1879805"/>
                <a:gd name="connsiteY18" fmla="*/ 1516663 h 3533295"/>
                <a:gd name="connsiteX19" fmla="*/ 83112 w 1879805"/>
                <a:gd name="connsiteY19" fmla="*/ 1546384 h 3533295"/>
                <a:gd name="connsiteX20" fmla="*/ 98567 w 1879805"/>
                <a:gd name="connsiteY20" fmla="*/ 1565298 h 3533295"/>
                <a:gd name="connsiteX21" fmla="*/ 122237 w 1879805"/>
                <a:gd name="connsiteY21" fmla="*/ 1587886 h 3533295"/>
                <a:gd name="connsiteX22" fmla="*/ 148283 w 1879805"/>
                <a:gd name="connsiteY22" fmla="*/ 1591453 h 3533295"/>
                <a:gd name="connsiteX23" fmla="*/ 153039 w 1879805"/>
                <a:gd name="connsiteY23" fmla="*/ 1596208 h 3533295"/>
                <a:gd name="connsiteX24" fmla="*/ 163739 w 1879805"/>
                <a:gd name="connsiteY24" fmla="*/ 1612852 h 3533295"/>
                <a:gd name="connsiteX25" fmla="*/ 181464 w 1879805"/>
                <a:gd name="connsiteY25" fmla="*/ 1624741 h 3533295"/>
                <a:gd name="connsiteX26" fmla="*/ 194541 w 1879805"/>
                <a:gd name="connsiteY26" fmla="*/ 1611664 h 3533295"/>
                <a:gd name="connsiteX27" fmla="*/ 206430 w 1879805"/>
                <a:gd name="connsiteY27" fmla="*/ 1598586 h 3533295"/>
                <a:gd name="connsiteX28" fmla="*/ 215940 w 1879805"/>
                <a:gd name="connsiteY28" fmla="*/ 1619986 h 3533295"/>
                <a:gd name="connsiteX29" fmla="*/ 223073 w 1879805"/>
                <a:gd name="connsiteY29" fmla="*/ 1643763 h 3533295"/>
                <a:gd name="connsiteX30" fmla="*/ 249120 w 1879805"/>
                <a:gd name="connsiteY30" fmla="*/ 1659218 h 3533295"/>
                <a:gd name="connsiteX31" fmla="*/ 259820 w 1879805"/>
                <a:gd name="connsiteY31" fmla="*/ 1668729 h 3533295"/>
                <a:gd name="connsiteX32" fmla="*/ 256254 w 1879805"/>
                <a:gd name="connsiteY32" fmla="*/ 1678240 h 3533295"/>
                <a:gd name="connsiteX33" fmla="*/ 245554 w 1879805"/>
                <a:gd name="connsiteY33" fmla="*/ 1688940 h 3533295"/>
                <a:gd name="connsiteX34" fmla="*/ 244365 w 1879805"/>
                <a:gd name="connsiteY34" fmla="*/ 1755299 h 3533295"/>
                <a:gd name="connsiteX35" fmla="*/ 237232 w 1879805"/>
                <a:gd name="connsiteY35" fmla="*/ 1775510 h 3533295"/>
                <a:gd name="connsiteX36" fmla="*/ 230099 w 1879805"/>
                <a:gd name="connsiteY36" fmla="*/ 1789776 h 3533295"/>
                <a:gd name="connsiteX37" fmla="*/ 204052 w 1879805"/>
                <a:gd name="connsiteY37" fmla="*/ 1793343 h 3533295"/>
                <a:gd name="connsiteX38" fmla="*/ 208807 w 1879805"/>
                <a:gd name="connsiteY38" fmla="*/ 1812365 h 3533295"/>
                <a:gd name="connsiteX39" fmla="*/ 225451 w 1879805"/>
                <a:gd name="connsiteY39" fmla="*/ 1824253 h 3533295"/>
                <a:gd name="connsiteX40" fmla="*/ 225451 w 1879805"/>
                <a:gd name="connsiteY40" fmla="*/ 1846842 h 3533295"/>
                <a:gd name="connsiteX41" fmla="*/ 233773 w 1879805"/>
                <a:gd name="connsiteY41" fmla="*/ 1887155 h 3533295"/>
                <a:gd name="connsiteX42" fmla="*/ 248039 w 1879805"/>
                <a:gd name="connsiteY42" fmla="*/ 1901422 h 3533295"/>
                <a:gd name="connsiteX43" fmla="*/ 251606 w 1879805"/>
                <a:gd name="connsiteY43" fmla="*/ 1924010 h 3533295"/>
                <a:gd name="connsiteX44" fmla="*/ 271817 w 1879805"/>
                <a:gd name="connsiteY44" fmla="*/ 1939465 h 3533295"/>
                <a:gd name="connsiteX45" fmla="*/ 271817 w 1879805"/>
                <a:gd name="connsiteY45" fmla="*/ 1940654 h 3533295"/>
                <a:gd name="connsiteX46" fmla="*/ 275383 w 1879805"/>
                <a:gd name="connsiteY46" fmla="*/ 1986912 h 3533295"/>
                <a:gd name="connsiteX47" fmla="*/ 266953 w 1879805"/>
                <a:gd name="connsiteY47" fmla="*/ 2003015 h 3533295"/>
                <a:gd name="connsiteX48" fmla="*/ 280031 w 1879805"/>
                <a:gd name="connsiteY48" fmla="*/ 2017282 h 3533295"/>
                <a:gd name="connsiteX49" fmla="*/ 280031 w 1879805"/>
                <a:gd name="connsiteY49" fmla="*/ 2017282 h 3533295"/>
                <a:gd name="connsiteX50" fmla="*/ 295486 w 1879805"/>
                <a:gd name="connsiteY50" fmla="*/ 2044517 h 3533295"/>
                <a:gd name="connsiteX51" fmla="*/ 295486 w 1879805"/>
                <a:gd name="connsiteY51" fmla="*/ 2045706 h 3533295"/>
                <a:gd name="connsiteX52" fmla="*/ 287164 w 1879805"/>
                <a:gd name="connsiteY52" fmla="*/ 2067105 h 3533295"/>
                <a:gd name="connsiteX53" fmla="*/ 287164 w 1879805"/>
                <a:gd name="connsiteY53" fmla="*/ 2067105 h 3533295"/>
                <a:gd name="connsiteX54" fmla="*/ 296675 w 1879805"/>
                <a:gd name="connsiteY54" fmla="*/ 2091964 h 3533295"/>
                <a:gd name="connsiteX55" fmla="*/ 321533 w 1879805"/>
                <a:gd name="connsiteY55" fmla="*/ 2100286 h 3533295"/>
                <a:gd name="connsiteX56" fmla="*/ 348769 w 1879805"/>
                <a:gd name="connsiteY56" fmla="*/ 2102663 h 3533295"/>
                <a:gd name="connsiteX57" fmla="*/ 348769 w 1879805"/>
                <a:gd name="connsiteY57" fmla="*/ 2103852 h 3533295"/>
                <a:gd name="connsiteX58" fmla="*/ 349958 w 1879805"/>
                <a:gd name="connsiteY58" fmla="*/ 2129899 h 3533295"/>
                <a:gd name="connsiteX59" fmla="*/ 348769 w 1879805"/>
                <a:gd name="connsiteY59" fmla="*/ 2164268 h 3533295"/>
                <a:gd name="connsiteX60" fmla="*/ 341635 w 1879805"/>
                <a:gd name="connsiteY60" fmla="*/ 2178534 h 3533295"/>
                <a:gd name="connsiteX61" fmla="*/ 348769 w 1879805"/>
                <a:gd name="connsiteY61" fmla="*/ 2192801 h 3533295"/>
                <a:gd name="connsiteX62" fmla="*/ 380760 w 1879805"/>
                <a:gd name="connsiteY62" fmla="*/ 2191612 h 3533295"/>
                <a:gd name="connsiteX63" fmla="*/ 403348 w 1879805"/>
                <a:gd name="connsiteY63" fmla="*/ 2204689 h 3533295"/>
                <a:gd name="connsiteX64" fmla="*/ 418803 w 1879805"/>
                <a:gd name="connsiteY64" fmla="*/ 2224900 h 3533295"/>
                <a:gd name="connsiteX65" fmla="*/ 427125 w 1879805"/>
                <a:gd name="connsiteY65" fmla="*/ 2264024 h 3533295"/>
                <a:gd name="connsiteX66" fmla="*/ 421181 w 1879805"/>
                <a:gd name="connsiteY66" fmla="*/ 2288990 h 3533295"/>
                <a:gd name="connsiteX67" fmla="*/ 404537 w 1879805"/>
                <a:gd name="connsiteY67" fmla="*/ 2313848 h 3533295"/>
                <a:gd name="connsiteX68" fmla="*/ 386704 w 1879805"/>
                <a:gd name="connsiteY68" fmla="*/ 2330492 h 3533295"/>
                <a:gd name="connsiteX69" fmla="*/ 386704 w 1879805"/>
                <a:gd name="connsiteY69" fmla="*/ 2385072 h 3533295"/>
                <a:gd name="connsiteX70" fmla="*/ 412751 w 1879805"/>
                <a:gd name="connsiteY70" fmla="*/ 2415874 h 3533295"/>
                <a:gd name="connsiteX71" fmla="*/ 413940 w 1879805"/>
                <a:gd name="connsiteY71" fmla="*/ 2431329 h 3533295"/>
                <a:gd name="connsiteX72" fmla="*/ 391351 w 1879805"/>
                <a:gd name="connsiteY72" fmla="*/ 2456187 h 3533295"/>
                <a:gd name="connsiteX73" fmla="*/ 380652 w 1879805"/>
                <a:gd name="connsiteY73" fmla="*/ 2456187 h 3533295"/>
                <a:gd name="connsiteX74" fmla="*/ 358171 w 1879805"/>
                <a:gd name="connsiteY74" fmla="*/ 2471642 h 3533295"/>
                <a:gd name="connsiteX75" fmla="*/ 349849 w 1879805"/>
                <a:gd name="connsiteY75" fmla="*/ 2482342 h 3533295"/>
                <a:gd name="connsiteX76" fmla="*/ 348660 w 1879805"/>
                <a:gd name="connsiteY76" fmla="*/ 2504931 h 3533295"/>
                <a:gd name="connsiteX77" fmla="*/ 349849 w 1879805"/>
                <a:gd name="connsiteY77" fmla="*/ 2521575 h 3533295"/>
                <a:gd name="connsiteX78" fmla="*/ 404429 w 1879805"/>
                <a:gd name="connsiteY78" fmla="*/ 2573777 h 3533295"/>
                <a:gd name="connsiteX79" fmla="*/ 404429 w 1879805"/>
                <a:gd name="connsiteY79" fmla="*/ 2608145 h 3533295"/>
                <a:gd name="connsiteX80" fmla="*/ 388974 w 1879805"/>
                <a:gd name="connsiteY80" fmla="*/ 2634192 h 3533295"/>
                <a:gd name="connsiteX81" fmla="*/ 341527 w 1879805"/>
                <a:gd name="connsiteY81" fmla="*/ 2649647 h 3533295"/>
                <a:gd name="connsiteX82" fmla="*/ 330827 w 1879805"/>
                <a:gd name="connsiteY82" fmla="*/ 2668669 h 3533295"/>
                <a:gd name="connsiteX83" fmla="*/ 343905 w 1879805"/>
                <a:gd name="connsiteY83" fmla="*/ 2691150 h 3533295"/>
                <a:gd name="connsiteX84" fmla="*/ 349849 w 1879805"/>
                <a:gd name="connsiteY84" fmla="*/ 2746918 h 3533295"/>
                <a:gd name="connsiteX85" fmla="*/ 385407 w 1879805"/>
                <a:gd name="connsiteY85" fmla="*/ 2764643 h 3533295"/>
                <a:gd name="connsiteX86" fmla="*/ 406807 w 1879805"/>
                <a:gd name="connsiteY86" fmla="*/ 2762265 h 3533295"/>
                <a:gd name="connsiteX87" fmla="*/ 448309 w 1879805"/>
                <a:gd name="connsiteY87" fmla="*/ 2781287 h 3533295"/>
                <a:gd name="connsiteX88" fmla="*/ 488622 w 1879805"/>
                <a:gd name="connsiteY88" fmla="*/ 2777720 h 3533295"/>
                <a:gd name="connsiteX89" fmla="*/ 521802 w 1879805"/>
                <a:gd name="connsiteY89" fmla="*/ 2799120 h 3533295"/>
                <a:gd name="connsiteX90" fmla="*/ 526557 w 1879805"/>
                <a:gd name="connsiteY90" fmla="*/ 2820520 h 3533295"/>
                <a:gd name="connsiteX91" fmla="*/ 564493 w 1879805"/>
                <a:gd name="connsiteY91" fmla="*/ 2848944 h 3533295"/>
                <a:gd name="connsiteX92" fmla="*/ 537257 w 1879805"/>
                <a:gd name="connsiteY92" fmla="*/ 2885691 h 3533295"/>
                <a:gd name="connsiteX93" fmla="*/ 530124 w 1879805"/>
                <a:gd name="connsiteY93" fmla="*/ 2914223 h 3533295"/>
                <a:gd name="connsiteX94" fmla="*/ 530124 w 1879805"/>
                <a:gd name="connsiteY94" fmla="*/ 2945026 h 3533295"/>
                <a:gd name="connsiteX95" fmla="*/ 577570 w 1879805"/>
                <a:gd name="connsiteY95" fmla="*/ 2960481 h 3533295"/>
                <a:gd name="connsiteX96" fmla="*/ 590648 w 1879805"/>
                <a:gd name="connsiteY96" fmla="*/ 3010305 h 3533295"/>
                <a:gd name="connsiteX97" fmla="*/ 582326 w 1879805"/>
                <a:gd name="connsiteY97" fmla="*/ 3035163 h 3533295"/>
                <a:gd name="connsiteX98" fmla="*/ 563304 w 1879805"/>
                <a:gd name="connsiteY98" fmla="*/ 3063587 h 3533295"/>
                <a:gd name="connsiteX99" fmla="*/ 562115 w 1879805"/>
                <a:gd name="connsiteY99" fmla="*/ 3083798 h 3533295"/>
                <a:gd name="connsiteX100" fmla="*/ 574004 w 1879805"/>
                <a:gd name="connsiteY100" fmla="*/ 3108656 h 3533295"/>
                <a:gd name="connsiteX101" fmla="*/ 574004 w 1879805"/>
                <a:gd name="connsiteY101" fmla="*/ 3109845 h 3533295"/>
                <a:gd name="connsiteX102" fmla="*/ 585892 w 1879805"/>
                <a:gd name="connsiteY102" fmla="*/ 3128759 h 3533295"/>
                <a:gd name="connsiteX103" fmla="*/ 590648 w 1879805"/>
                <a:gd name="connsiteY103" fmla="*/ 3169072 h 3533295"/>
                <a:gd name="connsiteX104" fmla="*/ 590648 w 1879805"/>
                <a:gd name="connsiteY104" fmla="*/ 3171449 h 3533295"/>
                <a:gd name="connsiteX105" fmla="*/ 556279 w 1879805"/>
                <a:gd name="connsiteY105" fmla="*/ 3202252 h 3533295"/>
                <a:gd name="connsiteX106" fmla="*/ 553901 w 1879805"/>
                <a:gd name="connsiteY106" fmla="*/ 3218896 h 3533295"/>
                <a:gd name="connsiteX107" fmla="*/ 581137 w 1879805"/>
                <a:gd name="connsiteY107" fmla="*/ 3242673 h 3533295"/>
                <a:gd name="connsiteX108" fmla="*/ 595403 w 1879805"/>
                <a:gd name="connsiteY108" fmla="*/ 3250995 h 3533295"/>
                <a:gd name="connsiteX109" fmla="*/ 646416 w 1879805"/>
                <a:gd name="connsiteY109" fmla="*/ 3250995 h 3533295"/>
                <a:gd name="connsiteX110" fmla="*/ 661871 w 1879805"/>
                <a:gd name="connsiteY110" fmla="*/ 3256939 h 3533295"/>
                <a:gd name="connsiteX111" fmla="*/ 672571 w 1879805"/>
                <a:gd name="connsiteY111" fmla="*/ 3285472 h 3533295"/>
                <a:gd name="connsiteX112" fmla="*/ 680893 w 1879805"/>
                <a:gd name="connsiteY112" fmla="*/ 3300927 h 3533295"/>
                <a:gd name="connsiteX113" fmla="*/ 682082 w 1879805"/>
                <a:gd name="connsiteY113" fmla="*/ 3300927 h 3533295"/>
                <a:gd name="connsiteX114" fmla="*/ 709318 w 1879805"/>
                <a:gd name="connsiteY114" fmla="*/ 3306872 h 3533295"/>
                <a:gd name="connsiteX115" fmla="*/ 705751 w 1879805"/>
                <a:gd name="connsiteY115" fmla="*/ 3356696 h 3533295"/>
                <a:gd name="connsiteX116" fmla="*/ 735365 w 1879805"/>
                <a:gd name="connsiteY116" fmla="*/ 3387498 h 3533295"/>
                <a:gd name="connsiteX117" fmla="*/ 749631 w 1879805"/>
                <a:gd name="connsiteY117" fmla="*/ 3400576 h 3533295"/>
                <a:gd name="connsiteX118" fmla="*/ 722395 w 1879805"/>
                <a:gd name="connsiteY118" fmla="*/ 3416031 h 3533295"/>
                <a:gd name="connsiteX119" fmla="*/ 716451 w 1879805"/>
                <a:gd name="connsiteY119" fmla="*/ 3439700 h 3533295"/>
                <a:gd name="connsiteX120" fmla="*/ 687918 w 1879805"/>
                <a:gd name="connsiteY120" fmla="*/ 3470502 h 3533295"/>
                <a:gd name="connsiteX121" fmla="*/ 655927 w 1879805"/>
                <a:gd name="connsiteY121" fmla="*/ 3501305 h 3533295"/>
                <a:gd name="connsiteX122" fmla="*/ 680785 w 1879805"/>
                <a:gd name="connsiteY122" fmla="*/ 3527351 h 3533295"/>
                <a:gd name="connsiteX123" fmla="*/ 741309 w 1879805"/>
                <a:gd name="connsiteY123" fmla="*/ 3533296 h 3533295"/>
                <a:gd name="connsiteX124" fmla="*/ 781622 w 1879805"/>
                <a:gd name="connsiteY124" fmla="*/ 3528540 h 3533295"/>
                <a:gd name="connsiteX125" fmla="*/ 811344 w 1879805"/>
                <a:gd name="connsiteY125" fmla="*/ 3505952 h 3533295"/>
                <a:gd name="connsiteX126" fmla="*/ 835013 w 1879805"/>
                <a:gd name="connsiteY126" fmla="*/ 3453750 h 3533295"/>
                <a:gd name="connsiteX127" fmla="*/ 872948 w 1879805"/>
                <a:gd name="connsiteY127" fmla="*/ 3438295 h 3533295"/>
                <a:gd name="connsiteX128" fmla="*/ 877704 w 1879805"/>
                <a:gd name="connsiteY128" fmla="*/ 3403926 h 3533295"/>
                <a:gd name="connsiteX129" fmla="*/ 893159 w 1879805"/>
                <a:gd name="connsiteY129" fmla="*/ 3390849 h 3533295"/>
                <a:gd name="connsiteX130" fmla="*/ 967841 w 1879805"/>
                <a:gd name="connsiteY130" fmla="*/ 3384904 h 3533295"/>
                <a:gd name="connsiteX131" fmla="*/ 971408 w 1879805"/>
                <a:gd name="connsiteY131" fmla="*/ 3381338 h 3533295"/>
                <a:gd name="connsiteX132" fmla="*/ 985674 w 1879805"/>
                <a:gd name="connsiteY132" fmla="*/ 3367071 h 3533295"/>
                <a:gd name="connsiteX133" fmla="*/ 951305 w 1879805"/>
                <a:gd name="connsiteY133" fmla="*/ 3335080 h 3533295"/>
                <a:gd name="connsiteX134" fmla="*/ 938228 w 1879805"/>
                <a:gd name="connsiteY134" fmla="*/ 3305467 h 3533295"/>
                <a:gd name="connsiteX135" fmla="*/ 971408 w 1879805"/>
                <a:gd name="connsiteY135" fmla="*/ 3292389 h 3533295"/>
                <a:gd name="connsiteX136" fmla="*/ 980918 w 1879805"/>
                <a:gd name="connsiteY136" fmla="*/ 3258020 h 3533295"/>
                <a:gd name="connsiteX137" fmla="*/ 992807 w 1879805"/>
                <a:gd name="connsiteY137" fmla="*/ 3239107 h 3533295"/>
                <a:gd name="connsiteX138" fmla="*/ 1002318 w 1879805"/>
                <a:gd name="connsiteY138" fmla="*/ 3207115 h 3533295"/>
                <a:gd name="connsiteX139" fmla="*/ 1007073 w 1879805"/>
                <a:gd name="connsiteY139" fmla="*/ 3164424 h 3533295"/>
                <a:gd name="connsiteX140" fmla="*/ 1041442 w 1879805"/>
                <a:gd name="connsiteY140" fmla="*/ 3114600 h 3533295"/>
                <a:gd name="connsiteX141" fmla="*/ 1048575 w 1879805"/>
                <a:gd name="connsiteY141" fmla="*/ 3090931 h 3533295"/>
                <a:gd name="connsiteX142" fmla="*/ 1050953 w 1879805"/>
                <a:gd name="connsiteY142" fmla="*/ 3066073 h 3533295"/>
                <a:gd name="connsiteX143" fmla="*/ 1032039 w 1879805"/>
                <a:gd name="connsiteY143" fmla="*/ 3056562 h 3533295"/>
                <a:gd name="connsiteX144" fmla="*/ 1036795 w 1879805"/>
                <a:gd name="connsiteY144" fmla="*/ 3006738 h 3533295"/>
                <a:gd name="connsiteX145" fmla="*/ 1058195 w 1879805"/>
                <a:gd name="connsiteY145" fmla="*/ 2971180 h 3533295"/>
                <a:gd name="connsiteX146" fmla="*/ 1074838 w 1879805"/>
                <a:gd name="connsiteY146" fmla="*/ 2966425 h 3533295"/>
                <a:gd name="connsiteX147" fmla="*/ 1106830 w 1879805"/>
                <a:gd name="connsiteY147" fmla="*/ 2985339 h 3533295"/>
                <a:gd name="connsiteX148" fmla="*/ 1129418 w 1879805"/>
                <a:gd name="connsiteY148" fmla="*/ 2974639 h 3533295"/>
                <a:gd name="connsiteX149" fmla="*/ 1129418 w 1879805"/>
                <a:gd name="connsiteY149" fmla="*/ 2972261 h 3533295"/>
                <a:gd name="connsiteX150" fmla="*/ 1159031 w 1879805"/>
                <a:gd name="connsiteY150" fmla="*/ 2947403 h 3533295"/>
                <a:gd name="connsiteX151" fmla="*/ 1169731 w 1879805"/>
                <a:gd name="connsiteY151" fmla="*/ 2965236 h 3533295"/>
                <a:gd name="connsiteX152" fmla="*/ 1180431 w 1879805"/>
                <a:gd name="connsiteY152" fmla="*/ 3005550 h 3533295"/>
                <a:gd name="connsiteX153" fmla="*/ 1191131 w 1879805"/>
                <a:gd name="connsiteY153" fmla="*/ 3013871 h 3533295"/>
                <a:gd name="connsiteX154" fmla="*/ 1208964 w 1879805"/>
                <a:gd name="connsiteY154" fmla="*/ 2991283 h 3533295"/>
                <a:gd name="connsiteX155" fmla="*/ 1208964 w 1879805"/>
                <a:gd name="connsiteY155" fmla="*/ 2990094 h 3533295"/>
                <a:gd name="connsiteX156" fmla="*/ 1233822 w 1879805"/>
                <a:gd name="connsiteY156" fmla="*/ 2954537 h 3533295"/>
                <a:gd name="connsiteX157" fmla="*/ 1235011 w 1879805"/>
                <a:gd name="connsiteY157" fmla="*/ 2954537 h 3533295"/>
                <a:gd name="connsiteX158" fmla="*/ 1253924 w 1879805"/>
                <a:gd name="connsiteY158" fmla="*/ 2921356 h 3533295"/>
                <a:gd name="connsiteX159" fmla="*/ 1290671 w 1879805"/>
                <a:gd name="connsiteY159" fmla="*/ 2878665 h 3533295"/>
                <a:gd name="connsiteX160" fmla="*/ 1293048 w 1879805"/>
                <a:gd name="connsiteY160" fmla="*/ 2840730 h 3533295"/>
                <a:gd name="connsiteX161" fmla="*/ 1317907 w 1879805"/>
                <a:gd name="connsiteY161" fmla="*/ 2840730 h 3533295"/>
                <a:gd name="connsiteX162" fmla="*/ 1347520 w 1879805"/>
                <a:gd name="connsiteY162" fmla="*/ 2866777 h 3533295"/>
                <a:gd name="connsiteX163" fmla="*/ 1389022 w 1879805"/>
                <a:gd name="connsiteY163" fmla="*/ 2905901 h 3533295"/>
                <a:gd name="connsiteX164" fmla="*/ 1409233 w 1879805"/>
                <a:gd name="connsiteY164" fmla="*/ 2907090 h 3533295"/>
                <a:gd name="connsiteX165" fmla="*/ 1409233 w 1879805"/>
                <a:gd name="connsiteY165" fmla="*/ 2872721 h 3533295"/>
                <a:gd name="connsiteX166" fmla="*/ 1430632 w 1879805"/>
                <a:gd name="connsiteY166" fmla="*/ 2852511 h 3533295"/>
                <a:gd name="connsiteX167" fmla="*/ 1436576 w 1879805"/>
                <a:gd name="connsiteY167" fmla="*/ 2831111 h 3533295"/>
                <a:gd name="connsiteX168" fmla="*/ 1422310 w 1879805"/>
                <a:gd name="connsiteY168" fmla="*/ 2802686 h 3533295"/>
                <a:gd name="connsiteX169" fmla="*/ 1427066 w 1879805"/>
                <a:gd name="connsiteY169" fmla="*/ 2776639 h 3533295"/>
                <a:gd name="connsiteX170" fmla="*/ 1451924 w 1879805"/>
                <a:gd name="connsiteY170" fmla="*/ 2764751 h 3533295"/>
                <a:gd name="connsiteX171" fmla="*/ 1448357 w 1879805"/>
                <a:gd name="connsiteY171" fmla="*/ 2735137 h 3533295"/>
                <a:gd name="connsiteX172" fmla="*/ 1413988 w 1879805"/>
                <a:gd name="connsiteY172" fmla="*/ 2718494 h 3533295"/>
                <a:gd name="connsiteX173" fmla="*/ 1403288 w 1879805"/>
                <a:gd name="connsiteY173" fmla="*/ 2695905 h 3533295"/>
                <a:gd name="connsiteX174" fmla="*/ 1403288 w 1879805"/>
                <a:gd name="connsiteY174" fmla="*/ 2665103 h 3533295"/>
                <a:gd name="connsiteX175" fmla="*/ 1421013 w 1879805"/>
                <a:gd name="connsiteY175" fmla="*/ 2636678 h 3533295"/>
                <a:gd name="connsiteX176" fmla="*/ 1425769 w 1879805"/>
                <a:gd name="connsiteY176" fmla="*/ 2604687 h 3533295"/>
                <a:gd name="connsiteX177" fmla="*/ 1460138 w 1879805"/>
                <a:gd name="connsiteY177" fmla="*/ 2571507 h 3533295"/>
                <a:gd name="connsiteX178" fmla="*/ 1485104 w 1879805"/>
                <a:gd name="connsiteY178" fmla="*/ 2547838 h 3533295"/>
                <a:gd name="connsiteX179" fmla="*/ 1486293 w 1879805"/>
                <a:gd name="connsiteY179" fmla="*/ 2546649 h 3533295"/>
                <a:gd name="connsiteX180" fmla="*/ 1489859 w 1879805"/>
                <a:gd name="connsiteY180" fmla="*/ 2512280 h 3533295"/>
                <a:gd name="connsiteX181" fmla="*/ 1514717 w 1879805"/>
                <a:gd name="connsiteY181" fmla="*/ 2477911 h 3533295"/>
                <a:gd name="connsiteX182" fmla="*/ 1514717 w 1879805"/>
                <a:gd name="connsiteY182" fmla="*/ 2471967 h 3533295"/>
                <a:gd name="connsiteX183" fmla="*/ 1502828 w 1879805"/>
                <a:gd name="connsiteY183" fmla="*/ 2448298 h 3533295"/>
                <a:gd name="connsiteX184" fmla="*/ 1476782 w 1879805"/>
                <a:gd name="connsiteY184" fmla="*/ 2428087 h 3533295"/>
                <a:gd name="connsiteX185" fmla="*/ 1492237 w 1879805"/>
                <a:gd name="connsiteY185" fmla="*/ 2393718 h 3533295"/>
                <a:gd name="connsiteX186" fmla="*/ 1492237 w 1879805"/>
                <a:gd name="connsiteY186" fmla="*/ 2392097 h 3533295"/>
                <a:gd name="connsiteX187" fmla="*/ 1505314 w 1879805"/>
                <a:gd name="connsiteY187" fmla="*/ 2369509 h 3533295"/>
                <a:gd name="connsiteX188" fmla="*/ 1505314 w 1879805"/>
                <a:gd name="connsiteY188" fmla="*/ 2368320 h 3533295"/>
                <a:gd name="connsiteX189" fmla="*/ 1501748 w 1879805"/>
                <a:gd name="connsiteY189" fmla="*/ 2328007 h 3533295"/>
                <a:gd name="connsiteX190" fmla="*/ 1521959 w 1879805"/>
                <a:gd name="connsiteY190" fmla="*/ 2312552 h 3533295"/>
                <a:gd name="connsiteX191" fmla="*/ 1542169 w 1879805"/>
                <a:gd name="connsiteY191" fmla="*/ 2312552 h 3533295"/>
                <a:gd name="connsiteX192" fmla="*/ 1556435 w 1879805"/>
                <a:gd name="connsiteY192" fmla="*/ 2317307 h 3533295"/>
                <a:gd name="connsiteX193" fmla="*/ 1599126 w 1879805"/>
                <a:gd name="connsiteY193" fmla="*/ 2280560 h 3533295"/>
                <a:gd name="connsiteX194" fmla="*/ 1555247 w 1879805"/>
                <a:gd name="connsiteY194" fmla="*/ 2260350 h 3533295"/>
                <a:gd name="connsiteX195" fmla="*/ 1519689 w 1879805"/>
                <a:gd name="connsiteY195" fmla="*/ 2248461 h 3533295"/>
                <a:gd name="connsiteX196" fmla="*/ 1466298 w 1879805"/>
                <a:gd name="connsiteY196" fmla="*/ 2246083 h 3533295"/>
                <a:gd name="connsiteX197" fmla="*/ 1467487 w 1879805"/>
                <a:gd name="connsiteY197" fmla="*/ 2221225 h 3533295"/>
                <a:gd name="connsiteX198" fmla="*/ 1486401 w 1879805"/>
                <a:gd name="connsiteY198" fmla="*/ 2170212 h 3533295"/>
                <a:gd name="connsiteX199" fmla="*/ 1487589 w 1879805"/>
                <a:gd name="connsiteY199" fmla="*/ 2170212 h 3533295"/>
                <a:gd name="connsiteX200" fmla="*/ 1500667 w 1879805"/>
                <a:gd name="connsiteY200" fmla="*/ 2139410 h 3533295"/>
                <a:gd name="connsiteX201" fmla="*/ 1524444 w 1879805"/>
                <a:gd name="connsiteY201" fmla="*/ 2115741 h 3533295"/>
                <a:gd name="connsiteX202" fmla="*/ 1517311 w 1879805"/>
                <a:gd name="connsiteY202" fmla="*/ 2100286 h 3533295"/>
                <a:gd name="connsiteX203" fmla="*/ 1516122 w 1879805"/>
                <a:gd name="connsiteY203" fmla="*/ 2097908 h 3533295"/>
                <a:gd name="connsiteX204" fmla="*/ 1491264 w 1879805"/>
                <a:gd name="connsiteY204" fmla="*/ 2057594 h 3533295"/>
                <a:gd name="connsiteX205" fmla="*/ 1475809 w 1879805"/>
                <a:gd name="connsiteY205" fmla="*/ 2048084 h 3533295"/>
                <a:gd name="connsiteX206" fmla="*/ 1494723 w 1879805"/>
                <a:gd name="connsiteY206" fmla="*/ 2025603 h 3533295"/>
                <a:gd name="connsiteX207" fmla="*/ 1494723 w 1879805"/>
                <a:gd name="connsiteY207" fmla="*/ 2023226 h 3533295"/>
                <a:gd name="connsiteX208" fmla="*/ 1476890 w 1879805"/>
                <a:gd name="connsiteY208" fmla="*/ 1986479 h 3533295"/>
                <a:gd name="connsiteX209" fmla="*/ 1467379 w 1879805"/>
                <a:gd name="connsiteY209" fmla="*/ 1947355 h 3533295"/>
                <a:gd name="connsiteX210" fmla="*/ 1457868 w 1879805"/>
                <a:gd name="connsiteY210" fmla="*/ 1922389 h 3533295"/>
                <a:gd name="connsiteX211" fmla="*/ 1475701 w 1879805"/>
                <a:gd name="connsiteY211" fmla="*/ 1897531 h 3533295"/>
                <a:gd name="connsiteX212" fmla="*/ 1475701 w 1879805"/>
                <a:gd name="connsiteY212" fmla="*/ 1895153 h 3533295"/>
                <a:gd name="connsiteX213" fmla="*/ 1512448 w 1879805"/>
                <a:gd name="connsiteY213" fmla="*/ 1879698 h 3533295"/>
                <a:gd name="connsiteX214" fmla="*/ 1532658 w 1879805"/>
                <a:gd name="connsiteY214" fmla="*/ 1859487 h 3533295"/>
                <a:gd name="connsiteX215" fmla="*/ 1521959 w 1879805"/>
                <a:gd name="connsiteY215" fmla="*/ 1756272 h 3533295"/>
                <a:gd name="connsiteX216" fmla="*/ 1520770 w 1879805"/>
                <a:gd name="connsiteY216" fmla="*/ 1644736 h 3533295"/>
                <a:gd name="connsiteX217" fmla="*/ 1506503 w 1879805"/>
                <a:gd name="connsiteY217" fmla="*/ 1616203 h 3533295"/>
                <a:gd name="connsiteX218" fmla="*/ 1496992 w 1879805"/>
                <a:gd name="connsiteY218" fmla="*/ 1592534 h 3533295"/>
                <a:gd name="connsiteX219" fmla="*/ 1496992 w 1879805"/>
                <a:gd name="connsiteY219" fmla="*/ 1588967 h 3533295"/>
                <a:gd name="connsiteX220" fmla="*/ 1500559 w 1879805"/>
                <a:gd name="connsiteY220" fmla="*/ 1555787 h 3533295"/>
                <a:gd name="connsiteX221" fmla="*/ 1526606 w 1879805"/>
                <a:gd name="connsiteY221" fmla="*/ 1543899 h 3533295"/>
                <a:gd name="connsiteX222" fmla="*/ 1562164 w 1879805"/>
                <a:gd name="connsiteY222" fmla="*/ 1539143 h 3533295"/>
                <a:gd name="connsiteX223" fmla="*/ 1578808 w 1879805"/>
                <a:gd name="connsiteY223" fmla="*/ 1511907 h 3533295"/>
                <a:gd name="connsiteX224" fmla="*/ 1613176 w 1879805"/>
                <a:gd name="connsiteY224" fmla="*/ 1511907 h 3533295"/>
                <a:gd name="connsiteX225" fmla="*/ 1628632 w 1879805"/>
                <a:gd name="connsiteY225" fmla="*/ 1519041 h 3533295"/>
                <a:gd name="connsiteX226" fmla="*/ 1650031 w 1879805"/>
                <a:gd name="connsiteY226" fmla="*/ 1503585 h 3533295"/>
                <a:gd name="connsiteX227" fmla="*/ 1654787 w 1879805"/>
                <a:gd name="connsiteY227" fmla="*/ 1457328 h 3533295"/>
                <a:gd name="connsiteX228" fmla="*/ 1651220 w 1879805"/>
                <a:gd name="connsiteY228" fmla="*/ 1407504 h 3533295"/>
                <a:gd name="connsiteX229" fmla="*/ 1687967 w 1879805"/>
                <a:gd name="connsiteY229" fmla="*/ 1399182 h 3533295"/>
                <a:gd name="connsiteX230" fmla="*/ 1705799 w 1879805"/>
                <a:gd name="connsiteY230" fmla="*/ 1390860 h 3533295"/>
                <a:gd name="connsiteX231" fmla="*/ 1718877 w 1879805"/>
                <a:gd name="connsiteY231" fmla="*/ 1361246 h 3533295"/>
                <a:gd name="connsiteX232" fmla="*/ 1753246 w 1879805"/>
                <a:gd name="connsiteY232" fmla="*/ 1349358 h 3533295"/>
                <a:gd name="connsiteX233" fmla="*/ 1793559 w 1879805"/>
                <a:gd name="connsiteY233" fmla="*/ 1310233 h 3533295"/>
                <a:gd name="connsiteX234" fmla="*/ 1813770 w 1879805"/>
                <a:gd name="connsiteY234" fmla="*/ 1301911 h 3533295"/>
                <a:gd name="connsiteX235" fmla="*/ 1816148 w 1879805"/>
                <a:gd name="connsiteY235" fmla="*/ 1301911 h 3533295"/>
                <a:gd name="connsiteX236" fmla="*/ 1820903 w 1879805"/>
                <a:gd name="connsiteY236" fmla="*/ 1285267 h 3533295"/>
                <a:gd name="connsiteX237" fmla="*/ 1809014 w 1879805"/>
                <a:gd name="connsiteY237" fmla="*/ 1265057 h 3533295"/>
                <a:gd name="connsiteX238" fmla="*/ 1793559 w 1879805"/>
                <a:gd name="connsiteY238" fmla="*/ 1247224 h 3533295"/>
                <a:gd name="connsiteX239" fmla="*/ 1787615 w 1879805"/>
                <a:gd name="connsiteY239" fmla="*/ 1166597 h 3533295"/>
                <a:gd name="connsiteX240" fmla="*/ 1787615 w 1879805"/>
                <a:gd name="connsiteY240" fmla="*/ 1165408 h 3533295"/>
                <a:gd name="connsiteX241" fmla="*/ 1778104 w 1879805"/>
                <a:gd name="connsiteY241" fmla="*/ 1119151 h 3533295"/>
                <a:gd name="connsiteX242" fmla="*/ 1743735 w 1879805"/>
                <a:gd name="connsiteY242" fmla="*/ 1082404 h 3533295"/>
                <a:gd name="connsiteX243" fmla="*/ 1743735 w 1879805"/>
                <a:gd name="connsiteY243" fmla="*/ 1053980 h 3533295"/>
                <a:gd name="connsiteX244" fmla="*/ 1727091 w 1879805"/>
                <a:gd name="connsiteY244" fmla="*/ 1010100 h 3533295"/>
                <a:gd name="connsiteX245" fmla="*/ 1723524 w 1879805"/>
                <a:gd name="connsiteY245" fmla="*/ 978109 h 3533295"/>
                <a:gd name="connsiteX246" fmla="*/ 1712825 w 1879805"/>
                <a:gd name="connsiteY246" fmla="*/ 924718 h 3533295"/>
                <a:gd name="connsiteX247" fmla="*/ 1710447 w 1879805"/>
                <a:gd name="connsiteY247" fmla="*/ 924718 h 3533295"/>
                <a:gd name="connsiteX248" fmla="*/ 1705692 w 1879805"/>
                <a:gd name="connsiteY248" fmla="*/ 898671 h 3533295"/>
                <a:gd name="connsiteX249" fmla="*/ 1742438 w 1879805"/>
                <a:gd name="connsiteY249" fmla="*/ 876191 h 3533295"/>
                <a:gd name="connsiteX250" fmla="*/ 1774429 w 1879805"/>
                <a:gd name="connsiteY250" fmla="*/ 843011 h 3533295"/>
                <a:gd name="connsiteX251" fmla="*/ 1804043 w 1879805"/>
                <a:gd name="connsiteY251" fmla="*/ 815775 h 3533295"/>
                <a:gd name="connsiteX252" fmla="*/ 1796909 w 1879805"/>
                <a:gd name="connsiteY252" fmla="*/ 797942 h 3533295"/>
                <a:gd name="connsiteX253" fmla="*/ 1788588 w 1879805"/>
                <a:gd name="connsiteY253" fmla="*/ 746929 h 3533295"/>
                <a:gd name="connsiteX254" fmla="*/ 1777888 w 1879805"/>
                <a:gd name="connsiteY254" fmla="*/ 761196 h 3533295"/>
                <a:gd name="connsiteX255" fmla="*/ 1758866 w 1879805"/>
                <a:gd name="connsiteY255" fmla="*/ 773084 h 3533295"/>
                <a:gd name="connsiteX256" fmla="*/ 1757677 w 1879805"/>
                <a:gd name="connsiteY256" fmla="*/ 773084 h 3533295"/>
                <a:gd name="connsiteX257" fmla="*/ 1744600 w 1879805"/>
                <a:gd name="connsiteY257" fmla="*/ 776651 h 3533295"/>
                <a:gd name="connsiteX258" fmla="*/ 1729144 w 1879805"/>
                <a:gd name="connsiteY258" fmla="*/ 795564 h 3533295"/>
                <a:gd name="connsiteX259" fmla="*/ 1729144 w 1879805"/>
                <a:gd name="connsiteY259" fmla="*/ 796753 h 3533295"/>
                <a:gd name="connsiteX260" fmla="*/ 1708934 w 1879805"/>
                <a:gd name="connsiteY260" fmla="*/ 815775 h 3533295"/>
                <a:gd name="connsiteX261" fmla="*/ 1667432 w 1879805"/>
                <a:gd name="connsiteY261" fmla="*/ 835986 h 3533295"/>
                <a:gd name="connsiteX262" fmla="*/ 1648518 w 1879805"/>
                <a:gd name="connsiteY262" fmla="*/ 852630 h 3533295"/>
                <a:gd name="connsiteX263" fmla="*/ 1625930 w 1879805"/>
                <a:gd name="connsiteY263" fmla="*/ 876407 h 3533295"/>
                <a:gd name="connsiteX264" fmla="*/ 1550059 w 1879805"/>
                <a:gd name="connsiteY264" fmla="*/ 970111 h 3533295"/>
                <a:gd name="connsiteX265" fmla="*/ 1539359 w 1879805"/>
                <a:gd name="connsiteY265" fmla="*/ 976055 h 3533295"/>
                <a:gd name="connsiteX266" fmla="*/ 1531037 w 1879805"/>
                <a:gd name="connsiteY266" fmla="*/ 974866 h 3533295"/>
                <a:gd name="connsiteX267" fmla="*/ 1532226 w 1879805"/>
                <a:gd name="connsiteY267" fmla="*/ 958222 h 3533295"/>
                <a:gd name="connsiteX268" fmla="*/ 1546492 w 1879805"/>
                <a:gd name="connsiteY268" fmla="*/ 889376 h 3533295"/>
                <a:gd name="connsiteX269" fmla="*/ 1546492 w 1879805"/>
                <a:gd name="connsiteY269" fmla="*/ 839552 h 3533295"/>
                <a:gd name="connsiteX270" fmla="*/ 1541737 w 1879805"/>
                <a:gd name="connsiteY270" fmla="*/ 806372 h 3533295"/>
                <a:gd name="connsiteX271" fmla="*/ 1559570 w 1879805"/>
                <a:gd name="connsiteY271" fmla="*/ 812317 h 3533295"/>
                <a:gd name="connsiteX272" fmla="*/ 1580969 w 1879805"/>
                <a:gd name="connsiteY272" fmla="*/ 817072 h 3533295"/>
                <a:gd name="connsiteX273" fmla="*/ 1598802 w 1879805"/>
                <a:gd name="connsiteY273" fmla="*/ 813505 h 3533295"/>
                <a:gd name="connsiteX274" fmla="*/ 1649815 w 1879805"/>
                <a:gd name="connsiteY274" fmla="*/ 748226 h 3533295"/>
                <a:gd name="connsiteX275" fmla="*/ 1687751 w 1879805"/>
                <a:gd name="connsiteY275" fmla="*/ 706724 h 3533295"/>
                <a:gd name="connsiteX276" fmla="*/ 1719742 w 1879805"/>
                <a:gd name="connsiteY276" fmla="*/ 674733 h 3533295"/>
                <a:gd name="connsiteX277" fmla="*/ 1758866 w 1879805"/>
                <a:gd name="connsiteY277" fmla="*/ 652253 h 3533295"/>
                <a:gd name="connsiteX278" fmla="*/ 1815823 w 1879805"/>
                <a:gd name="connsiteY278" fmla="*/ 625017 h 3533295"/>
                <a:gd name="connsiteX279" fmla="*/ 1845437 w 1879805"/>
                <a:gd name="connsiteY279" fmla="*/ 597781 h 3533295"/>
                <a:gd name="connsiteX280" fmla="*/ 1872672 w 1879805"/>
                <a:gd name="connsiteY280" fmla="*/ 500511 h 3533295"/>
                <a:gd name="connsiteX281" fmla="*/ 1879806 w 1879805"/>
                <a:gd name="connsiteY281" fmla="*/ 403240 h 3533295"/>
                <a:gd name="connsiteX282" fmla="*/ 1879806 w 1879805"/>
                <a:gd name="connsiteY282" fmla="*/ 360549 h 3533295"/>
                <a:gd name="connsiteX283" fmla="*/ 1865539 w 1879805"/>
                <a:gd name="connsiteY283" fmla="*/ 336880 h 3533295"/>
                <a:gd name="connsiteX284" fmla="*/ 1857217 w 1879805"/>
                <a:gd name="connsiteY284" fmla="*/ 287056 h 3533295"/>
                <a:gd name="connsiteX285" fmla="*/ 1838304 w 1879805"/>
                <a:gd name="connsiteY285" fmla="*/ 262198 h 3533295"/>
                <a:gd name="connsiteX286" fmla="*/ 1816904 w 1879805"/>
                <a:gd name="connsiteY286" fmla="*/ 257442 h 3533295"/>
                <a:gd name="connsiteX287" fmla="*/ 1782535 w 1879805"/>
                <a:gd name="connsiteY287" fmla="*/ 241987 h 3533295"/>
                <a:gd name="connsiteX288" fmla="*/ 1746977 w 1879805"/>
                <a:gd name="connsiteY288" fmla="*/ 258631 h 3533295"/>
                <a:gd name="connsiteX289" fmla="*/ 1595127 w 1879805"/>
                <a:gd name="connsiteY289" fmla="*/ 250309 h 3533295"/>
                <a:gd name="connsiteX290" fmla="*/ 1539359 w 1879805"/>
                <a:gd name="connsiteY290" fmla="*/ 250309 h 3533295"/>
                <a:gd name="connsiteX291" fmla="*/ 1529848 w 1879805"/>
                <a:gd name="connsiteY291" fmla="*/ 258631 h 3533295"/>
                <a:gd name="connsiteX292" fmla="*/ 1521526 w 1879805"/>
                <a:gd name="connsiteY292" fmla="*/ 280031 h 3533295"/>
                <a:gd name="connsiteX293" fmla="*/ 1497857 w 1879805"/>
                <a:gd name="connsiteY293" fmla="*/ 301430 h 3533295"/>
                <a:gd name="connsiteX294" fmla="*/ 1452788 w 1879805"/>
                <a:gd name="connsiteY294" fmla="*/ 327477 h 3533295"/>
                <a:gd name="connsiteX295" fmla="*/ 1450410 w 1879805"/>
                <a:gd name="connsiteY295" fmla="*/ 302619 h 3533295"/>
                <a:gd name="connsiteX296" fmla="*/ 1456355 w 1879805"/>
                <a:gd name="connsiteY296" fmla="*/ 271817 h 3533295"/>
                <a:gd name="connsiteX297" fmla="*/ 1477754 w 1879805"/>
                <a:gd name="connsiteY297" fmla="*/ 213671 h 3533295"/>
                <a:gd name="connsiteX298" fmla="*/ 1494398 w 1879805"/>
                <a:gd name="connsiteY298" fmla="*/ 184057 h 3533295"/>
                <a:gd name="connsiteX299" fmla="*/ 1487265 w 1879805"/>
                <a:gd name="connsiteY299" fmla="*/ 175735 h 3533295"/>
                <a:gd name="connsiteX300" fmla="*/ 1442197 w 1879805"/>
                <a:gd name="connsiteY300" fmla="*/ 175735 h 3533295"/>
                <a:gd name="connsiteX301" fmla="*/ 1446952 w 1879805"/>
                <a:gd name="connsiteY301" fmla="*/ 166224 h 3533295"/>
                <a:gd name="connsiteX302" fmla="*/ 1481321 w 1879805"/>
                <a:gd name="connsiteY302" fmla="*/ 127100 h 3533295"/>
                <a:gd name="connsiteX303" fmla="*/ 1487265 w 1879805"/>
                <a:gd name="connsiteY303" fmla="*/ 106889 h 3533295"/>
                <a:gd name="connsiteX304" fmla="*/ 1487265 w 1879805"/>
                <a:gd name="connsiteY304" fmla="*/ 105701 h 3533295"/>
                <a:gd name="connsiteX305" fmla="*/ 1489643 w 1879805"/>
                <a:gd name="connsiteY305" fmla="*/ 84301 h 3533295"/>
                <a:gd name="connsiteX306" fmla="*/ 1481321 w 1879805"/>
                <a:gd name="connsiteY306" fmla="*/ 64090 h 3533295"/>
                <a:gd name="connsiteX307" fmla="*/ 1452896 w 1879805"/>
                <a:gd name="connsiteY307" fmla="*/ 52202 h 3533295"/>
                <a:gd name="connsiteX308" fmla="*/ 1426849 w 1879805"/>
                <a:gd name="connsiteY308" fmla="*/ 21400 h 3533295"/>
                <a:gd name="connsiteX309" fmla="*/ 1378214 w 1879805"/>
                <a:gd name="connsiteY309" fmla="*/ 0 h 3533295"/>
                <a:gd name="connsiteX310" fmla="*/ 1367515 w 1879805"/>
                <a:gd name="connsiteY310" fmla="*/ 2378 h 3533295"/>
                <a:gd name="connsiteX311" fmla="*/ 1338982 w 1879805"/>
                <a:gd name="connsiteY311" fmla="*/ 22588 h 3533295"/>
                <a:gd name="connsiteX312" fmla="*/ 1284402 w 1879805"/>
                <a:gd name="connsiteY312" fmla="*/ 46366 h 3533295"/>
                <a:gd name="connsiteX313" fmla="*/ 1278458 w 1879805"/>
                <a:gd name="connsiteY313" fmla="*/ 71224 h 3533295"/>
                <a:gd name="connsiteX314" fmla="*/ 1250034 w 1879805"/>
                <a:gd name="connsiteY314" fmla="*/ 130559 h 3533295"/>
                <a:gd name="connsiteX315" fmla="*/ 1231012 w 1879805"/>
                <a:gd name="connsiteY315" fmla="*/ 159091 h 3533295"/>
                <a:gd name="connsiteX316" fmla="*/ 1229823 w 1879805"/>
                <a:gd name="connsiteY316" fmla="*/ 213671 h 3533295"/>
                <a:gd name="connsiteX317" fmla="*/ 1225067 w 1879805"/>
                <a:gd name="connsiteY317" fmla="*/ 252795 h 3533295"/>
                <a:gd name="connsiteX318" fmla="*/ 1209612 w 1879805"/>
                <a:gd name="connsiteY318" fmla="*/ 280031 h 3533295"/>
                <a:gd name="connsiteX319" fmla="*/ 1163355 w 1879805"/>
                <a:gd name="connsiteY319" fmla="*/ 301430 h 3533295"/>
                <a:gd name="connsiteX320" fmla="*/ 1114719 w 1879805"/>
                <a:gd name="connsiteY320" fmla="*/ 297864 h 3533295"/>
                <a:gd name="connsiteX321" fmla="*/ 1096886 w 1879805"/>
                <a:gd name="connsiteY321" fmla="*/ 308564 h 3533295"/>
                <a:gd name="connsiteX322" fmla="*/ 1092131 w 1879805"/>
                <a:gd name="connsiteY322" fmla="*/ 341744 h 3533295"/>
                <a:gd name="connsiteX323" fmla="*/ 1115800 w 1879805"/>
                <a:gd name="connsiteY323" fmla="*/ 361954 h 3533295"/>
                <a:gd name="connsiteX324" fmla="*/ 1139469 w 1879805"/>
                <a:gd name="connsiteY324" fmla="*/ 385623 h 3533295"/>
                <a:gd name="connsiteX325" fmla="*/ 1195238 w 1879805"/>
                <a:gd name="connsiteY325" fmla="*/ 419992 h 3533295"/>
                <a:gd name="connsiteX326" fmla="*/ 1203560 w 1879805"/>
                <a:gd name="connsiteY326" fmla="*/ 430692 h 3533295"/>
                <a:gd name="connsiteX327" fmla="*/ 1183349 w 1879805"/>
                <a:gd name="connsiteY327" fmla="*/ 435448 h 3533295"/>
                <a:gd name="connsiteX328" fmla="*/ 1148980 w 1879805"/>
                <a:gd name="connsiteY328" fmla="*/ 431881 h 3533295"/>
                <a:gd name="connsiteX329" fmla="*/ 1144225 w 1879805"/>
                <a:gd name="connsiteY329" fmla="*/ 435448 h 3533295"/>
                <a:gd name="connsiteX330" fmla="*/ 1148980 w 1879805"/>
                <a:gd name="connsiteY330" fmla="*/ 442581 h 3533295"/>
                <a:gd name="connsiteX331" fmla="*/ 1165624 w 1879805"/>
                <a:gd name="connsiteY331" fmla="*/ 450903 h 3533295"/>
                <a:gd name="connsiteX332" fmla="*/ 1183457 w 1879805"/>
                <a:gd name="connsiteY332" fmla="*/ 452092 h 3533295"/>
                <a:gd name="connsiteX333" fmla="*/ 1196535 w 1879805"/>
                <a:gd name="connsiteY333" fmla="*/ 476950 h 3533295"/>
                <a:gd name="connsiteX334" fmla="*/ 1206046 w 1879805"/>
                <a:gd name="connsiteY334" fmla="*/ 514885 h 3533295"/>
                <a:gd name="connsiteX335" fmla="*/ 1185835 w 1879805"/>
                <a:gd name="connsiteY335" fmla="*/ 550443 h 3533295"/>
                <a:gd name="connsiteX336" fmla="*/ 1184646 w 1879805"/>
                <a:gd name="connsiteY336" fmla="*/ 506563 h 3533295"/>
                <a:gd name="connsiteX337" fmla="*/ 1176324 w 1879805"/>
                <a:gd name="connsiteY337" fmla="*/ 485163 h 3533295"/>
                <a:gd name="connsiteX338" fmla="*/ 1150277 w 1879805"/>
                <a:gd name="connsiteY338" fmla="*/ 489919 h 3533295"/>
                <a:gd name="connsiteX339" fmla="*/ 1126608 w 1879805"/>
                <a:gd name="connsiteY339" fmla="*/ 491108 h 3533295"/>
                <a:gd name="connsiteX340" fmla="*/ 1114719 w 1879805"/>
                <a:gd name="connsiteY340" fmla="*/ 472086 h 3533295"/>
                <a:gd name="connsiteX341" fmla="*/ 1094509 w 1879805"/>
                <a:gd name="connsiteY341" fmla="*/ 432962 h 3533295"/>
                <a:gd name="connsiteX342" fmla="*/ 1066084 w 1879805"/>
                <a:gd name="connsiteY342" fmla="*/ 403348 h 3533295"/>
                <a:gd name="connsiteX343" fmla="*/ 1030527 w 1879805"/>
                <a:gd name="connsiteY343" fmla="*/ 402159 h 3533295"/>
                <a:gd name="connsiteX344" fmla="*/ 1003291 w 1879805"/>
                <a:gd name="connsiteY344" fmla="*/ 415237 h 3533295"/>
                <a:gd name="connsiteX345" fmla="*/ 996157 w 1879805"/>
                <a:gd name="connsiteY345" fmla="*/ 410481 h 3533295"/>
                <a:gd name="connsiteX346" fmla="*/ 993780 w 1879805"/>
                <a:gd name="connsiteY346" fmla="*/ 386704 h 3533295"/>
                <a:gd name="connsiteX347" fmla="*/ 981891 w 1879805"/>
                <a:gd name="connsiteY347" fmla="*/ 363035 h 3533295"/>
                <a:gd name="connsiteX348" fmla="*/ 967625 w 1879805"/>
                <a:gd name="connsiteY348" fmla="*/ 357091 h 3533295"/>
                <a:gd name="connsiteX349" fmla="*/ 929689 w 1879805"/>
                <a:gd name="connsiteY349" fmla="*/ 367790 h 3533295"/>
                <a:gd name="connsiteX350" fmla="*/ 896509 w 1879805"/>
                <a:gd name="connsiteY350" fmla="*/ 371357 h 3533295"/>
                <a:gd name="connsiteX351" fmla="*/ 882243 w 1879805"/>
                <a:gd name="connsiteY351" fmla="*/ 371357 h 3533295"/>
                <a:gd name="connsiteX352" fmla="*/ 847874 w 1879805"/>
                <a:gd name="connsiteY352" fmla="*/ 382057 h 3533295"/>
                <a:gd name="connsiteX353" fmla="*/ 840741 w 1879805"/>
                <a:gd name="connsiteY353" fmla="*/ 367790 h 3533295"/>
                <a:gd name="connsiteX354" fmla="*/ 845496 w 1879805"/>
                <a:gd name="connsiteY354" fmla="*/ 351146 h 3533295"/>
                <a:gd name="connsiteX355" fmla="*/ 807561 w 1879805"/>
                <a:gd name="connsiteY355" fmla="*/ 376113 h 3533295"/>
                <a:gd name="connsiteX356" fmla="*/ 775570 w 1879805"/>
                <a:gd name="connsiteY356" fmla="*/ 388001 h 3533295"/>
                <a:gd name="connsiteX357" fmla="*/ 729312 w 1879805"/>
                <a:gd name="connsiteY357" fmla="*/ 422370 h 3533295"/>
                <a:gd name="connsiteX358" fmla="*/ 620153 w 1879805"/>
                <a:gd name="connsiteY358" fmla="*/ 466250 h 3533295"/>
                <a:gd name="connsiteX359" fmla="*/ 585784 w 1879805"/>
                <a:gd name="connsiteY359" fmla="*/ 494674 h 3533295"/>
                <a:gd name="connsiteX360" fmla="*/ 582218 w 1879805"/>
                <a:gd name="connsiteY360" fmla="*/ 494674 h 3533295"/>
                <a:gd name="connsiteX361" fmla="*/ 541904 w 1879805"/>
                <a:gd name="connsiteY361" fmla="*/ 559954 h 3533295"/>
                <a:gd name="connsiteX362" fmla="*/ 519316 w 1879805"/>
                <a:gd name="connsiteY362" fmla="*/ 580164 h 3533295"/>
                <a:gd name="connsiteX363" fmla="*/ 507427 w 1879805"/>
                <a:gd name="connsiteY363" fmla="*/ 603942 h 3533295"/>
                <a:gd name="connsiteX364" fmla="*/ 506239 w 1879805"/>
                <a:gd name="connsiteY364" fmla="*/ 605130 h 3533295"/>
                <a:gd name="connsiteX365" fmla="*/ 443337 w 1879805"/>
                <a:gd name="connsiteY365" fmla="*/ 638310 h 3533295"/>
                <a:gd name="connsiteX366" fmla="*/ 413724 w 1879805"/>
                <a:gd name="connsiteY366" fmla="*/ 658521 h 3533295"/>
                <a:gd name="connsiteX367" fmla="*/ 403024 w 1879805"/>
                <a:gd name="connsiteY367" fmla="*/ 682298 h 3533295"/>
                <a:gd name="connsiteX368" fmla="*/ 369844 w 1879805"/>
                <a:gd name="connsiteY368" fmla="*/ 697753 h 3533295"/>
                <a:gd name="connsiteX369" fmla="*/ 366277 w 1879805"/>
                <a:gd name="connsiteY369" fmla="*/ 723800 h 3533295"/>
                <a:gd name="connsiteX370" fmla="*/ 373410 w 1879805"/>
                <a:gd name="connsiteY370" fmla="*/ 752333 h 3533295"/>
                <a:gd name="connsiteX371" fmla="*/ 391243 w 1879805"/>
                <a:gd name="connsiteY371" fmla="*/ 773732 h 3533295"/>
                <a:gd name="connsiteX372" fmla="*/ 385299 w 1879805"/>
                <a:gd name="connsiteY372" fmla="*/ 789188 h 3533295"/>
                <a:gd name="connsiteX373" fmla="*/ 384110 w 1879805"/>
                <a:gd name="connsiteY373" fmla="*/ 789188 h 3533295"/>
                <a:gd name="connsiteX374" fmla="*/ 369844 w 1879805"/>
                <a:gd name="connsiteY374" fmla="*/ 812965 h 3533295"/>
                <a:gd name="connsiteX375" fmla="*/ 334286 w 1879805"/>
                <a:gd name="connsiteY375" fmla="*/ 821287 h 3533295"/>
                <a:gd name="connsiteX376" fmla="*/ 298728 w 1879805"/>
                <a:gd name="connsiteY376" fmla="*/ 840201 h 3533295"/>
                <a:gd name="connsiteX377" fmla="*/ 271493 w 1879805"/>
                <a:gd name="connsiteY377" fmla="*/ 855656 h 3533295"/>
                <a:gd name="connsiteX378" fmla="*/ 210969 w 1879805"/>
                <a:gd name="connsiteY378" fmla="*/ 865167 h 3533295"/>
                <a:gd name="connsiteX379" fmla="*/ 168278 w 1879805"/>
                <a:gd name="connsiteY379" fmla="*/ 872300 h 3533295"/>
                <a:gd name="connsiteX380" fmla="*/ 167089 w 1879805"/>
                <a:gd name="connsiteY380" fmla="*/ 872300 h 3533295"/>
                <a:gd name="connsiteX381" fmla="*/ 152823 w 1879805"/>
                <a:gd name="connsiteY381" fmla="*/ 890133 h 3533295"/>
                <a:gd name="connsiteX382" fmla="*/ 150445 w 1879805"/>
                <a:gd name="connsiteY382" fmla="*/ 932824 h 3533295"/>
                <a:gd name="connsiteX383" fmla="*/ 148067 w 1879805"/>
                <a:gd name="connsiteY383" fmla="*/ 974326 h 3533295"/>
                <a:gd name="connsiteX384" fmla="*/ 142123 w 1879805"/>
                <a:gd name="connsiteY384" fmla="*/ 994537 h 3533295"/>
                <a:gd name="connsiteX385" fmla="*/ 168170 w 1879805"/>
                <a:gd name="connsiteY385" fmla="*/ 1072785 h 3533295"/>
                <a:gd name="connsiteX386" fmla="*/ 186003 w 1879805"/>
                <a:gd name="connsiteY386" fmla="*/ 1097751 h 3533295"/>
                <a:gd name="connsiteX387" fmla="*/ 215616 w 1879805"/>
                <a:gd name="connsiteY387" fmla="*/ 1113206 h 3533295"/>
                <a:gd name="connsiteX388" fmla="*/ 249985 w 1879805"/>
                <a:gd name="connsiteY388" fmla="*/ 1145198 h 3533295"/>
                <a:gd name="connsiteX389" fmla="*/ 265440 w 1879805"/>
                <a:gd name="connsiteY389" fmla="*/ 1164111 h 3533295"/>
                <a:gd name="connsiteX390" fmla="*/ 282084 w 1879805"/>
                <a:gd name="connsiteY390" fmla="*/ 1174811 h 3533295"/>
                <a:gd name="connsiteX391" fmla="*/ 299917 w 1879805"/>
                <a:gd name="connsiteY391" fmla="*/ 1187889 h 3533295"/>
                <a:gd name="connsiteX392" fmla="*/ 314184 w 1879805"/>
                <a:gd name="connsiteY392" fmla="*/ 1231768 h 3533295"/>
                <a:gd name="connsiteX393" fmla="*/ 296350 w 1879805"/>
                <a:gd name="connsiteY393" fmla="*/ 1314773 h 3533295"/>
                <a:gd name="connsiteX394" fmla="*/ 280895 w 1879805"/>
                <a:gd name="connsiteY394" fmla="*/ 1380052 h 3533295"/>
                <a:gd name="connsiteX395" fmla="*/ 257226 w 1879805"/>
                <a:gd name="connsiteY395" fmla="*/ 1326661 h 3533295"/>
                <a:gd name="connsiteX396" fmla="*/ 227613 w 1879805"/>
                <a:gd name="connsiteY396" fmla="*/ 1337361 h 3533295"/>
                <a:gd name="connsiteX397" fmla="*/ 234746 w 1879805"/>
                <a:gd name="connsiteY397" fmla="*/ 1319528 h 3533295"/>
                <a:gd name="connsiteX398" fmla="*/ 251390 w 1879805"/>
                <a:gd name="connsiteY398" fmla="*/ 1292292 h 3533295"/>
                <a:gd name="connsiteX399" fmla="*/ 264468 w 1879805"/>
                <a:gd name="connsiteY399" fmla="*/ 1272082 h 3533295"/>
                <a:gd name="connsiteX400" fmla="*/ 282300 w 1879805"/>
                <a:gd name="connsiteY400" fmla="*/ 1218691 h 3533295"/>
                <a:gd name="connsiteX401" fmla="*/ 241987 w 1879805"/>
                <a:gd name="connsiteY401" fmla="*/ 1203236 h 3533295"/>
                <a:gd name="connsiteX402" fmla="*/ 176816 w 1879805"/>
                <a:gd name="connsiteY402" fmla="*/ 1186592 h 3533295"/>
                <a:gd name="connsiteX403" fmla="*/ 151850 w 1879805"/>
                <a:gd name="connsiteY403" fmla="*/ 1158167 h 3533295"/>
                <a:gd name="connsiteX404" fmla="*/ 109159 w 1879805"/>
                <a:gd name="connsiteY404" fmla="*/ 1058519 h 3533295"/>
                <a:gd name="connsiteX405" fmla="*/ 98459 w 1879805"/>
                <a:gd name="connsiteY405" fmla="*/ 1020583 h 3533295"/>
                <a:gd name="connsiteX406" fmla="*/ 72412 w 1879805"/>
                <a:gd name="connsiteY406" fmla="*/ 1001670 h 3533295"/>
                <a:gd name="connsiteX407" fmla="*/ 49824 w 1879805"/>
                <a:gd name="connsiteY407" fmla="*/ 1004047 h 3533295"/>
                <a:gd name="connsiteX408" fmla="*/ 10700 w 1879805"/>
                <a:gd name="connsiteY408" fmla="*/ 1034850 h 3533295"/>
                <a:gd name="connsiteX409" fmla="*/ 0 w 1879805"/>
                <a:gd name="connsiteY409" fmla="*/ 1049116 h 3533295"/>
                <a:gd name="connsiteX410" fmla="*/ 24966 w 1879805"/>
                <a:gd name="connsiteY410" fmla="*/ 1072785 h 3533295"/>
                <a:gd name="connsiteX411" fmla="*/ 42799 w 1879805"/>
                <a:gd name="connsiteY411" fmla="*/ 1078729 h 3533295"/>
                <a:gd name="connsiteX412" fmla="*/ 17833 w 1879805"/>
                <a:gd name="connsiteY412" fmla="*/ 1092023 h 3533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</a:cxnLst>
              <a:rect l="l" t="t" r="r" b="b"/>
              <a:pathLst>
                <a:path w="1879805" h="3533295" extrusionOk="0">
                  <a:moveTo>
                    <a:pt x="17833" y="1092023"/>
                  </a:moveTo>
                  <a:lnTo>
                    <a:pt x="35666" y="1113423"/>
                  </a:lnTo>
                  <a:lnTo>
                    <a:pt x="72412" y="1143036"/>
                  </a:lnTo>
                  <a:lnTo>
                    <a:pt x="109159" y="1163247"/>
                  </a:lnTo>
                  <a:lnTo>
                    <a:pt x="113915" y="1208315"/>
                  </a:lnTo>
                  <a:lnTo>
                    <a:pt x="102026" y="1224959"/>
                  </a:lnTo>
                  <a:lnTo>
                    <a:pt x="80626" y="1233281"/>
                  </a:lnTo>
                  <a:lnTo>
                    <a:pt x="79438" y="1259328"/>
                  </a:lnTo>
                  <a:lnTo>
                    <a:pt x="91326" y="1277161"/>
                  </a:lnTo>
                  <a:lnTo>
                    <a:pt x="123317" y="1296075"/>
                  </a:lnTo>
                  <a:lnTo>
                    <a:pt x="123317" y="1296075"/>
                  </a:lnTo>
                  <a:lnTo>
                    <a:pt x="130451" y="1322122"/>
                  </a:lnTo>
                  <a:lnTo>
                    <a:pt x="131639" y="1323311"/>
                  </a:lnTo>
                  <a:lnTo>
                    <a:pt x="139961" y="1350546"/>
                  </a:lnTo>
                  <a:lnTo>
                    <a:pt x="145906" y="1378971"/>
                  </a:lnTo>
                  <a:lnTo>
                    <a:pt x="142339" y="1409773"/>
                  </a:lnTo>
                  <a:lnTo>
                    <a:pt x="94893" y="1456031"/>
                  </a:lnTo>
                  <a:lnTo>
                    <a:pt x="75979" y="1489211"/>
                  </a:lnTo>
                  <a:lnTo>
                    <a:pt x="75979" y="1516663"/>
                  </a:lnTo>
                  <a:lnTo>
                    <a:pt x="83112" y="1546384"/>
                  </a:lnTo>
                  <a:lnTo>
                    <a:pt x="98567" y="1565298"/>
                  </a:lnTo>
                  <a:lnTo>
                    <a:pt x="122237" y="1587886"/>
                  </a:lnTo>
                  <a:lnTo>
                    <a:pt x="148283" y="1591453"/>
                  </a:lnTo>
                  <a:lnTo>
                    <a:pt x="153039" y="1596208"/>
                  </a:lnTo>
                  <a:lnTo>
                    <a:pt x="163739" y="1612852"/>
                  </a:lnTo>
                  <a:lnTo>
                    <a:pt x="181464" y="1624741"/>
                  </a:lnTo>
                  <a:lnTo>
                    <a:pt x="194541" y="1611664"/>
                  </a:lnTo>
                  <a:lnTo>
                    <a:pt x="206430" y="1598586"/>
                  </a:lnTo>
                  <a:lnTo>
                    <a:pt x="215940" y="1619986"/>
                  </a:lnTo>
                  <a:lnTo>
                    <a:pt x="223073" y="1643763"/>
                  </a:lnTo>
                  <a:lnTo>
                    <a:pt x="249120" y="1659218"/>
                  </a:lnTo>
                  <a:lnTo>
                    <a:pt x="259820" y="1668729"/>
                  </a:lnTo>
                  <a:lnTo>
                    <a:pt x="256254" y="1678240"/>
                  </a:lnTo>
                  <a:lnTo>
                    <a:pt x="245554" y="1688940"/>
                  </a:lnTo>
                  <a:lnTo>
                    <a:pt x="244365" y="1755299"/>
                  </a:lnTo>
                  <a:lnTo>
                    <a:pt x="237232" y="1775510"/>
                  </a:lnTo>
                  <a:lnTo>
                    <a:pt x="230099" y="1789776"/>
                  </a:lnTo>
                  <a:lnTo>
                    <a:pt x="204052" y="1793343"/>
                  </a:lnTo>
                  <a:lnTo>
                    <a:pt x="208807" y="1812365"/>
                  </a:lnTo>
                  <a:lnTo>
                    <a:pt x="225451" y="1824253"/>
                  </a:lnTo>
                  <a:lnTo>
                    <a:pt x="225451" y="1846842"/>
                  </a:lnTo>
                  <a:lnTo>
                    <a:pt x="233773" y="1887155"/>
                  </a:lnTo>
                  <a:lnTo>
                    <a:pt x="248039" y="1901422"/>
                  </a:lnTo>
                  <a:lnTo>
                    <a:pt x="251606" y="1924010"/>
                  </a:lnTo>
                  <a:lnTo>
                    <a:pt x="271817" y="1939465"/>
                  </a:lnTo>
                  <a:lnTo>
                    <a:pt x="271817" y="1940654"/>
                  </a:lnTo>
                  <a:lnTo>
                    <a:pt x="275383" y="1986912"/>
                  </a:lnTo>
                  <a:lnTo>
                    <a:pt x="266953" y="2003015"/>
                  </a:lnTo>
                  <a:lnTo>
                    <a:pt x="280031" y="2017282"/>
                  </a:lnTo>
                  <a:lnTo>
                    <a:pt x="280031" y="2017282"/>
                  </a:lnTo>
                  <a:lnTo>
                    <a:pt x="295486" y="2044517"/>
                  </a:lnTo>
                  <a:lnTo>
                    <a:pt x="295486" y="2045706"/>
                  </a:lnTo>
                  <a:lnTo>
                    <a:pt x="287164" y="2067105"/>
                  </a:lnTo>
                  <a:lnTo>
                    <a:pt x="287164" y="2067105"/>
                  </a:lnTo>
                  <a:lnTo>
                    <a:pt x="296675" y="2091964"/>
                  </a:lnTo>
                  <a:lnTo>
                    <a:pt x="321533" y="2100286"/>
                  </a:lnTo>
                  <a:lnTo>
                    <a:pt x="348769" y="2102663"/>
                  </a:lnTo>
                  <a:lnTo>
                    <a:pt x="348769" y="2103852"/>
                  </a:lnTo>
                  <a:lnTo>
                    <a:pt x="349958" y="2129899"/>
                  </a:lnTo>
                  <a:lnTo>
                    <a:pt x="348769" y="2164268"/>
                  </a:lnTo>
                  <a:lnTo>
                    <a:pt x="341635" y="2178534"/>
                  </a:lnTo>
                  <a:lnTo>
                    <a:pt x="348769" y="2192801"/>
                  </a:lnTo>
                  <a:lnTo>
                    <a:pt x="380760" y="2191612"/>
                  </a:lnTo>
                  <a:lnTo>
                    <a:pt x="403348" y="2204689"/>
                  </a:lnTo>
                  <a:lnTo>
                    <a:pt x="418803" y="2224900"/>
                  </a:lnTo>
                  <a:lnTo>
                    <a:pt x="427125" y="2264024"/>
                  </a:lnTo>
                  <a:lnTo>
                    <a:pt x="421181" y="2288990"/>
                  </a:lnTo>
                  <a:lnTo>
                    <a:pt x="404537" y="2313848"/>
                  </a:lnTo>
                  <a:lnTo>
                    <a:pt x="386704" y="2330492"/>
                  </a:lnTo>
                  <a:lnTo>
                    <a:pt x="386704" y="2385072"/>
                  </a:lnTo>
                  <a:lnTo>
                    <a:pt x="412751" y="2415874"/>
                  </a:lnTo>
                  <a:lnTo>
                    <a:pt x="413940" y="2431329"/>
                  </a:lnTo>
                  <a:lnTo>
                    <a:pt x="391351" y="2456187"/>
                  </a:lnTo>
                  <a:lnTo>
                    <a:pt x="380652" y="2456187"/>
                  </a:lnTo>
                  <a:lnTo>
                    <a:pt x="358171" y="2471642"/>
                  </a:lnTo>
                  <a:lnTo>
                    <a:pt x="349849" y="2482342"/>
                  </a:lnTo>
                  <a:lnTo>
                    <a:pt x="348660" y="2504931"/>
                  </a:lnTo>
                  <a:lnTo>
                    <a:pt x="349849" y="2521575"/>
                  </a:lnTo>
                  <a:lnTo>
                    <a:pt x="404429" y="2573777"/>
                  </a:lnTo>
                  <a:lnTo>
                    <a:pt x="404429" y="2608145"/>
                  </a:lnTo>
                  <a:lnTo>
                    <a:pt x="388974" y="2634192"/>
                  </a:lnTo>
                  <a:lnTo>
                    <a:pt x="341527" y="2649647"/>
                  </a:lnTo>
                  <a:lnTo>
                    <a:pt x="330827" y="2668669"/>
                  </a:lnTo>
                  <a:lnTo>
                    <a:pt x="343905" y="2691150"/>
                  </a:lnTo>
                  <a:lnTo>
                    <a:pt x="349849" y="2746918"/>
                  </a:lnTo>
                  <a:lnTo>
                    <a:pt x="385407" y="2764643"/>
                  </a:lnTo>
                  <a:lnTo>
                    <a:pt x="406807" y="2762265"/>
                  </a:lnTo>
                  <a:lnTo>
                    <a:pt x="448309" y="2781287"/>
                  </a:lnTo>
                  <a:lnTo>
                    <a:pt x="488622" y="2777720"/>
                  </a:lnTo>
                  <a:lnTo>
                    <a:pt x="521802" y="2799120"/>
                  </a:lnTo>
                  <a:lnTo>
                    <a:pt x="526557" y="2820520"/>
                  </a:lnTo>
                  <a:lnTo>
                    <a:pt x="564493" y="2848944"/>
                  </a:lnTo>
                  <a:lnTo>
                    <a:pt x="537257" y="2885691"/>
                  </a:lnTo>
                  <a:lnTo>
                    <a:pt x="530124" y="2914223"/>
                  </a:lnTo>
                  <a:lnTo>
                    <a:pt x="530124" y="2945026"/>
                  </a:lnTo>
                  <a:lnTo>
                    <a:pt x="577570" y="2960481"/>
                  </a:lnTo>
                  <a:lnTo>
                    <a:pt x="590648" y="3010305"/>
                  </a:lnTo>
                  <a:lnTo>
                    <a:pt x="582326" y="3035163"/>
                  </a:lnTo>
                  <a:lnTo>
                    <a:pt x="563304" y="3063587"/>
                  </a:lnTo>
                  <a:lnTo>
                    <a:pt x="562115" y="3083798"/>
                  </a:lnTo>
                  <a:lnTo>
                    <a:pt x="574004" y="3108656"/>
                  </a:lnTo>
                  <a:lnTo>
                    <a:pt x="574004" y="3109845"/>
                  </a:lnTo>
                  <a:lnTo>
                    <a:pt x="585892" y="3128759"/>
                  </a:lnTo>
                  <a:lnTo>
                    <a:pt x="590648" y="3169072"/>
                  </a:lnTo>
                  <a:lnTo>
                    <a:pt x="590648" y="3171449"/>
                  </a:lnTo>
                  <a:lnTo>
                    <a:pt x="556279" y="3202252"/>
                  </a:lnTo>
                  <a:lnTo>
                    <a:pt x="553901" y="3218896"/>
                  </a:lnTo>
                  <a:lnTo>
                    <a:pt x="581137" y="3242673"/>
                  </a:lnTo>
                  <a:lnTo>
                    <a:pt x="595403" y="3250995"/>
                  </a:lnTo>
                  <a:lnTo>
                    <a:pt x="646416" y="3250995"/>
                  </a:lnTo>
                  <a:lnTo>
                    <a:pt x="661871" y="3256939"/>
                  </a:lnTo>
                  <a:lnTo>
                    <a:pt x="672571" y="3285472"/>
                  </a:lnTo>
                  <a:lnTo>
                    <a:pt x="680893" y="3300927"/>
                  </a:lnTo>
                  <a:lnTo>
                    <a:pt x="682082" y="3300927"/>
                  </a:lnTo>
                  <a:lnTo>
                    <a:pt x="709318" y="3306872"/>
                  </a:lnTo>
                  <a:lnTo>
                    <a:pt x="705751" y="3356696"/>
                  </a:lnTo>
                  <a:lnTo>
                    <a:pt x="735365" y="3387498"/>
                  </a:lnTo>
                  <a:lnTo>
                    <a:pt x="749631" y="3400576"/>
                  </a:lnTo>
                  <a:lnTo>
                    <a:pt x="722395" y="3416031"/>
                  </a:lnTo>
                  <a:lnTo>
                    <a:pt x="716451" y="3439700"/>
                  </a:lnTo>
                  <a:lnTo>
                    <a:pt x="687918" y="3470502"/>
                  </a:lnTo>
                  <a:lnTo>
                    <a:pt x="655927" y="3501305"/>
                  </a:lnTo>
                  <a:lnTo>
                    <a:pt x="680785" y="3527351"/>
                  </a:lnTo>
                  <a:lnTo>
                    <a:pt x="741309" y="3533296"/>
                  </a:lnTo>
                  <a:lnTo>
                    <a:pt x="781622" y="3528540"/>
                  </a:lnTo>
                  <a:lnTo>
                    <a:pt x="811344" y="3505952"/>
                  </a:lnTo>
                  <a:lnTo>
                    <a:pt x="835013" y="3453750"/>
                  </a:lnTo>
                  <a:lnTo>
                    <a:pt x="872948" y="3438295"/>
                  </a:lnTo>
                  <a:lnTo>
                    <a:pt x="877704" y="3403926"/>
                  </a:lnTo>
                  <a:lnTo>
                    <a:pt x="893159" y="3390849"/>
                  </a:lnTo>
                  <a:lnTo>
                    <a:pt x="967841" y="3384904"/>
                  </a:lnTo>
                  <a:lnTo>
                    <a:pt x="971408" y="3381338"/>
                  </a:lnTo>
                  <a:lnTo>
                    <a:pt x="985674" y="3367071"/>
                  </a:lnTo>
                  <a:lnTo>
                    <a:pt x="951305" y="3335080"/>
                  </a:lnTo>
                  <a:lnTo>
                    <a:pt x="938228" y="3305467"/>
                  </a:lnTo>
                  <a:lnTo>
                    <a:pt x="971408" y="3292389"/>
                  </a:lnTo>
                  <a:lnTo>
                    <a:pt x="980918" y="3258020"/>
                  </a:lnTo>
                  <a:lnTo>
                    <a:pt x="992807" y="3239107"/>
                  </a:lnTo>
                  <a:lnTo>
                    <a:pt x="1002318" y="3207115"/>
                  </a:lnTo>
                  <a:lnTo>
                    <a:pt x="1007073" y="3164424"/>
                  </a:lnTo>
                  <a:lnTo>
                    <a:pt x="1041442" y="3114600"/>
                  </a:lnTo>
                  <a:lnTo>
                    <a:pt x="1048575" y="3090931"/>
                  </a:lnTo>
                  <a:lnTo>
                    <a:pt x="1050953" y="3066073"/>
                  </a:lnTo>
                  <a:lnTo>
                    <a:pt x="1032039" y="3056562"/>
                  </a:lnTo>
                  <a:lnTo>
                    <a:pt x="1036795" y="3006738"/>
                  </a:lnTo>
                  <a:lnTo>
                    <a:pt x="1058195" y="2971180"/>
                  </a:lnTo>
                  <a:lnTo>
                    <a:pt x="1074838" y="2966425"/>
                  </a:lnTo>
                  <a:lnTo>
                    <a:pt x="1106830" y="2985339"/>
                  </a:lnTo>
                  <a:lnTo>
                    <a:pt x="1129418" y="2974639"/>
                  </a:lnTo>
                  <a:lnTo>
                    <a:pt x="1129418" y="2972261"/>
                  </a:lnTo>
                  <a:lnTo>
                    <a:pt x="1159031" y="2947403"/>
                  </a:lnTo>
                  <a:lnTo>
                    <a:pt x="1169731" y="2965236"/>
                  </a:lnTo>
                  <a:lnTo>
                    <a:pt x="1180431" y="3005550"/>
                  </a:lnTo>
                  <a:lnTo>
                    <a:pt x="1191131" y="3013871"/>
                  </a:lnTo>
                  <a:lnTo>
                    <a:pt x="1208964" y="2991283"/>
                  </a:lnTo>
                  <a:lnTo>
                    <a:pt x="1208964" y="2990094"/>
                  </a:lnTo>
                  <a:lnTo>
                    <a:pt x="1233822" y="2954537"/>
                  </a:lnTo>
                  <a:lnTo>
                    <a:pt x="1235011" y="2954537"/>
                  </a:lnTo>
                  <a:lnTo>
                    <a:pt x="1253924" y="2921356"/>
                  </a:lnTo>
                  <a:lnTo>
                    <a:pt x="1290671" y="2878665"/>
                  </a:lnTo>
                  <a:lnTo>
                    <a:pt x="1293048" y="2840730"/>
                  </a:lnTo>
                  <a:lnTo>
                    <a:pt x="1317907" y="2840730"/>
                  </a:lnTo>
                  <a:lnTo>
                    <a:pt x="1347520" y="2866777"/>
                  </a:lnTo>
                  <a:lnTo>
                    <a:pt x="1389022" y="2905901"/>
                  </a:lnTo>
                  <a:lnTo>
                    <a:pt x="1409233" y="2907090"/>
                  </a:lnTo>
                  <a:lnTo>
                    <a:pt x="1409233" y="2872721"/>
                  </a:lnTo>
                  <a:lnTo>
                    <a:pt x="1430632" y="2852511"/>
                  </a:lnTo>
                  <a:lnTo>
                    <a:pt x="1436576" y="2831111"/>
                  </a:lnTo>
                  <a:lnTo>
                    <a:pt x="1422310" y="2802686"/>
                  </a:lnTo>
                  <a:lnTo>
                    <a:pt x="1427066" y="2776639"/>
                  </a:lnTo>
                  <a:lnTo>
                    <a:pt x="1451924" y="2764751"/>
                  </a:lnTo>
                  <a:lnTo>
                    <a:pt x="1448357" y="2735137"/>
                  </a:lnTo>
                  <a:lnTo>
                    <a:pt x="1413988" y="2718494"/>
                  </a:lnTo>
                  <a:lnTo>
                    <a:pt x="1403288" y="2695905"/>
                  </a:lnTo>
                  <a:lnTo>
                    <a:pt x="1403288" y="2665103"/>
                  </a:lnTo>
                  <a:lnTo>
                    <a:pt x="1421013" y="2636678"/>
                  </a:lnTo>
                  <a:lnTo>
                    <a:pt x="1425769" y="2604687"/>
                  </a:lnTo>
                  <a:lnTo>
                    <a:pt x="1460138" y="2571507"/>
                  </a:lnTo>
                  <a:lnTo>
                    <a:pt x="1485104" y="2547838"/>
                  </a:lnTo>
                  <a:lnTo>
                    <a:pt x="1486293" y="2546649"/>
                  </a:lnTo>
                  <a:lnTo>
                    <a:pt x="1489859" y="2512280"/>
                  </a:lnTo>
                  <a:lnTo>
                    <a:pt x="1514717" y="2477911"/>
                  </a:lnTo>
                  <a:lnTo>
                    <a:pt x="1514717" y="2471967"/>
                  </a:lnTo>
                  <a:lnTo>
                    <a:pt x="1502828" y="2448298"/>
                  </a:lnTo>
                  <a:lnTo>
                    <a:pt x="1476782" y="2428087"/>
                  </a:lnTo>
                  <a:lnTo>
                    <a:pt x="1492237" y="2393718"/>
                  </a:lnTo>
                  <a:lnTo>
                    <a:pt x="1492237" y="2392097"/>
                  </a:lnTo>
                  <a:lnTo>
                    <a:pt x="1505314" y="2369509"/>
                  </a:lnTo>
                  <a:lnTo>
                    <a:pt x="1505314" y="2368320"/>
                  </a:lnTo>
                  <a:lnTo>
                    <a:pt x="1501748" y="2328007"/>
                  </a:lnTo>
                  <a:lnTo>
                    <a:pt x="1521959" y="2312552"/>
                  </a:lnTo>
                  <a:lnTo>
                    <a:pt x="1542169" y="2312552"/>
                  </a:lnTo>
                  <a:lnTo>
                    <a:pt x="1556435" y="2317307"/>
                  </a:lnTo>
                  <a:lnTo>
                    <a:pt x="1599126" y="2280560"/>
                  </a:lnTo>
                  <a:lnTo>
                    <a:pt x="1555247" y="2260350"/>
                  </a:lnTo>
                  <a:lnTo>
                    <a:pt x="1519689" y="2248461"/>
                  </a:lnTo>
                  <a:lnTo>
                    <a:pt x="1466298" y="2246083"/>
                  </a:lnTo>
                  <a:lnTo>
                    <a:pt x="1467487" y="2221225"/>
                  </a:lnTo>
                  <a:lnTo>
                    <a:pt x="1486401" y="2170212"/>
                  </a:lnTo>
                  <a:lnTo>
                    <a:pt x="1487589" y="2170212"/>
                  </a:lnTo>
                  <a:lnTo>
                    <a:pt x="1500667" y="2139410"/>
                  </a:lnTo>
                  <a:lnTo>
                    <a:pt x="1524444" y="2115741"/>
                  </a:lnTo>
                  <a:lnTo>
                    <a:pt x="1517311" y="2100286"/>
                  </a:lnTo>
                  <a:lnTo>
                    <a:pt x="1516122" y="2097908"/>
                  </a:lnTo>
                  <a:lnTo>
                    <a:pt x="1491264" y="2057594"/>
                  </a:lnTo>
                  <a:lnTo>
                    <a:pt x="1475809" y="2048084"/>
                  </a:lnTo>
                  <a:lnTo>
                    <a:pt x="1494723" y="2025603"/>
                  </a:lnTo>
                  <a:lnTo>
                    <a:pt x="1494723" y="2023226"/>
                  </a:lnTo>
                  <a:lnTo>
                    <a:pt x="1476890" y="1986479"/>
                  </a:lnTo>
                  <a:lnTo>
                    <a:pt x="1467379" y="1947355"/>
                  </a:lnTo>
                  <a:lnTo>
                    <a:pt x="1457868" y="1922389"/>
                  </a:lnTo>
                  <a:lnTo>
                    <a:pt x="1475701" y="1897531"/>
                  </a:lnTo>
                  <a:lnTo>
                    <a:pt x="1475701" y="1895153"/>
                  </a:lnTo>
                  <a:lnTo>
                    <a:pt x="1512448" y="1879698"/>
                  </a:lnTo>
                  <a:lnTo>
                    <a:pt x="1532658" y="1859487"/>
                  </a:lnTo>
                  <a:lnTo>
                    <a:pt x="1521959" y="1756272"/>
                  </a:lnTo>
                  <a:lnTo>
                    <a:pt x="1520770" y="1644736"/>
                  </a:lnTo>
                  <a:lnTo>
                    <a:pt x="1506503" y="1616203"/>
                  </a:lnTo>
                  <a:lnTo>
                    <a:pt x="1496992" y="1592534"/>
                  </a:lnTo>
                  <a:lnTo>
                    <a:pt x="1496992" y="1588967"/>
                  </a:lnTo>
                  <a:lnTo>
                    <a:pt x="1500559" y="1555787"/>
                  </a:lnTo>
                  <a:lnTo>
                    <a:pt x="1526606" y="1543899"/>
                  </a:lnTo>
                  <a:lnTo>
                    <a:pt x="1562164" y="1539143"/>
                  </a:lnTo>
                  <a:lnTo>
                    <a:pt x="1578808" y="1511907"/>
                  </a:lnTo>
                  <a:lnTo>
                    <a:pt x="1613176" y="1511907"/>
                  </a:lnTo>
                  <a:lnTo>
                    <a:pt x="1628632" y="1519041"/>
                  </a:lnTo>
                  <a:lnTo>
                    <a:pt x="1650031" y="1503585"/>
                  </a:lnTo>
                  <a:lnTo>
                    <a:pt x="1654787" y="1457328"/>
                  </a:lnTo>
                  <a:lnTo>
                    <a:pt x="1651220" y="1407504"/>
                  </a:lnTo>
                  <a:lnTo>
                    <a:pt x="1687967" y="1399182"/>
                  </a:lnTo>
                  <a:lnTo>
                    <a:pt x="1705799" y="1390860"/>
                  </a:lnTo>
                  <a:lnTo>
                    <a:pt x="1718877" y="1361246"/>
                  </a:lnTo>
                  <a:lnTo>
                    <a:pt x="1753246" y="1349358"/>
                  </a:lnTo>
                  <a:lnTo>
                    <a:pt x="1793559" y="1310233"/>
                  </a:lnTo>
                  <a:lnTo>
                    <a:pt x="1813770" y="1301911"/>
                  </a:lnTo>
                  <a:lnTo>
                    <a:pt x="1816148" y="1301911"/>
                  </a:lnTo>
                  <a:lnTo>
                    <a:pt x="1820903" y="1285267"/>
                  </a:lnTo>
                  <a:lnTo>
                    <a:pt x="1809014" y="1265057"/>
                  </a:lnTo>
                  <a:lnTo>
                    <a:pt x="1793559" y="1247224"/>
                  </a:lnTo>
                  <a:lnTo>
                    <a:pt x="1787615" y="1166597"/>
                  </a:lnTo>
                  <a:lnTo>
                    <a:pt x="1787615" y="1165408"/>
                  </a:lnTo>
                  <a:lnTo>
                    <a:pt x="1778104" y="1119151"/>
                  </a:lnTo>
                  <a:lnTo>
                    <a:pt x="1743735" y="1082404"/>
                  </a:lnTo>
                  <a:lnTo>
                    <a:pt x="1743735" y="1053980"/>
                  </a:lnTo>
                  <a:lnTo>
                    <a:pt x="1727091" y="1010100"/>
                  </a:lnTo>
                  <a:lnTo>
                    <a:pt x="1723524" y="978109"/>
                  </a:lnTo>
                  <a:lnTo>
                    <a:pt x="1712825" y="924718"/>
                  </a:lnTo>
                  <a:lnTo>
                    <a:pt x="1710447" y="924718"/>
                  </a:lnTo>
                  <a:lnTo>
                    <a:pt x="1705692" y="898671"/>
                  </a:lnTo>
                  <a:lnTo>
                    <a:pt x="1742438" y="876191"/>
                  </a:lnTo>
                  <a:lnTo>
                    <a:pt x="1774429" y="843011"/>
                  </a:lnTo>
                  <a:lnTo>
                    <a:pt x="1804043" y="815775"/>
                  </a:lnTo>
                  <a:lnTo>
                    <a:pt x="1796909" y="797942"/>
                  </a:lnTo>
                  <a:lnTo>
                    <a:pt x="1788588" y="746929"/>
                  </a:lnTo>
                  <a:lnTo>
                    <a:pt x="1777888" y="761196"/>
                  </a:lnTo>
                  <a:lnTo>
                    <a:pt x="1758866" y="773084"/>
                  </a:lnTo>
                  <a:lnTo>
                    <a:pt x="1757677" y="773084"/>
                  </a:lnTo>
                  <a:lnTo>
                    <a:pt x="1744600" y="776651"/>
                  </a:lnTo>
                  <a:lnTo>
                    <a:pt x="1729144" y="795564"/>
                  </a:lnTo>
                  <a:lnTo>
                    <a:pt x="1729144" y="796753"/>
                  </a:lnTo>
                  <a:lnTo>
                    <a:pt x="1708934" y="815775"/>
                  </a:lnTo>
                  <a:lnTo>
                    <a:pt x="1667432" y="835986"/>
                  </a:lnTo>
                  <a:lnTo>
                    <a:pt x="1648518" y="852630"/>
                  </a:lnTo>
                  <a:lnTo>
                    <a:pt x="1625930" y="876407"/>
                  </a:lnTo>
                  <a:lnTo>
                    <a:pt x="1550059" y="970111"/>
                  </a:lnTo>
                  <a:lnTo>
                    <a:pt x="1539359" y="976055"/>
                  </a:lnTo>
                  <a:lnTo>
                    <a:pt x="1531037" y="974866"/>
                  </a:lnTo>
                  <a:lnTo>
                    <a:pt x="1532226" y="958222"/>
                  </a:lnTo>
                  <a:lnTo>
                    <a:pt x="1546492" y="889376"/>
                  </a:lnTo>
                  <a:lnTo>
                    <a:pt x="1546492" y="839552"/>
                  </a:lnTo>
                  <a:lnTo>
                    <a:pt x="1541737" y="806372"/>
                  </a:lnTo>
                  <a:lnTo>
                    <a:pt x="1559570" y="812317"/>
                  </a:lnTo>
                  <a:lnTo>
                    <a:pt x="1580969" y="817072"/>
                  </a:lnTo>
                  <a:lnTo>
                    <a:pt x="1598802" y="813505"/>
                  </a:lnTo>
                  <a:lnTo>
                    <a:pt x="1649815" y="748226"/>
                  </a:lnTo>
                  <a:lnTo>
                    <a:pt x="1687751" y="706724"/>
                  </a:lnTo>
                  <a:lnTo>
                    <a:pt x="1719742" y="674733"/>
                  </a:lnTo>
                  <a:lnTo>
                    <a:pt x="1758866" y="652253"/>
                  </a:lnTo>
                  <a:lnTo>
                    <a:pt x="1815823" y="625017"/>
                  </a:lnTo>
                  <a:lnTo>
                    <a:pt x="1845437" y="597781"/>
                  </a:lnTo>
                  <a:lnTo>
                    <a:pt x="1872672" y="500511"/>
                  </a:lnTo>
                  <a:lnTo>
                    <a:pt x="1879806" y="403240"/>
                  </a:lnTo>
                  <a:lnTo>
                    <a:pt x="1879806" y="360549"/>
                  </a:lnTo>
                  <a:lnTo>
                    <a:pt x="1865539" y="336880"/>
                  </a:lnTo>
                  <a:lnTo>
                    <a:pt x="1857217" y="287056"/>
                  </a:lnTo>
                  <a:lnTo>
                    <a:pt x="1838304" y="262198"/>
                  </a:lnTo>
                  <a:lnTo>
                    <a:pt x="1816904" y="257442"/>
                  </a:lnTo>
                  <a:lnTo>
                    <a:pt x="1782535" y="241987"/>
                  </a:lnTo>
                  <a:lnTo>
                    <a:pt x="1746977" y="258631"/>
                  </a:lnTo>
                  <a:lnTo>
                    <a:pt x="1595127" y="250309"/>
                  </a:lnTo>
                  <a:lnTo>
                    <a:pt x="1539359" y="250309"/>
                  </a:lnTo>
                  <a:lnTo>
                    <a:pt x="1529848" y="258631"/>
                  </a:lnTo>
                  <a:lnTo>
                    <a:pt x="1521526" y="280031"/>
                  </a:lnTo>
                  <a:lnTo>
                    <a:pt x="1497857" y="301430"/>
                  </a:lnTo>
                  <a:lnTo>
                    <a:pt x="1452788" y="327477"/>
                  </a:lnTo>
                  <a:lnTo>
                    <a:pt x="1450410" y="302619"/>
                  </a:lnTo>
                  <a:lnTo>
                    <a:pt x="1456355" y="271817"/>
                  </a:lnTo>
                  <a:lnTo>
                    <a:pt x="1477754" y="213671"/>
                  </a:lnTo>
                  <a:lnTo>
                    <a:pt x="1494398" y="184057"/>
                  </a:lnTo>
                  <a:lnTo>
                    <a:pt x="1487265" y="175735"/>
                  </a:lnTo>
                  <a:lnTo>
                    <a:pt x="1442197" y="175735"/>
                  </a:lnTo>
                  <a:lnTo>
                    <a:pt x="1446952" y="166224"/>
                  </a:lnTo>
                  <a:lnTo>
                    <a:pt x="1481321" y="127100"/>
                  </a:lnTo>
                  <a:lnTo>
                    <a:pt x="1487265" y="106889"/>
                  </a:lnTo>
                  <a:lnTo>
                    <a:pt x="1487265" y="105701"/>
                  </a:lnTo>
                  <a:lnTo>
                    <a:pt x="1489643" y="84301"/>
                  </a:lnTo>
                  <a:lnTo>
                    <a:pt x="1481321" y="64090"/>
                  </a:lnTo>
                  <a:lnTo>
                    <a:pt x="1452896" y="52202"/>
                  </a:lnTo>
                  <a:lnTo>
                    <a:pt x="1426849" y="21400"/>
                  </a:lnTo>
                  <a:lnTo>
                    <a:pt x="1378214" y="0"/>
                  </a:lnTo>
                  <a:lnTo>
                    <a:pt x="1367515" y="2378"/>
                  </a:lnTo>
                  <a:lnTo>
                    <a:pt x="1338982" y="22588"/>
                  </a:lnTo>
                  <a:lnTo>
                    <a:pt x="1284402" y="46366"/>
                  </a:lnTo>
                  <a:lnTo>
                    <a:pt x="1278458" y="71224"/>
                  </a:lnTo>
                  <a:lnTo>
                    <a:pt x="1250034" y="130559"/>
                  </a:lnTo>
                  <a:lnTo>
                    <a:pt x="1231012" y="159091"/>
                  </a:lnTo>
                  <a:lnTo>
                    <a:pt x="1229823" y="213671"/>
                  </a:lnTo>
                  <a:lnTo>
                    <a:pt x="1225067" y="252795"/>
                  </a:lnTo>
                  <a:lnTo>
                    <a:pt x="1209612" y="280031"/>
                  </a:lnTo>
                  <a:lnTo>
                    <a:pt x="1163355" y="301430"/>
                  </a:lnTo>
                  <a:lnTo>
                    <a:pt x="1114719" y="297864"/>
                  </a:lnTo>
                  <a:lnTo>
                    <a:pt x="1096886" y="308564"/>
                  </a:lnTo>
                  <a:lnTo>
                    <a:pt x="1092131" y="341744"/>
                  </a:lnTo>
                  <a:lnTo>
                    <a:pt x="1115800" y="361954"/>
                  </a:lnTo>
                  <a:lnTo>
                    <a:pt x="1139469" y="385623"/>
                  </a:lnTo>
                  <a:lnTo>
                    <a:pt x="1195238" y="419992"/>
                  </a:lnTo>
                  <a:lnTo>
                    <a:pt x="1203560" y="430692"/>
                  </a:lnTo>
                  <a:lnTo>
                    <a:pt x="1183349" y="435448"/>
                  </a:lnTo>
                  <a:lnTo>
                    <a:pt x="1148980" y="431881"/>
                  </a:lnTo>
                  <a:lnTo>
                    <a:pt x="1144225" y="435448"/>
                  </a:lnTo>
                  <a:lnTo>
                    <a:pt x="1148980" y="442581"/>
                  </a:lnTo>
                  <a:lnTo>
                    <a:pt x="1165624" y="450903"/>
                  </a:lnTo>
                  <a:lnTo>
                    <a:pt x="1183457" y="452092"/>
                  </a:lnTo>
                  <a:lnTo>
                    <a:pt x="1196535" y="476950"/>
                  </a:lnTo>
                  <a:lnTo>
                    <a:pt x="1206046" y="514885"/>
                  </a:lnTo>
                  <a:lnTo>
                    <a:pt x="1185835" y="550443"/>
                  </a:lnTo>
                  <a:lnTo>
                    <a:pt x="1184646" y="506563"/>
                  </a:lnTo>
                  <a:lnTo>
                    <a:pt x="1176324" y="485163"/>
                  </a:lnTo>
                  <a:lnTo>
                    <a:pt x="1150277" y="489919"/>
                  </a:lnTo>
                  <a:lnTo>
                    <a:pt x="1126608" y="491108"/>
                  </a:lnTo>
                  <a:lnTo>
                    <a:pt x="1114719" y="472086"/>
                  </a:lnTo>
                  <a:lnTo>
                    <a:pt x="1094509" y="432962"/>
                  </a:lnTo>
                  <a:lnTo>
                    <a:pt x="1066084" y="403348"/>
                  </a:lnTo>
                  <a:lnTo>
                    <a:pt x="1030527" y="402159"/>
                  </a:lnTo>
                  <a:lnTo>
                    <a:pt x="1003291" y="415237"/>
                  </a:lnTo>
                  <a:lnTo>
                    <a:pt x="996157" y="410481"/>
                  </a:lnTo>
                  <a:lnTo>
                    <a:pt x="993780" y="386704"/>
                  </a:lnTo>
                  <a:lnTo>
                    <a:pt x="981891" y="363035"/>
                  </a:lnTo>
                  <a:lnTo>
                    <a:pt x="967625" y="357091"/>
                  </a:lnTo>
                  <a:lnTo>
                    <a:pt x="929689" y="367790"/>
                  </a:lnTo>
                  <a:lnTo>
                    <a:pt x="896509" y="371357"/>
                  </a:lnTo>
                  <a:lnTo>
                    <a:pt x="882243" y="371357"/>
                  </a:lnTo>
                  <a:lnTo>
                    <a:pt x="847874" y="382057"/>
                  </a:lnTo>
                  <a:lnTo>
                    <a:pt x="840741" y="367790"/>
                  </a:lnTo>
                  <a:lnTo>
                    <a:pt x="845496" y="351146"/>
                  </a:lnTo>
                  <a:lnTo>
                    <a:pt x="807561" y="376113"/>
                  </a:lnTo>
                  <a:lnTo>
                    <a:pt x="775570" y="388001"/>
                  </a:lnTo>
                  <a:lnTo>
                    <a:pt x="729312" y="422370"/>
                  </a:lnTo>
                  <a:lnTo>
                    <a:pt x="620153" y="466250"/>
                  </a:lnTo>
                  <a:lnTo>
                    <a:pt x="585784" y="494674"/>
                  </a:lnTo>
                  <a:lnTo>
                    <a:pt x="582218" y="494674"/>
                  </a:lnTo>
                  <a:lnTo>
                    <a:pt x="541904" y="559954"/>
                  </a:lnTo>
                  <a:lnTo>
                    <a:pt x="519316" y="580164"/>
                  </a:lnTo>
                  <a:lnTo>
                    <a:pt x="507427" y="603942"/>
                  </a:lnTo>
                  <a:lnTo>
                    <a:pt x="506239" y="605130"/>
                  </a:lnTo>
                  <a:lnTo>
                    <a:pt x="443337" y="638310"/>
                  </a:lnTo>
                  <a:lnTo>
                    <a:pt x="413724" y="658521"/>
                  </a:lnTo>
                  <a:lnTo>
                    <a:pt x="403024" y="682298"/>
                  </a:lnTo>
                  <a:lnTo>
                    <a:pt x="369844" y="697753"/>
                  </a:lnTo>
                  <a:lnTo>
                    <a:pt x="366277" y="723800"/>
                  </a:lnTo>
                  <a:lnTo>
                    <a:pt x="373410" y="752333"/>
                  </a:lnTo>
                  <a:lnTo>
                    <a:pt x="391243" y="773732"/>
                  </a:lnTo>
                  <a:lnTo>
                    <a:pt x="385299" y="789188"/>
                  </a:lnTo>
                  <a:lnTo>
                    <a:pt x="384110" y="789188"/>
                  </a:lnTo>
                  <a:lnTo>
                    <a:pt x="369844" y="812965"/>
                  </a:lnTo>
                  <a:lnTo>
                    <a:pt x="334286" y="821287"/>
                  </a:lnTo>
                  <a:lnTo>
                    <a:pt x="298728" y="840201"/>
                  </a:lnTo>
                  <a:lnTo>
                    <a:pt x="271493" y="855656"/>
                  </a:lnTo>
                  <a:lnTo>
                    <a:pt x="210969" y="865167"/>
                  </a:lnTo>
                  <a:lnTo>
                    <a:pt x="168278" y="872300"/>
                  </a:lnTo>
                  <a:lnTo>
                    <a:pt x="167089" y="872300"/>
                  </a:lnTo>
                  <a:lnTo>
                    <a:pt x="152823" y="890133"/>
                  </a:lnTo>
                  <a:lnTo>
                    <a:pt x="150445" y="932824"/>
                  </a:lnTo>
                  <a:lnTo>
                    <a:pt x="148067" y="974326"/>
                  </a:lnTo>
                  <a:lnTo>
                    <a:pt x="142123" y="994537"/>
                  </a:lnTo>
                  <a:lnTo>
                    <a:pt x="168170" y="1072785"/>
                  </a:lnTo>
                  <a:lnTo>
                    <a:pt x="186003" y="1097751"/>
                  </a:lnTo>
                  <a:lnTo>
                    <a:pt x="215616" y="1113206"/>
                  </a:lnTo>
                  <a:lnTo>
                    <a:pt x="249985" y="1145198"/>
                  </a:lnTo>
                  <a:lnTo>
                    <a:pt x="265440" y="1164111"/>
                  </a:lnTo>
                  <a:lnTo>
                    <a:pt x="282084" y="1174811"/>
                  </a:lnTo>
                  <a:lnTo>
                    <a:pt x="299917" y="1187889"/>
                  </a:lnTo>
                  <a:lnTo>
                    <a:pt x="314184" y="1231768"/>
                  </a:lnTo>
                  <a:lnTo>
                    <a:pt x="296350" y="1314773"/>
                  </a:lnTo>
                  <a:lnTo>
                    <a:pt x="280895" y="1380052"/>
                  </a:lnTo>
                  <a:lnTo>
                    <a:pt x="257226" y="1326661"/>
                  </a:lnTo>
                  <a:lnTo>
                    <a:pt x="227613" y="1337361"/>
                  </a:lnTo>
                  <a:lnTo>
                    <a:pt x="234746" y="1319528"/>
                  </a:lnTo>
                  <a:lnTo>
                    <a:pt x="251390" y="1292292"/>
                  </a:lnTo>
                  <a:lnTo>
                    <a:pt x="264468" y="1272082"/>
                  </a:lnTo>
                  <a:lnTo>
                    <a:pt x="282300" y="1218691"/>
                  </a:lnTo>
                  <a:lnTo>
                    <a:pt x="241987" y="1203236"/>
                  </a:lnTo>
                  <a:lnTo>
                    <a:pt x="176816" y="1186592"/>
                  </a:lnTo>
                  <a:lnTo>
                    <a:pt x="151850" y="1158167"/>
                  </a:lnTo>
                  <a:lnTo>
                    <a:pt x="109159" y="1058519"/>
                  </a:lnTo>
                  <a:lnTo>
                    <a:pt x="98459" y="1020583"/>
                  </a:lnTo>
                  <a:lnTo>
                    <a:pt x="72412" y="1001670"/>
                  </a:lnTo>
                  <a:lnTo>
                    <a:pt x="49824" y="1004047"/>
                  </a:lnTo>
                  <a:lnTo>
                    <a:pt x="10700" y="1034850"/>
                  </a:lnTo>
                  <a:lnTo>
                    <a:pt x="0" y="1049116"/>
                  </a:lnTo>
                  <a:lnTo>
                    <a:pt x="24966" y="1072785"/>
                  </a:lnTo>
                  <a:lnTo>
                    <a:pt x="42799" y="1078729"/>
                  </a:lnTo>
                  <a:lnTo>
                    <a:pt x="17833" y="1092023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59" name="Полилиния: фигура 229"/>
            <p:cNvSpPr/>
            <p:nvPr/>
          </p:nvSpPr>
          <p:spPr bwMode="auto">
            <a:xfrm>
              <a:off x="3966934" y="3604877"/>
              <a:ext cx="1382321" cy="808857"/>
            </a:xfrm>
            <a:custGeom>
              <a:avLst/>
              <a:gdLst>
                <a:gd name="connsiteX0" fmla="*/ 187732 w 1382321"/>
                <a:gd name="connsiteY0" fmla="*/ 551416 h 808857"/>
                <a:gd name="connsiteX1" fmla="*/ 185354 w 1382321"/>
                <a:gd name="connsiteY1" fmla="*/ 596484 h 808857"/>
                <a:gd name="connsiteX2" fmla="*/ 193676 w 1382321"/>
                <a:gd name="connsiteY2" fmla="*/ 619072 h 808857"/>
                <a:gd name="connsiteX3" fmla="*/ 213887 w 1382321"/>
                <a:gd name="connsiteY3" fmla="*/ 645119 h 808857"/>
                <a:gd name="connsiteX4" fmla="*/ 216265 w 1382321"/>
                <a:gd name="connsiteY4" fmla="*/ 662952 h 808857"/>
                <a:gd name="connsiteX5" fmla="*/ 232909 w 1382321"/>
                <a:gd name="connsiteY5" fmla="*/ 677219 h 808857"/>
                <a:gd name="connsiteX6" fmla="*/ 234098 w 1382321"/>
                <a:gd name="connsiteY6" fmla="*/ 703266 h 808857"/>
                <a:gd name="connsiteX7" fmla="*/ 251930 w 1382321"/>
                <a:gd name="connsiteY7" fmla="*/ 727043 h 808857"/>
                <a:gd name="connsiteX8" fmla="*/ 281544 w 1382321"/>
                <a:gd name="connsiteY8" fmla="*/ 732987 h 808857"/>
                <a:gd name="connsiteX9" fmla="*/ 298188 w 1382321"/>
                <a:gd name="connsiteY9" fmla="*/ 762600 h 808857"/>
                <a:gd name="connsiteX10" fmla="*/ 345634 w 1382321"/>
                <a:gd name="connsiteY10" fmla="*/ 808858 h 808857"/>
                <a:gd name="connsiteX11" fmla="*/ 356334 w 1382321"/>
                <a:gd name="connsiteY11" fmla="*/ 804102 h 808857"/>
                <a:gd name="connsiteX12" fmla="*/ 383570 w 1382321"/>
                <a:gd name="connsiteY12" fmla="*/ 796970 h 808857"/>
                <a:gd name="connsiteX13" fmla="*/ 447660 w 1382321"/>
                <a:gd name="connsiteY13" fmla="*/ 741201 h 808857"/>
                <a:gd name="connsiteX14" fmla="*/ 451227 w 1382321"/>
                <a:gd name="connsiteY14" fmla="*/ 720991 h 808857"/>
                <a:gd name="connsiteX15" fmla="*/ 476193 w 1382321"/>
                <a:gd name="connsiteY15" fmla="*/ 704346 h 808857"/>
                <a:gd name="connsiteX16" fmla="*/ 501051 w 1382321"/>
                <a:gd name="connsiteY16" fmla="*/ 704346 h 808857"/>
                <a:gd name="connsiteX17" fmla="*/ 511751 w 1382321"/>
                <a:gd name="connsiteY17" fmla="*/ 685325 h 808857"/>
                <a:gd name="connsiteX18" fmla="*/ 510562 w 1382321"/>
                <a:gd name="connsiteY18" fmla="*/ 666411 h 808857"/>
                <a:gd name="connsiteX19" fmla="*/ 531961 w 1382321"/>
                <a:gd name="connsiteY19" fmla="*/ 667600 h 808857"/>
                <a:gd name="connsiteX20" fmla="*/ 550875 w 1382321"/>
                <a:gd name="connsiteY20" fmla="*/ 679488 h 808857"/>
                <a:gd name="connsiteX21" fmla="*/ 623287 w 1382321"/>
                <a:gd name="connsiteY21" fmla="*/ 679488 h 808857"/>
                <a:gd name="connsiteX22" fmla="*/ 656468 w 1382321"/>
                <a:gd name="connsiteY22" fmla="*/ 697321 h 808857"/>
                <a:gd name="connsiteX23" fmla="*/ 669545 w 1382321"/>
                <a:gd name="connsiteY23" fmla="*/ 713965 h 808857"/>
                <a:gd name="connsiteX24" fmla="*/ 682623 w 1382321"/>
                <a:gd name="connsiteY24" fmla="*/ 732879 h 808857"/>
                <a:gd name="connsiteX25" fmla="*/ 688567 w 1382321"/>
                <a:gd name="connsiteY25" fmla="*/ 750712 h 808857"/>
                <a:gd name="connsiteX26" fmla="*/ 702833 w 1382321"/>
                <a:gd name="connsiteY26" fmla="*/ 760223 h 808857"/>
                <a:gd name="connsiteX27" fmla="*/ 715911 w 1382321"/>
                <a:gd name="connsiteY27" fmla="*/ 770923 h 808857"/>
                <a:gd name="connsiteX28" fmla="*/ 718288 w 1382321"/>
                <a:gd name="connsiteY28" fmla="*/ 788647 h 808857"/>
                <a:gd name="connsiteX29" fmla="*/ 809614 w 1382321"/>
                <a:gd name="connsiteY29" fmla="*/ 788647 h 808857"/>
                <a:gd name="connsiteX30" fmla="*/ 825070 w 1382321"/>
                <a:gd name="connsiteY30" fmla="*/ 796970 h 808857"/>
                <a:gd name="connsiteX31" fmla="*/ 846469 w 1382321"/>
                <a:gd name="connsiteY31" fmla="*/ 775570 h 808857"/>
                <a:gd name="connsiteX32" fmla="*/ 861925 w 1382321"/>
                <a:gd name="connsiteY32" fmla="*/ 755359 h 808857"/>
                <a:gd name="connsiteX33" fmla="*/ 866680 w 1382321"/>
                <a:gd name="connsiteY33" fmla="*/ 719802 h 808857"/>
                <a:gd name="connsiteX34" fmla="*/ 889268 w 1382321"/>
                <a:gd name="connsiteY34" fmla="*/ 705535 h 808857"/>
                <a:gd name="connsiteX35" fmla="*/ 903534 w 1382321"/>
                <a:gd name="connsiteY35" fmla="*/ 697213 h 808857"/>
                <a:gd name="connsiteX36" fmla="*/ 911857 w 1382321"/>
                <a:gd name="connsiteY36" fmla="*/ 673436 h 808857"/>
                <a:gd name="connsiteX37" fmla="*/ 909479 w 1382321"/>
                <a:gd name="connsiteY37" fmla="*/ 617667 h 808857"/>
                <a:gd name="connsiteX38" fmla="*/ 921368 w 1382321"/>
                <a:gd name="connsiteY38" fmla="*/ 603401 h 808857"/>
                <a:gd name="connsiteX39" fmla="*/ 920179 w 1382321"/>
                <a:gd name="connsiteY39" fmla="*/ 585568 h 808857"/>
                <a:gd name="connsiteX40" fmla="*/ 947414 w 1382321"/>
                <a:gd name="connsiteY40" fmla="*/ 567735 h 808857"/>
                <a:gd name="connsiteX41" fmla="*/ 988917 w 1382321"/>
                <a:gd name="connsiteY41" fmla="*/ 568924 h 808857"/>
                <a:gd name="connsiteX42" fmla="*/ 1038740 w 1382321"/>
                <a:gd name="connsiteY42" fmla="*/ 584379 h 808857"/>
                <a:gd name="connsiteX43" fmla="*/ 1122501 w 1382321"/>
                <a:gd name="connsiteY43" fmla="*/ 584379 h 808857"/>
                <a:gd name="connsiteX44" fmla="*/ 1165192 w 1382321"/>
                <a:gd name="connsiteY44" fmla="*/ 584379 h 808857"/>
                <a:gd name="connsiteX45" fmla="*/ 1190050 w 1382321"/>
                <a:gd name="connsiteY45" fmla="*/ 598646 h 808857"/>
                <a:gd name="connsiteX46" fmla="*/ 1191239 w 1382321"/>
                <a:gd name="connsiteY46" fmla="*/ 598646 h 808857"/>
                <a:gd name="connsiteX47" fmla="*/ 1199561 w 1382321"/>
                <a:gd name="connsiteY47" fmla="*/ 596268 h 808857"/>
                <a:gd name="connsiteX48" fmla="*/ 1225608 w 1382321"/>
                <a:gd name="connsiteY48" fmla="*/ 572491 h 808857"/>
                <a:gd name="connsiteX49" fmla="*/ 1242252 w 1382321"/>
                <a:gd name="connsiteY49" fmla="*/ 557036 h 808857"/>
                <a:gd name="connsiteX50" fmla="*/ 1288509 w 1382321"/>
                <a:gd name="connsiteY50" fmla="*/ 557036 h 808857"/>
                <a:gd name="connsiteX51" fmla="*/ 1308720 w 1382321"/>
                <a:gd name="connsiteY51" fmla="*/ 572491 h 808857"/>
                <a:gd name="connsiteX52" fmla="*/ 1317042 w 1382321"/>
                <a:gd name="connsiteY52" fmla="*/ 554766 h 808857"/>
                <a:gd name="connsiteX53" fmla="*/ 1344278 w 1382321"/>
                <a:gd name="connsiteY53" fmla="*/ 544066 h 808857"/>
                <a:gd name="connsiteX54" fmla="*/ 1365677 w 1382321"/>
                <a:gd name="connsiteY54" fmla="*/ 535744 h 808857"/>
                <a:gd name="connsiteX55" fmla="*/ 1382321 w 1382321"/>
                <a:gd name="connsiteY55" fmla="*/ 514345 h 808857"/>
                <a:gd name="connsiteX56" fmla="*/ 1382321 w 1382321"/>
                <a:gd name="connsiteY56" fmla="*/ 476409 h 808857"/>
                <a:gd name="connsiteX57" fmla="*/ 1366866 w 1382321"/>
                <a:gd name="connsiteY57" fmla="*/ 460954 h 808857"/>
                <a:gd name="connsiteX58" fmla="*/ 1340819 w 1382321"/>
                <a:gd name="connsiteY58" fmla="*/ 436096 h 808857"/>
                <a:gd name="connsiteX59" fmla="*/ 1327742 w 1382321"/>
                <a:gd name="connsiteY59" fmla="*/ 423019 h 808857"/>
                <a:gd name="connsiteX60" fmla="*/ 1326553 w 1382321"/>
                <a:gd name="connsiteY60" fmla="*/ 405186 h 808857"/>
                <a:gd name="connsiteX61" fmla="*/ 1302776 w 1382321"/>
                <a:gd name="connsiteY61" fmla="*/ 406374 h 808857"/>
                <a:gd name="connsiteX62" fmla="*/ 1289698 w 1382321"/>
                <a:gd name="connsiteY62" fmla="*/ 417074 h 808857"/>
                <a:gd name="connsiteX63" fmla="*/ 1267110 w 1382321"/>
                <a:gd name="connsiteY63" fmla="*/ 417074 h 808857"/>
                <a:gd name="connsiteX64" fmla="*/ 1255221 w 1382321"/>
                <a:gd name="connsiteY64" fmla="*/ 401619 h 808857"/>
                <a:gd name="connsiteX65" fmla="*/ 1231552 w 1382321"/>
                <a:gd name="connsiteY65" fmla="*/ 373194 h 808857"/>
                <a:gd name="connsiteX66" fmla="*/ 1201939 w 1382321"/>
                <a:gd name="connsiteY66" fmla="*/ 349417 h 808857"/>
                <a:gd name="connsiteX67" fmla="*/ 1165192 w 1382321"/>
                <a:gd name="connsiteY67" fmla="*/ 350606 h 808857"/>
                <a:gd name="connsiteX68" fmla="*/ 1150926 w 1382321"/>
                <a:gd name="connsiteY68" fmla="*/ 319804 h 808857"/>
                <a:gd name="connsiteX69" fmla="*/ 1137848 w 1382321"/>
                <a:gd name="connsiteY69" fmla="*/ 310293 h 808857"/>
                <a:gd name="connsiteX70" fmla="*/ 1122393 w 1382321"/>
                <a:gd name="connsiteY70" fmla="*/ 317426 h 808857"/>
                <a:gd name="connsiteX71" fmla="*/ 1106938 w 1382321"/>
                <a:gd name="connsiteY71" fmla="*/ 332881 h 808857"/>
                <a:gd name="connsiteX72" fmla="*/ 1089105 w 1382321"/>
                <a:gd name="connsiteY72" fmla="*/ 343581 h 808857"/>
                <a:gd name="connsiteX73" fmla="*/ 1076028 w 1382321"/>
                <a:gd name="connsiteY73" fmla="*/ 369628 h 808857"/>
                <a:gd name="connsiteX74" fmla="*/ 1040470 w 1382321"/>
                <a:gd name="connsiteY74" fmla="*/ 377950 h 808857"/>
                <a:gd name="connsiteX75" fmla="*/ 998968 w 1382321"/>
                <a:gd name="connsiteY75" fmla="*/ 377950 h 808857"/>
                <a:gd name="connsiteX76" fmla="*/ 942010 w 1382321"/>
                <a:gd name="connsiteY76" fmla="*/ 369628 h 808857"/>
                <a:gd name="connsiteX77" fmla="*/ 926555 w 1382321"/>
                <a:gd name="connsiteY77" fmla="*/ 360117 h 808857"/>
                <a:gd name="connsiteX78" fmla="*/ 901697 w 1382321"/>
                <a:gd name="connsiteY78" fmla="*/ 332881 h 808857"/>
                <a:gd name="connsiteX79" fmla="*/ 851873 w 1382321"/>
                <a:gd name="connsiteY79" fmla="*/ 332881 h 808857"/>
                <a:gd name="connsiteX80" fmla="*/ 831662 w 1382321"/>
                <a:gd name="connsiteY80" fmla="*/ 318615 h 808857"/>
                <a:gd name="connsiteX81" fmla="*/ 800860 w 1382321"/>
                <a:gd name="connsiteY81" fmla="*/ 311482 h 808857"/>
                <a:gd name="connsiteX82" fmla="*/ 759358 w 1382321"/>
                <a:gd name="connsiteY82" fmla="*/ 293649 h 808857"/>
                <a:gd name="connsiteX83" fmla="*/ 733419 w 1382321"/>
                <a:gd name="connsiteY83" fmla="*/ 284462 h 808857"/>
                <a:gd name="connsiteX84" fmla="*/ 700239 w 1382321"/>
                <a:gd name="connsiteY84" fmla="*/ 285651 h 808857"/>
                <a:gd name="connsiteX85" fmla="*/ 685973 w 1382321"/>
                <a:gd name="connsiteY85" fmla="*/ 296351 h 808857"/>
                <a:gd name="connsiteX86" fmla="*/ 674084 w 1382321"/>
                <a:gd name="connsiteY86" fmla="*/ 316561 h 808857"/>
                <a:gd name="connsiteX87" fmla="*/ 659818 w 1382321"/>
                <a:gd name="connsiteY87" fmla="*/ 330828 h 808857"/>
                <a:gd name="connsiteX88" fmla="*/ 643174 w 1382321"/>
                <a:gd name="connsiteY88" fmla="*/ 297648 h 808857"/>
                <a:gd name="connsiteX89" fmla="*/ 632474 w 1382321"/>
                <a:gd name="connsiteY89" fmla="*/ 252579 h 808857"/>
                <a:gd name="connsiteX90" fmla="*/ 607616 w 1382321"/>
                <a:gd name="connsiteY90" fmla="*/ 239502 h 808857"/>
                <a:gd name="connsiteX91" fmla="*/ 600483 w 1382321"/>
                <a:gd name="connsiteY91" fmla="*/ 212266 h 808857"/>
                <a:gd name="connsiteX92" fmla="*/ 595727 w 1382321"/>
                <a:gd name="connsiteY92" fmla="*/ 188489 h 808857"/>
                <a:gd name="connsiteX93" fmla="*/ 558981 w 1382321"/>
                <a:gd name="connsiteY93" fmla="*/ 182544 h 808857"/>
                <a:gd name="connsiteX94" fmla="*/ 537581 w 1382321"/>
                <a:gd name="connsiteY94" fmla="*/ 152931 h 808857"/>
                <a:gd name="connsiteX95" fmla="*/ 516182 w 1382321"/>
                <a:gd name="connsiteY95" fmla="*/ 156497 h 808857"/>
                <a:gd name="connsiteX96" fmla="*/ 509049 w 1382321"/>
                <a:gd name="connsiteY96" fmla="*/ 164819 h 808857"/>
                <a:gd name="connsiteX97" fmla="*/ 466358 w 1382321"/>
                <a:gd name="connsiteY97" fmla="*/ 173142 h 808857"/>
                <a:gd name="connsiteX98" fmla="*/ 453280 w 1382321"/>
                <a:gd name="connsiteY98" fmla="*/ 175519 h 808857"/>
                <a:gd name="connsiteX99" fmla="*/ 441392 w 1382321"/>
                <a:gd name="connsiteY99" fmla="*/ 183841 h 808857"/>
                <a:gd name="connsiteX100" fmla="*/ 415345 w 1382321"/>
                <a:gd name="connsiteY100" fmla="*/ 185030 h 808857"/>
                <a:gd name="connsiteX101" fmla="*/ 414156 w 1382321"/>
                <a:gd name="connsiteY101" fmla="*/ 183841 h 808857"/>
                <a:gd name="connsiteX102" fmla="*/ 391568 w 1382321"/>
                <a:gd name="connsiteY102" fmla="*/ 170764 h 808857"/>
                <a:gd name="connsiteX103" fmla="*/ 389190 w 1382321"/>
                <a:gd name="connsiteY103" fmla="*/ 144717 h 808857"/>
                <a:gd name="connsiteX104" fmla="*/ 297864 w 1382321"/>
                <a:gd name="connsiteY104" fmla="*/ 145906 h 808857"/>
                <a:gd name="connsiteX105" fmla="*/ 271817 w 1382321"/>
                <a:gd name="connsiteY105" fmla="*/ 155417 h 808857"/>
                <a:gd name="connsiteX106" fmla="*/ 232693 w 1382321"/>
                <a:gd name="connsiteY106" fmla="*/ 160172 h 808857"/>
                <a:gd name="connsiteX107" fmla="*/ 213671 w 1382321"/>
                <a:gd name="connsiteY107" fmla="*/ 156606 h 808857"/>
                <a:gd name="connsiteX108" fmla="*/ 195946 w 1382321"/>
                <a:gd name="connsiteY108" fmla="*/ 142339 h 808857"/>
                <a:gd name="connsiteX109" fmla="*/ 173358 w 1382321"/>
                <a:gd name="connsiteY109" fmla="*/ 139962 h 808857"/>
                <a:gd name="connsiteX110" fmla="*/ 170980 w 1382321"/>
                <a:gd name="connsiteY110" fmla="*/ 111429 h 808857"/>
                <a:gd name="connsiteX111" fmla="*/ 178113 w 1382321"/>
                <a:gd name="connsiteY111" fmla="*/ 86571 h 808857"/>
                <a:gd name="connsiteX112" fmla="*/ 186435 w 1382321"/>
                <a:gd name="connsiteY112" fmla="*/ 62902 h 808857"/>
                <a:gd name="connsiteX113" fmla="*/ 175735 w 1382321"/>
                <a:gd name="connsiteY113" fmla="*/ 35666 h 808857"/>
                <a:gd name="connsiteX114" fmla="*/ 155525 w 1382321"/>
                <a:gd name="connsiteY114" fmla="*/ 15455 h 808857"/>
                <a:gd name="connsiteX115" fmla="*/ 136503 w 1382321"/>
                <a:gd name="connsiteY115" fmla="*/ 0 h 808857"/>
                <a:gd name="connsiteX116" fmla="*/ 128181 w 1382321"/>
                <a:gd name="connsiteY116" fmla="*/ 21400 h 808857"/>
                <a:gd name="connsiteX117" fmla="*/ 102134 w 1382321"/>
                <a:gd name="connsiteY117" fmla="*/ 38044 h 808857"/>
                <a:gd name="connsiteX118" fmla="*/ 89057 w 1382321"/>
                <a:gd name="connsiteY118" fmla="*/ 66576 h 808857"/>
                <a:gd name="connsiteX119" fmla="*/ 73601 w 1382321"/>
                <a:gd name="connsiteY119" fmla="*/ 84409 h 808857"/>
                <a:gd name="connsiteX120" fmla="*/ 39232 w 1382321"/>
                <a:gd name="connsiteY120" fmla="*/ 91542 h 808857"/>
                <a:gd name="connsiteX121" fmla="*/ 24966 w 1382321"/>
                <a:gd name="connsiteY121" fmla="*/ 116401 h 808857"/>
                <a:gd name="connsiteX122" fmla="*/ 7133 w 1382321"/>
                <a:gd name="connsiteY122" fmla="*/ 185246 h 808857"/>
                <a:gd name="connsiteX123" fmla="*/ 1189 w 1382321"/>
                <a:gd name="connsiteY123" fmla="*/ 304997 h 808857"/>
                <a:gd name="connsiteX124" fmla="*/ 11889 w 1382321"/>
                <a:gd name="connsiteY124" fmla="*/ 335799 h 808857"/>
                <a:gd name="connsiteX125" fmla="*/ 0 w 1382321"/>
                <a:gd name="connsiteY125" fmla="*/ 359577 h 808857"/>
                <a:gd name="connsiteX126" fmla="*/ 2378 w 1382321"/>
                <a:gd name="connsiteY126" fmla="*/ 471113 h 808857"/>
                <a:gd name="connsiteX127" fmla="*/ 78249 w 1382321"/>
                <a:gd name="connsiteY127" fmla="*/ 472302 h 808857"/>
                <a:gd name="connsiteX128" fmla="*/ 111429 w 1382321"/>
                <a:gd name="connsiteY128" fmla="*/ 493702 h 808857"/>
                <a:gd name="connsiteX129" fmla="*/ 130451 w 1382321"/>
                <a:gd name="connsiteY129" fmla="*/ 520938 h 808857"/>
                <a:gd name="connsiteX130" fmla="*/ 157686 w 1382321"/>
                <a:gd name="connsiteY130" fmla="*/ 519748 h 808857"/>
                <a:gd name="connsiteX131" fmla="*/ 187732 w 1382321"/>
                <a:gd name="connsiteY131" fmla="*/ 551416 h 80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1382321" h="808857" extrusionOk="0">
                  <a:moveTo>
                    <a:pt x="187732" y="551416"/>
                  </a:moveTo>
                  <a:lnTo>
                    <a:pt x="185354" y="596484"/>
                  </a:lnTo>
                  <a:lnTo>
                    <a:pt x="193676" y="619072"/>
                  </a:lnTo>
                  <a:lnTo>
                    <a:pt x="213887" y="645119"/>
                  </a:lnTo>
                  <a:lnTo>
                    <a:pt x="216265" y="662952"/>
                  </a:lnTo>
                  <a:lnTo>
                    <a:pt x="232909" y="677219"/>
                  </a:lnTo>
                  <a:lnTo>
                    <a:pt x="234098" y="703266"/>
                  </a:lnTo>
                  <a:lnTo>
                    <a:pt x="251930" y="727043"/>
                  </a:lnTo>
                  <a:lnTo>
                    <a:pt x="281544" y="732987"/>
                  </a:lnTo>
                  <a:lnTo>
                    <a:pt x="298188" y="762600"/>
                  </a:lnTo>
                  <a:lnTo>
                    <a:pt x="345634" y="808858"/>
                  </a:lnTo>
                  <a:lnTo>
                    <a:pt x="356334" y="804102"/>
                  </a:lnTo>
                  <a:lnTo>
                    <a:pt x="383570" y="796970"/>
                  </a:lnTo>
                  <a:lnTo>
                    <a:pt x="447660" y="741201"/>
                  </a:lnTo>
                  <a:lnTo>
                    <a:pt x="451227" y="720991"/>
                  </a:lnTo>
                  <a:lnTo>
                    <a:pt x="476193" y="704346"/>
                  </a:lnTo>
                  <a:lnTo>
                    <a:pt x="501051" y="704346"/>
                  </a:lnTo>
                  <a:lnTo>
                    <a:pt x="511751" y="685325"/>
                  </a:lnTo>
                  <a:lnTo>
                    <a:pt x="510562" y="666411"/>
                  </a:lnTo>
                  <a:lnTo>
                    <a:pt x="531961" y="667600"/>
                  </a:lnTo>
                  <a:lnTo>
                    <a:pt x="550875" y="679488"/>
                  </a:lnTo>
                  <a:lnTo>
                    <a:pt x="623287" y="679488"/>
                  </a:lnTo>
                  <a:lnTo>
                    <a:pt x="656468" y="697321"/>
                  </a:lnTo>
                  <a:lnTo>
                    <a:pt x="669545" y="713965"/>
                  </a:lnTo>
                  <a:lnTo>
                    <a:pt x="682623" y="732879"/>
                  </a:lnTo>
                  <a:lnTo>
                    <a:pt x="688567" y="750712"/>
                  </a:lnTo>
                  <a:lnTo>
                    <a:pt x="702833" y="760223"/>
                  </a:lnTo>
                  <a:lnTo>
                    <a:pt x="715911" y="770923"/>
                  </a:lnTo>
                  <a:lnTo>
                    <a:pt x="718288" y="788647"/>
                  </a:lnTo>
                  <a:lnTo>
                    <a:pt x="809614" y="788647"/>
                  </a:lnTo>
                  <a:lnTo>
                    <a:pt x="825070" y="796970"/>
                  </a:lnTo>
                  <a:lnTo>
                    <a:pt x="846469" y="775570"/>
                  </a:lnTo>
                  <a:lnTo>
                    <a:pt x="861925" y="755359"/>
                  </a:lnTo>
                  <a:lnTo>
                    <a:pt x="866680" y="719802"/>
                  </a:lnTo>
                  <a:lnTo>
                    <a:pt x="889268" y="705535"/>
                  </a:lnTo>
                  <a:lnTo>
                    <a:pt x="903534" y="697213"/>
                  </a:lnTo>
                  <a:lnTo>
                    <a:pt x="911857" y="673436"/>
                  </a:lnTo>
                  <a:lnTo>
                    <a:pt x="909479" y="617667"/>
                  </a:lnTo>
                  <a:lnTo>
                    <a:pt x="921368" y="603401"/>
                  </a:lnTo>
                  <a:lnTo>
                    <a:pt x="920179" y="585568"/>
                  </a:lnTo>
                  <a:lnTo>
                    <a:pt x="947414" y="567735"/>
                  </a:lnTo>
                  <a:lnTo>
                    <a:pt x="988917" y="568924"/>
                  </a:lnTo>
                  <a:lnTo>
                    <a:pt x="1038740" y="584379"/>
                  </a:lnTo>
                  <a:lnTo>
                    <a:pt x="1122501" y="584379"/>
                  </a:lnTo>
                  <a:lnTo>
                    <a:pt x="1165192" y="584379"/>
                  </a:lnTo>
                  <a:lnTo>
                    <a:pt x="1190050" y="598646"/>
                  </a:lnTo>
                  <a:lnTo>
                    <a:pt x="1191239" y="598646"/>
                  </a:lnTo>
                  <a:lnTo>
                    <a:pt x="1199561" y="596268"/>
                  </a:lnTo>
                  <a:lnTo>
                    <a:pt x="1225608" y="572491"/>
                  </a:lnTo>
                  <a:lnTo>
                    <a:pt x="1242252" y="557036"/>
                  </a:lnTo>
                  <a:lnTo>
                    <a:pt x="1288509" y="557036"/>
                  </a:lnTo>
                  <a:lnTo>
                    <a:pt x="1308720" y="572491"/>
                  </a:lnTo>
                  <a:lnTo>
                    <a:pt x="1317042" y="554766"/>
                  </a:lnTo>
                  <a:lnTo>
                    <a:pt x="1344278" y="544066"/>
                  </a:lnTo>
                  <a:lnTo>
                    <a:pt x="1365677" y="535744"/>
                  </a:lnTo>
                  <a:lnTo>
                    <a:pt x="1382321" y="514345"/>
                  </a:lnTo>
                  <a:lnTo>
                    <a:pt x="1382321" y="476409"/>
                  </a:lnTo>
                  <a:lnTo>
                    <a:pt x="1366866" y="460954"/>
                  </a:lnTo>
                  <a:lnTo>
                    <a:pt x="1340819" y="436096"/>
                  </a:lnTo>
                  <a:lnTo>
                    <a:pt x="1327742" y="423019"/>
                  </a:lnTo>
                  <a:lnTo>
                    <a:pt x="1326553" y="405186"/>
                  </a:lnTo>
                  <a:lnTo>
                    <a:pt x="1302776" y="406374"/>
                  </a:lnTo>
                  <a:lnTo>
                    <a:pt x="1289698" y="417074"/>
                  </a:lnTo>
                  <a:lnTo>
                    <a:pt x="1267110" y="417074"/>
                  </a:lnTo>
                  <a:lnTo>
                    <a:pt x="1255221" y="401619"/>
                  </a:lnTo>
                  <a:lnTo>
                    <a:pt x="1231552" y="373194"/>
                  </a:lnTo>
                  <a:lnTo>
                    <a:pt x="1201939" y="349417"/>
                  </a:lnTo>
                  <a:lnTo>
                    <a:pt x="1165192" y="350606"/>
                  </a:lnTo>
                  <a:lnTo>
                    <a:pt x="1150926" y="319804"/>
                  </a:lnTo>
                  <a:lnTo>
                    <a:pt x="1137848" y="310293"/>
                  </a:lnTo>
                  <a:lnTo>
                    <a:pt x="1122393" y="317426"/>
                  </a:lnTo>
                  <a:lnTo>
                    <a:pt x="1106938" y="332881"/>
                  </a:lnTo>
                  <a:lnTo>
                    <a:pt x="1089105" y="343581"/>
                  </a:lnTo>
                  <a:lnTo>
                    <a:pt x="1076028" y="369628"/>
                  </a:lnTo>
                  <a:lnTo>
                    <a:pt x="1040470" y="377950"/>
                  </a:lnTo>
                  <a:lnTo>
                    <a:pt x="998968" y="377950"/>
                  </a:lnTo>
                  <a:lnTo>
                    <a:pt x="942010" y="369628"/>
                  </a:lnTo>
                  <a:lnTo>
                    <a:pt x="926555" y="360117"/>
                  </a:lnTo>
                  <a:lnTo>
                    <a:pt x="901697" y="332881"/>
                  </a:lnTo>
                  <a:lnTo>
                    <a:pt x="851873" y="332881"/>
                  </a:lnTo>
                  <a:lnTo>
                    <a:pt x="831662" y="318615"/>
                  </a:lnTo>
                  <a:lnTo>
                    <a:pt x="800860" y="311482"/>
                  </a:lnTo>
                  <a:lnTo>
                    <a:pt x="759358" y="293649"/>
                  </a:lnTo>
                  <a:lnTo>
                    <a:pt x="733419" y="284462"/>
                  </a:lnTo>
                  <a:lnTo>
                    <a:pt x="700239" y="285651"/>
                  </a:lnTo>
                  <a:lnTo>
                    <a:pt x="685973" y="296351"/>
                  </a:lnTo>
                  <a:lnTo>
                    <a:pt x="674084" y="316561"/>
                  </a:lnTo>
                  <a:lnTo>
                    <a:pt x="659818" y="330828"/>
                  </a:lnTo>
                  <a:lnTo>
                    <a:pt x="643174" y="297648"/>
                  </a:lnTo>
                  <a:lnTo>
                    <a:pt x="632474" y="252579"/>
                  </a:lnTo>
                  <a:lnTo>
                    <a:pt x="607616" y="239502"/>
                  </a:lnTo>
                  <a:lnTo>
                    <a:pt x="600483" y="212266"/>
                  </a:lnTo>
                  <a:lnTo>
                    <a:pt x="595727" y="188489"/>
                  </a:lnTo>
                  <a:lnTo>
                    <a:pt x="558981" y="182544"/>
                  </a:lnTo>
                  <a:lnTo>
                    <a:pt x="537581" y="152931"/>
                  </a:lnTo>
                  <a:lnTo>
                    <a:pt x="516182" y="156497"/>
                  </a:lnTo>
                  <a:lnTo>
                    <a:pt x="509049" y="164819"/>
                  </a:lnTo>
                  <a:lnTo>
                    <a:pt x="466358" y="173142"/>
                  </a:lnTo>
                  <a:lnTo>
                    <a:pt x="453280" y="175519"/>
                  </a:lnTo>
                  <a:lnTo>
                    <a:pt x="441392" y="183841"/>
                  </a:lnTo>
                  <a:lnTo>
                    <a:pt x="415345" y="185030"/>
                  </a:lnTo>
                  <a:lnTo>
                    <a:pt x="414156" y="183841"/>
                  </a:lnTo>
                  <a:lnTo>
                    <a:pt x="391568" y="170764"/>
                  </a:lnTo>
                  <a:lnTo>
                    <a:pt x="389190" y="144717"/>
                  </a:lnTo>
                  <a:lnTo>
                    <a:pt x="297864" y="145906"/>
                  </a:lnTo>
                  <a:lnTo>
                    <a:pt x="271817" y="155417"/>
                  </a:lnTo>
                  <a:lnTo>
                    <a:pt x="232693" y="160172"/>
                  </a:lnTo>
                  <a:lnTo>
                    <a:pt x="213671" y="156606"/>
                  </a:lnTo>
                  <a:lnTo>
                    <a:pt x="195946" y="142339"/>
                  </a:lnTo>
                  <a:lnTo>
                    <a:pt x="173358" y="139962"/>
                  </a:lnTo>
                  <a:lnTo>
                    <a:pt x="170980" y="111429"/>
                  </a:lnTo>
                  <a:lnTo>
                    <a:pt x="178113" y="86571"/>
                  </a:lnTo>
                  <a:lnTo>
                    <a:pt x="186435" y="62902"/>
                  </a:lnTo>
                  <a:lnTo>
                    <a:pt x="175735" y="35666"/>
                  </a:lnTo>
                  <a:lnTo>
                    <a:pt x="155525" y="15455"/>
                  </a:lnTo>
                  <a:lnTo>
                    <a:pt x="136503" y="0"/>
                  </a:lnTo>
                  <a:lnTo>
                    <a:pt x="128181" y="21400"/>
                  </a:lnTo>
                  <a:lnTo>
                    <a:pt x="102134" y="38044"/>
                  </a:lnTo>
                  <a:lnTo>
                    <a:pt x="89057" y="66576"/>
                  </a:lnTo>
                  <a:lnTo>
                    <a:pt x="73601" y="84409"/>
                  </a:lnTo>
                  <a:lnTo>
                    <a:pt x="39232" y="91542"/>
                  </a:lnTo>
                  <a:lnTo>
                    <a:pt x="24966" y="116401"/>
                  </a:lnTo>
                  <a:lnTo>
                    <a:pt x="7133" y="185246"/>
                  </a:lnTo>
                  <a:lnTo>
                    <a:pt x="1189" y="304997"/>
                  </a:lnTo>
                  <a:lnTo>
                    <a:pt x="11889" y="335799"/>
                  </a:lnTo>
                  <a:lnTo>
                    <a:pt x="0" y="359577"/>
                  </a:lnTo>
                  <a:lnTo>
                    <a:pt x="2378" y="471113"/>
                  </a:lnTo>
                  <a:lnTo>
                    <a:pt x="78249" y="472302"/>
                  </a:lnTo>
                  <a:lnTo>
                    <a:pt x="111429" y="493702"/>
                  </a:lnTo>
                  <a:lnTo>
                    <a:pt x="130451" y="520938"/>
                  </a:lnTo>
                  <a:lnTo>
                    <a:pt x="157686" y="519748"/>
                  </a:lnTo>
                  <a:lnTo>
                    <a:pt x="187732" y="551416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0" name="Полилиния: фигура 230"/>
            <p:cNvSpPr/>
            <p:nvPr/>
          </p:nvSpPr>
          <p:spPr bwMode="auto">
            <a:xfrm>
              <a:off x="4103545" y="2506695"/>
              <a:ext cx="1268190" cy="1518067"/>
            </a:xfrm>
            <a:custGeom>
              <a:avLst/>
              <a:gdLst>
                <a:gd name="connsiteX0" fmla="*/ 1227878 w 1268190"/>
                <a:gd name="connsiteY0" fmla="*/ 1331741 h 1518067"/>
                <a:gd name="connsiteX1" fmla="*/ 1227878 w 1268190"/>
                <a:gd name="connsiteY1" fmla="*/ 1386320 h 1518067"/>
                <a:gd name="connsiteX2" fmla="*/ 1253924 w 1268190"/>
                <a:gd name="connsiteY2" fmla="*/ 1417123 h 1518067"/>
                <a:gd name="connsiteX3" fmla="*/ 1255113 w 1268190"/>
                <a:gd name="connsiteY3" fmla="*/ 1432578 h 1518067"/>
                <a:gd name="connsiteX4" fmla="*/ 1232525 w 1268190"/>
                <a:gd name="connsiteY4" fmla="*/ 1457436 h 1518067"/>
                <a:gd name="connsiteX5" fmla="*/ 1221825 w 1268190"/>
                <a:gd name="connsiteY5" fmla="*/ 1457436 h 1518067"/>
                <a:gd name="connsiteX6" fmla="*/ 1199345 w 1268190"/>
                <a:gd name="connsiteY6" fmla="*/ 1472891 h 1518067"/>
                <a:gd name="connsiteX7" fmla="*/ 1191023 w 1268190"/>
                <a:gd name="connsiteY7" fmla="*/ 1483591 h 1518067"/>
                <a:gd name="connsiteX8" fmla="*/ 1189834 w 1268190"/>
                <a:gd name="connsiteY8" fmla="*/ 1506179 h 1518067"/>
                <a:gd name="connsiteX9" fmla="*/ 1168435 w 1268190"/>
                <a:gd name="connsiteY9" fmla="*/ 1504990 h 1518067"/>
                <a:gd name="connsiteX10" fmla="*/ 1154168 w 1268190"/>
                <a:gd name="connsiteY10" fmla="*/ 1515690 h 1518067"/>
                <a:gd name="connsiteX11" fmla="*/ 1132769 w 1268190"/>
                <a:gd name="connsiteY11" fmla="*/ 1518068 h 1518067"/>
                <a:gd name="connsiteX12" fmla="*/ 1096022 w 1268190"/>
                <a:gd name="connsiteY12" fmla="*/ 1472999 h 1518067"/>
                <a:gd name="connsiteX13" fmla="*/ 1065220 w 1268190"/>
                <a:gd name="connsiteY13" fmla="*/ 1448141 h 1518067"/>
                <a:gd name="connsiteX14" fmla="*/ 1028473 w 1268190"/>
                <a:gd name="connsiteY14" fmla="*/ 1449330 h 1518067"/>
                <a:gd name="connsiteX15" fmla="*/ 1013018 w 1268190"/>
                <a:gd name="connsiteY15" fmla="*/ 1418528 h 1518067"/>
                <a:gd name="connsiteX16" fmla="*/ 999940 w 1268190"/>
                <a:gd name="connsiteY16" fmla="*/ 1407828 h 1518067"/>
                <a:gd name="connsiteX17" fmla="*/ 985674 w 1268190"/>
                <a:gd name="connsiteY17" fmla="*/ 1414961 h 1518067"/>
                <a:gd name="connsiteX18" fmla="*/ 985674 w 1268190"/>
                <a:gd name="connsiteY18" fmla="*/ 1414961 h 1518067"/>
                <a:gd name="connsiteX19" fmla="*/ 971408 w 1268190"/>
                <a:gd name="connsiteY19" fmla="*/ 1431605 h 1518067"/>
                <a:gd name="connsiteX20" fmla="*/ 953575 w 1268190"/>
                <a:gd name="connsiteY20" fmla="*/ 1442305 h 1518067"/>
                <a:gd name="connsiteX21" fmla="*/ 952386 w 1268190"/>
                <a:gd name="connsiteY21" fmla="*/ 1442305 h 1518067"/>
                <a:gd name="connsiteX22" fmla="*/ 939308 w 1268190"/>
                <a:gd name="connsiteY22" fmla="*/ 1469541 h 1518067"/>
                <a:gd name="connsiteX23" fmla="*/ 901373 w 1268190"/>
                <a:gd name="connsiteY23" fmla="*/ 1476674 h 1518067"/>
                <a:gd name="connsiteX24" fmla="*/ 863438 w 1268190"/>
                <a:gd name="connsiteY24" fmla="*/ 1476674 h 1518067"/>
                <a:gd name="connsiteX25" fmla="*/ 806480 w 1268190"/>
                <a:gd name="connsiteY25" fmla="*/ 1469541 h 1518067"/>
                <a:gd name="connsiteX26" fmla="*/ 788755 w 1268190"/>
                <a:gd name="connsiteY26" fmla="*/ 1460030 h 1518067"/>
                <a:gd name="connsiteX27" fmla="*/ 766167 w 1268190"/>
                <a:gd name="connsiteY27" fmla="*/ 1432794 h 1518067"/>
                <a:gd name="connsiteX28" fmla="*/ 713965 w 1268190"/>
                <a:gd name="connsiteY28" fmla="*/ 1432794 h 1518067"/>
                <a:gd name="connsiteX29" fmla="*/ 694079 w 1268190"/>
                <a:gd name="connsiteY29" fmla="*/ 1418311 h 1518067"/>
                <a:gd name="connsiteX30" fmla="*/ 666843 w 1268190"/>
                <a:gd name="connsiteY30" fmla="*/ 1412367 h 1518067"/>
                <a:gd name="connsiteX31" fmla="*/ 619397 w 1268190"/>
                <a:gd name="connsiteY31" fmla="*/ 1390967 h 1518067"/>
                <a:gd name="connsiteX32" fmla="*/ 597997 w 1268190"/>
                <a:gd name="connsiteY32" fmla="*/ 1382646 h 1518067"/>
                <a:gd name="connsiteX33" fmla="*/ 566006 w 1268190"/>
                <a:gd name="connsiteY33" fmla="*/ 1383834 h 1518067"/>
                <a:gd name="connsiteX34" fmla="*/ 551740 w 1268190"/>
                <a:gd name="connsiteY34" fmla="*/ 1394534 h 1518067"/>
                <a:gd name="connsiteX35" fmla="*/ 536284 w 1268190"/>
                <a:gd name="connsiteY35" fmla="*/ 1415934 h 1518067"/>
                <a:gd name="connsiteX36" fmla="*/ 524396 w 1268190"/>
                <a:gd name="connsiteY36" fmla="*/ 1430200 h 1518067"/>
                <a:gd name="connsiteX37" fmla="*/ 506563 w 1268190"/>
                <a:gd name="connsiteY37" fmla="*/ 1397020 h 1518067"/>
                <a:gd name="connsiteX38" fmla="*/ 495863 w 1268190"/>
                <a:gd name="connsiteY38" fmla="*/ 1349574 h 1518067"/>
                <a:gd name="connsiteX39" fmla="*/ 469816 w 1268190"/>
                <a:gd name="connsiteY39" fmla="*/ 1337685 h 1518067"/>
                <a:gd name="connsiteX40" fmla="*/ 457928 w 1268190"/>
                <a:gd name="connsiteY40" fmla="*/ 1285483 h 1518067"/>
                <a:gd name="connsiteX41" fmla="*/ 423559 w 1268190"/>
                <a:gd name="connsiteY41" fmla="*/ 1281917 h 1518067"/>
                <a:gd name="connsiteX42" fmla="*/ 398701 w 1268190"/>
                <a:gd name="connsiteY42" fmla="*/ 1249925 h 1518067"/>
                <a:gd name="connsiteX43" fmla="*/ 379679 w 1268190"/>
                <a:gd name="connsiteY43" fmla="*/ 1254681 h 1518067"/>
                <a:gd name="connsiteX44" fmla="*/ 373735 w 1268190"/>
                <a:gd name="connsiteY44" fmla="*/ 1260625 h 1518067"/>
                <a:gd name="connsiteX45" fmla="*/ 317966 w 1268190"/>
                <a:gd name="connsiteY45" fmla="*/ 1272514 h 1518067"/>
                <a:gd name="connsiteX46" fmla="*/ 306078 w 1268190"/>
                <a:gd name="connsiteY46" fmla="*/ 1282025 h 1518067"/>
                <a:gd name="connsiteX47" fmla="*/ 278842 w 1268190"/>
                <a:gd name="connsiteY47" fmla="*/ 1284402 h 1518067"/>
                <a:gd name="connsiteX48" fmla="*/ 253876 w 1268190"/>
                <a:gd name="connsiteY48" fmla="*/ 1268947 h 1518067"/>
                <a:gd name="connsiteX49" fmla="*/ 253876 w 1268190"/>
                <a:gd name="connsiteY49" fmla="*/ 1241711 h 1518067"/>
                <a:gd name="connsiteX50" fmla="*/ 164927 w 1268190"/>
                <a:gd name="connsiteY50" fmla="*/ 1244089 h 1518067"/>
                <a:gd name="connsiteX51" fmla="*/ 134125 w 1268190"/>
                <a:gd name="connsiteY51" fmla="*/ 1253600 h 1518067"/>
                <a:gd name="connsiteX52" fmla="*/ 98567 w 1268190"/>
                <a:gd name="connsiteY52" fmla="*/ 1259544 h 1518067"/>
                <a:gd name="connsiteX53" fmla="*/ 78357 w 1268190"/>
                <a:gd name="connsiteY53" fmla="*/ 1257167 h 1518067"/>
                <a:gd name="connsiteX54" fmla="*/ 58146 w 1268190"/>
                <a:gd name="connsiteY54" fmla="*/ 1240523 h 1518067"/>
                <a:gd name="connsiteX55" fmla="*/ 37935 w 1268190"/>
                <a:gd name="connsiteY55" fmla="*/ 1238145 h 1518067"/>
                <a:gd name="connsiteX56" fmla="*/ 33180 w 1268190"/>
                <a:gd name="connsiteY56" fmla="*/ 1210909 h 1518067"/>
                <a:gd name="connsiteX57" fmla="*/ 49824 w 1268190"/>
                <a:gd name="connsiteY57" fmla="*/ 1158707 h 1518067"/>
                <a:gd name="connsiteX58" fmla="*/ 39124 w 1268190"/>
                <a:gd name="connsiteY58" fmla="*/ 1130283 h 1518067"/>
                <a:gd name="connsiteX59" fmla="*/ 0 w 1268190"/>
                <a:gd name="connsiteY59" fmla="*/ 1097103 h 1518067"/>
                <a:gd name="connsiteX60" fmla="*/ 26047 w 1268190"/>
                <a:gd name="connsiteY60" fmla="*/ 1084025 h 1518067"/>
                <a:gd name="connsiteX61" fmla="*/ 58038 w 1268190"/>
                <a:gd name="connsiteY61" fmla="*/ 1050845 h 1518067"/>
                <a:gd name="connsiteX62" fmla="*/ 60416 w 1268190"/>
                <a:gd name="connsiteY62" fmla="*/ 1028257 h 1518067"/>
                <a:gd name="connsiteX63" fmla="*/ 123317 w 1268190"/>
                <a:gd name="connsiteY63" fmla="*/ 959411 h 1518067"/>
                <a:gd name="connsiteX64" fmla="*/ 152931 w 1268190"/>
                <a:gd name="connsiteY64" fmla="*/ 951089 h 1518067"/>
                <a:gd name="connsiteX65" fmla="*/ 192055 w 1268190"/>
                <a:gd name="connsiteY65" fmla="*/ 890565 h 1518067"/>
                <a:gd name="connsiteX66" fmla="*/ 189677 w 1268190"/>
                <a:gd name="connsiteY66" fmla="*/ 860952 h 1518067"/>
                <a:gd name="connsiteX67" fmla="*/ 206321 w 1268190"/>
                <a:gd name="connsiteY67" fmla="*/ 837174 h 1518067"/>
                <a:gd name="connsiteX68" fmla="*/ 207510 w 1268190"/>
                <a:gd name="connsiteY68" fmla="*/ 801617 h 1518067"/>
                <a:gd name="connsiteX69" fmla="*/ 170764 w 1268190"/>
                <a:gd name="connsiteY69" fmla="*/ 766059 h 1518067"/>
                <a:gd name="connsiteX70" fmla="*/ 169575 w 1268190"/>
                <a:gd name="connsiteY70" fmla="*/ 748226 h 1518067"/>
                <a:gd name="connsiteX71" fmla="*/ 151742 w 1268190"/>
                <a:gd name="connsiteY71" fmla="*/ 715046 h 1518067"/>
                <a:gd name="connsiteX72" fmla="*/ 156497 w 1268190"/>
                <a:gd name="connsiteY72" fmla="*/ 683055 h 1518067"/>
                <a:gd name="connsiteX73" fmla="*/ 128073 w 1268190"/>
                <a:gd name="connsiteY73" fmla="*/ 668788 h 1518067"/>
                <a:gd name="connsiteX74" fmla="*/ 118562 w 1268190"/>
                <a:gd name="connsiteY74" fmla="*/ 627286 h 1518067"/>
                <a:gd name="connsiteX75" fmla="*/ 116184 w 1268190"/>
                <a:gd name="connsiteY75" fmla="*/ 552604 h 1518067"/>
                <a:gd name="connsiteX76" fmla="*/ 145798 w 1268190"/>
                <a:gd name="connsiteY76" fmla="*/ 571626 h 1518067"/>
                <a:gd name="connsiteX77" fmla="*/ 169575 w 1268190"/>
                <a:gd name="connsiteY77" fmla="*/ 590648 h 1518067"/>
                <a:gd name="connsiteX78" fmla="*/ 170764 w 1268190"/>
                <a:gd name="connsiteY78" fmla="*/ 591837 h 1518067"/>
                <a:gd name="connsiteX79" fmla="*/ 187408 w 1268190"/>
                <a:gd name="connsiteY79" fmla="*/ 607292 h 1518067"/>
                <a:gd name="connsiteX80" fmla="*/ 187408 w 1268190"/>
                <a:gd name="connsiteY80" fmla="*/ 608481 h 1518067"/>
                <a:gd name="connsiteX81" fmla="*/ 202863 w 1268190"/>
                <a:gd name="connsiteY81" fmla="*/ 620369 h 1518067"/>
                <a:gd name="connsiteX82" fmla="*/ 218318 w 1268190"/>
                <a:gd name="connsiteY82" fmla="*/ 629880 h 1518067"/>
                <a:gd name="connsiteX83" fmla="*/ 261009 w 1268190"/>
                <a:gd name="connsiteY83" fmla="*/ 664249 h 1518067"/>
                <a:gd name="connsiteX84" fmla="*/ 277653 w 1268190"/>
                <a:gd name="connsiteY84" fmla="*/ 676138 h 1518067"/>
                <a:gd name="connsiteX85" fmla="*/ 285975 w 1268190"/>
                <a:gd name="connsiteY85" fmla="*/ 685649 h 1518067"/>
                <a:gd name="connsiteX86" fmla="*/ 287164 w 1268190"/>
                <a:gd name="connsiteY86" fmla="*/ 685649 h 1518067"/>
                <a:gd name="connsiteX87" fmla="*/ 294297 w 1268190"/>
                <a:gd name="connsiteY87" fmla="*/ 702293 h 1518067"/>
                <a:gd name="connsiteX88" fmla="*/ 295486 w 1268190"/>
                <a:gd name="connsiteY88" fmla="*/ 703482 h 1518067"/>
                <a:gd name="connsiteX89" fmla="*/ 306186 w 1268190"/>
                <a:gd name="connsiteY89" fmla="*/ 731906 h 1518067"/>
                <a:gd name="connsiteX90" fmla="*/ 313319 w 1268190"/>
                <a:gd name="connsiteY90" fmla="*/ 753306 h 1518067"/>
                <a:gd name="connsiteX91" fmla="*/ 318074 w 1268190"/>
                <a:gd name="connsiteY91" fmla="*/ 758061 h 1518067"/>
                <a:gd name="connsiteX92" fmla="*/ 318074 w 1268190"/>
                <a:gd name="connsiteY92" fmla="*/ 759250 h 1518067"/>
                <a:gd name="connsiteX93" fmla="*/ 324019 w 1268190"/>
                <a:gd name="connsiteY93" fmla="*/ 759250 h 1518067"/>
                <a:gd name="connsiteX94" fmla="*/ 328774 w 1268190"/>
                <a:gd name="connsiteY94" fmla="*/ 754495 h 1518067"/>
                <a:gd name="connsiteX95" fmla="*/ 339474 w 1268190"/>
                <a:gd name="connsiteY95" fmla="*/ 720126 h 1518067"/>
                <a:gd name="connsiteX96" fmla="*/ 347796 w 1268190"/>
                <a:gd name="connsiteY96" fmla="*/ 681001 h 1518067"/>
                <a:gd name="connsiteX97" fmla="*/ 346607 w 1268190"/>
                <a:gd name="connsiteY97" fmla="*/ 660791 h 1518067"/>
                <a:gd name="connsiteX98" fmla="*/ 344229 w 1268190"/>
                <a:gd name="connsiteY98" fmla="*/ 648902 h 1518067"/>
                <a:gd name="connsiteX99" fmla="*/ 335907 w 1268190"/>
                <a:gd name="connsiteY99" fmla="*/ 652469 h 1518067"/>
                <a:gd name="connsiteX100" fmla="*/ 322830 w 1268190"/>
                <a:gd name="connsiteY100" fmla="*/ 652469 h 1518067"/>
                <a:gd name="connsiteX101" fmla="*/ 312130 w 1268190"/>
                <a:gd name="connsiteY101" fmla="*/ 652469 h 1518067"/>
                <a:gd name="connsiteX102" fmla="*/ 286083 w 1268190"/>
                <a:gd name="connsiteY102" fmla="*/ 624044 h 1518067"/>
                <a:gd name="connsiteX103" fmla="*/ 280139 w 1268190"/>
                <a:gd name="connsiteY103" fmla="*/ 599186 h 1518067"/>
                <a:gd name="connsiteX104" fmla="*/ 271817 w 1268190"/>
                <a:gd name="connsiteY104" fmla="*/ 560062 h 1518067"/>
                <a:gd name="connsiteX105" fmla="*/ 267062 w 1268190"/>
                <a:gd name="connsiteY105" fmla="*/ 552928 h 1518067"/>
                <a:gd name="connsiteX106" fmla="*/ 261117 w 1268190"/>
                <a:gd name="connsiteY106" fmla="*/ 551740 h 1518067"/>
                <a:gd name="connsiteX107" fmla="*/ 250417 w 1268190"/>
                <a:gd name="connsiteY107" fmla="*/ 563628 h 1518067"/>
                <a:gd name="connsiteX108" fmla="*/ 242095 w 1268190"/>
                <a:gd name="connsiteY108" fmla="*/ 568384 h 1518067"/>
                <a:gd name="connsiteX109" fmla="*/ 234962 w 1268190"/>
                <a:gd name="connsiteY109" fmla="*/ 560062 h 1518067"/>
                <a:gd name="connsiteX110" fmla="*/ 230207 w 1268190"/>
                <a:gd name="connsiteY110" fmla="*/ 548173 h 1518067"/>
                <a:gd name="connsiteX111" fmla="*/ 227829 w 1268190"/>
                <a:gd name="connsiteY111" fmla="*/ 525585 h 1518067"/>
                <a:gd name="connsiteX112" fmla="*/ 226640 w 1268190"/>
                <a:gd name="connsiteY112" fmla="*/ 501807 h 1518067"/>
                <a:gd name="connsiteX113" fmla="*/ 230207 w 1268190"/>
                <a:gd name="connsiteY113" fmla="*/ 482894 h 1518067"/>
                <a:gd name="connsiteX114" fmla="*/ 244473 w 1268190"/>
                <a:gd name="connsiteY114" fmla="*/ 487649 h 1518067"/>
                <a:gd name="connsiteX115" fmla="*/ 250417 w 1268190"/>
                <a:gd name="connsiteY115" fmla="*/ 482894 h 1518067"/>
                <a:gd name="connsiteX116" fmla="*/ 251606 w 1268190"/>
                <a:gd name="connsiteY116" fmla="*/ 414048 h 1518067"/>
                <a:gd name="connsiteX117" fmla="*/ 250417 w 1268190"/>
                <a:gd name="connsiteY117" fmla="*/ 383246 h 1518067"/>
                <a:gd name="connsiteX118" fmla="*/ 248040 w 1268190"/>
                <a:gd name="connsiteY118" fmla="*/ 365413 h 1518067"/>
                <a:gd name="connsiteX119" fmla="*/ 243284 w 1268190"/>
                <a:gd name="connsiteY119" fmla="*/ 357091 h 1518067"/>
                <a:gd name="connsiteX120" fmla="*/ 227829 w 1268190"/>
                <a:gd name="connsiteY120" fmla="*/ 355902 h 1518067"/>
                <a:gd name="connsiteX121" fmla="*/ 219507 w 1268190"/>
                <a:gd name="connsiteY121" fmla="*/ 354713 h 1518067"/>
                <a:gd name="connsiteX122" fmla="*/ 223074 w 1268190"/>
                <a:gd name="connsiteY122" fmla="*/ 341635 h 1518067"/>
                <a:gd name="connsiteX123" fmla="*/ 241987 w 1268190"/>
                <a:gd name="connsiteY123" fmla="*/ 309644 h 1518067"/>
                <a:gd name="connsiteX124" fmla="*/ 244365 w 1268190"/>
                <a:gd name="connsiteY124" fmla="*/ 301322 h 1518067"/>
                <a:gd name="connsiteX125" fmla="*/ 244365 w 1268190"/>
                <a:gd name="connsiteY125" fmla="*/ 289434 h 1518067"/>
                <a:gd name="connsiteX126" fmla="*/ 261009 w 1268190"/>
                <a:gd name="connsiteY126" fmla="*/ 275167 h 1518067"/>
                <a:gd name="connsiteX127" fmla="*/ 297756 w 1268190"/>
                <a:gd name="connsiteY127" fmla="*/ 247931 h 1518067"/>
                <a:gd name="connsiteX128" fmla="*/ 322614 w 1268190"/>
                <a:gd name="connsiteY128" fmla="*/ 211185 h 1518067"/>
                <a:gd name="connsiteX129" fmla="*/ 344013 w 1268190"/>
                <a:gd name="connsiteY129" fmla="*/ 168494 h 1518067"/>
                <a:gd name="connsiteX130" fmla="*/ 358279 w 1268190"/>
                <a:gd name="connsiteY130" fmla="*/ 118670 h 1518067"/>
                <a:gd name="connsiteX131" fmla="*/ 359468 w 1268190"/>
                <a:gd name="connsiteY131" fmla="*/ 117481 h 1518067"/>
                <a:gd name="connsiteX132" fmla="*/ 370168 w 1268190"/>
                <a:gd name="connsiteY132" fmla="*/ 61713 h 1518067"/>
                <a:gd name="connsiteX133" fmla="*/ 374924 w 1268190"/>
                <a:gd name="connsiteY133" fmla="*/ 28533 h 1518067"/>
                <a:gd name="connsiteX134" fmla="*/ 374924 w 1268190"/>
                <a:gd name="connsiteY134" fmla="*/ 21399 h 1518067"/>
                <a:gd name="connsiteX135" fmla="*/ 389190 w 1268190"/>
                <a:gd name="connsiteY135" fmla="*/ 11889 h 1518067"/>
                <a:gd name="connsiteX136" fmla="*/ 407023 w 1268190"/>
                <a:gd name="connsiteY136" fmla="*/ 0 h 1518067"/>
                <a:gd name="connsiteX137" fmla="*/ 415345 w 1268190"/>
                <a:gd name="connsiteY137" fmla="*/ 1189 h 1518067"/>
                <a:gd name="connsiteX138" fmla="*/ 427233 w 1268190"/>
                <a:gd name="connsiteY138" fmla="*/ 9511 h 1518067"/>
                <a:gd name="connsiteX139" fmla="*/ 456847 w 1268190"/>
                <a:gd name="connsiteY139" fmla="*/ 16644 h 1518067"/>
                <a:gd name="connsiteX140" fmla="*/ 503104 w 1268190"/>
                <a:gd name="connsiteY140" fmla="*/ 13077 h 1518067"/>
                <a:gd name="connsiteX141" fmla="*/ 542229 w 1268190"/>
                <a:gd name="connsiteY141" fmla="*/ 10700 h 1518067"/>
                <a:gd name="connsiteX142" fmla="*/ 557684 w 1268190"/>
                <a:gd name="connsiteY142" fmla="*/ 15455 h 1518067"/>
                <a:gd name="connsiteX143" fmla="*/ 573139 w 1268190"/>
                <a:gd name="connsiteY143" fmla="*/ 23777 h 1518067"/>
                <a:gd name="connsiteX144" fmla="*/ 577895 w 1268190"/>
                <a:gd name="connsiteY144" fmla="*/ 35666 h 1518067"/>
                <a:gd name="connsiteX145" fmla="*/ 577895 w 1268190"/>
                <a:gd name="connsiteY145" fmla="*/ 47554 h 1518067"/>
                <a:gd name="connsiteX146" fmla="*/ 562440 w 1268190"/>
                <a:gd name="connsiteY146" fmla="*/ 66576 h 1518067"/>
                <a:gd name="connsiteX147" fmla="*/ 556495 w 1268190"/>
                <a:gd name="connsiteY147" fmla="*/ 78465 h 1518067"/>
                <a:gd name="connsiteX148" fmla="*/ 550551 w 1268190"/>
                <a:gd name="connsiteY148" fmla="*/ 119967 h 1518067"/>
                <a:gd name="connsiteX149" fmla="*/ 541040 w 1268190"/>
                <a:gd name="connsiteY149" fmla="*/ 192379 h 1518067"/>
                <a:gd name="connsiteX150" fmla="*/ 533907 w 1268190"/>
                <a:gd name="connsiteY150" fmla="*/ 219615 h 1518067"/>
                <a:gd name="connsiteX151" fmla="*/ 525585 w 1268190"/>
                <a:gd name="connsiteY151" fmla="*/ 232693 h 1518067"/>
                <a:gd name="connsiteX152" fmla="*/ 510129 w 1268190"/>
                <a:gd name="connsiteY152" fmla="*/ 258739 h 1518067"/>
                <a:gd name="connsiteX153" fmla="*/ 508941 w 1268190"/>
                <a:gd name="connsiteY153" fmla="*/ 276464 h 1518067"/>
                <a:gd name="connsiteX154" fmla="*/ 516074 w 1268190"/>
                <a:gd name="connsiteY154" fmla="*/ 294297 h 1518067"/>
                <a:gd name="connsiteX155" fmla="*/ 527963 w 1268190"/>
                <a:gd name="connsiteY155" fmla="*/ 318074 h 1518067"/>
                <a:gd name="connsiteX156" fmla="*/ 550551 w 1268190"/>
                <a:gd name="connsiteY156" fmla="*/ 360765 h 1518067"/>
                <a:gd name="connsiteX157" fmla="*/ 555306 w 1268190"/>
                <a:gd name="connsiteY157" fmla="*/ 393945 h 1518067"/>
                <a:gd name="connsiteX158" fmla="*/ 545795 w 1268190"/>
                <a:gd name="connsiteY158" fmla="*/ 459225 h 1518067"/>
                <a:gd name="connsiteX159" fmla="*/ 541040 w 1268190"/>
                <a:gd name="connsiteY159" fmla="*/ 504293 h 1518067"/>
                <a:gd name="connsiteX160" fmla="*/ 541040 w 1268190"/>
                <a:gd name="connsiteY160" fmla="*/ 541040 h 1518067"/>
                <a:gd name="connsiteX161" fmla="*/ 543418 w 1268190"/>
                <a:gd name="connsiteY161" fmla="*/ 587297 h 1518067"/>
                <a:gd name="connsiteX162" fmla="*/ 552929 w 1268190"/>
                <a:gd name="connsiteY162" fmla="*/ 638310 h 1518067"/>
                <a:gd name="connsiteX163" fmla="*/ 560062 w 1268190"/>
                <a:gd name="connsiteY163" fmla="*/ 667924 h 1518067"/>
                <a:gd name="connsiteX164" fmla="*/ 567195 w 1268190"/>
                <a:gd name="connsiteY164" fmla="*/ 681001 h 1518067"/>
                <a:gd name="connsiteX165" fmla="*/ 576706 w 1268190"/>
                <a:gd name="connsiteY165" fmla="*/ 688135 h 1518067"/>
                <a:gd name="connsiteX166" fmla="*/ 586217 w 1268190"/>
                <a:gd name="connsiteY166" fmla="*/ 707156 h 1518067"/>
                <a:gd name="connsiteX167" fmla="*/ 588594 w 1268190"/>
                <a:gd name="connsiteY167" fmla="*/ 733203 h 1518067"/>
                <a:gd name="connsiteX168" fmla="*/ 580272 w 1268190"/>
                <a:gd name="connsiteY168" fmla="*/ 762816 h 1518067"/>
                <a:gd name="connsiteX169" fmla="*/ 562440 w 1268190"/>
                <a:gd name="connsiteY169" fmla="*/ 822152 h 1518067"/>
                <a:gd name="connsiteX170" fmla="*/ 542229 w 1268190"/>
                <a:gd name="connsiteY170" fmla="*/ 875542 h 1518067"/>
                <a:gd name="connsiteX171" fmla="*/ 516182 w 1268190"/>
                <a:gd name="connsiteY171" fmla="*/ 926555 h 1518067"/>
                <a:gd name="connsiteX172" fmla="*/ 499538 w 1268190"/>
                <a:gd name="connsiteY172" fmla="*/ 939633 h 1518067"/>
                <a:gd name="connsiteX173" fmla="*/ 469816 w 1268190"/>
                <a:gd name="connsiteY173" fmla="*/ 952710 h 1518067"/>
                <a:gd name="connsiteX174" fmla="*/ 448417 w 1268190"/>
                <a:gd name="connsiteY174" fmla="*/ 952710 h 1518067"/>
                <a:gd name="connsiteX175" fmla="*/ 392648 w 1268190"/>
                <a:gd name="connsiteY175" fmla="*/ 952710 h 1518067"/>
                <a:gd name="connsiteX176" fmla="*/ 347580 w 1268190"/>
                <a:gd name="connsiteY176" fmla="*/ 951521 h 1518067"/>
                <a:gd name="connsiteX177" fmla="*/ 330936 w 1268190"/>
                <a:gd name="connsiteY177" fmla="*/ 958654 h 1518067"/>
                <a:gd name="connsiteX178" fmla="*/ 321425 w 1268190"/>
                <a:gd name="connsiteY178" fmla="*/ 978865 h 1518067"/>
                <a:gd name="connsiteX179" fmla="*/ 323803 w 1268190"/>
                <a:gd name="connsiteY179" fmla="*/ 988376 h 1518067"/>
                <a:gd name="connsiteX180" fmla="*/ 334502 w 1268190"/>
                <a:gd name="connsiteY180" fmla="*/ 983620 h 1518067"/>
                <a:gd name="connsiteX181" fmla="*/ 351146 w 1268190"/>
                <a:gd name="connsiteY181" fmla="*/ 972921 h 1518067"/>
                <a:gd name="connsiteX182" fmla="*/ 363035 w 1268190"/>
                <a:gd name="connsiteY182" fmla="*/ 980054 h 1518067"/>
                <a:gd name="connsiteX183" fmla="*/ 380868 w 1268190"/>
                <a:gd name="connsiteY183" fmla="*/ 1002534 h 1518067"/>
                <a:gd name="connsiteX184" fmla="*/ 415237 w 1268190"/>
                <a:gd name="connsiteY184" fmla="*/ 1026311 h 1518067"/>
                <a:gd name="connsiteX185" fmla="*/ 439014 w 1268190"/>
                <a:gd name="connsiteY185" fmla="*/ 1032256 h 1518067"/>
                <a:gd name="connsiteX186" fmla="*/ 476950 w 1268190"/>
                <a:gd name="connsiteY186" fmla="*/ 1029878 h 1518067"/>
                <a:gd name="connsiteX187" fmla="*/ 519640 w 1268190"/>
                <a:gd name="connsiteY187" fmla="*/ 1034633 h 1518067"/>
                <a:gd name="connsiteX188" fmla="*/ 535096 w 1268190"/>
                <a:gd name="connsiteY188" fmla="*/ 1052467 h 1518067"/>
                <a:gd name="connsiteX189" fmla="*/ 555306 w 1268190"/>
                <a:gd name="connsiteY189" fmla="*/ 1102290 h 1518067"/>
                <a:gd name="connsiteX190" fmla="*/ 569573 w 1268190"/>
                <a:gd name="connsiteY190" fmla="*/ 1134282 h 1518067"/>
                <a:gd name="connsiteX191" fmla="*/ 581461 w 1268190"/>
                <a:gd name="connsiteY191" fmla="*/ 1143792 h 1518067"/>
                <a:gd name="connsiteX192" fmla="*/ 588594 w 1268190"/>
                <a:gd name="connsiteY192" fmla="*/ 1139037 h 1518067"/>
                <a:gd name="connsiteX193" fmla="*/ 593350 w 1268190"/>
                <a:gd name="connsiteY193" fmla="*/ 1118826 h 1518067"/>
                <a:gd name="connsiteX194" fmla="*/ 593350 w 1268190"/>
                <a:gd name="connsiteY194" fmla="*/ 1098616 h 1518067"/>
                <a:gd name="connsiteX195" fmla="*/ 580272 w 1268190"/>
                <a:gd name="connsiteY195" fmla="*/ 1071380 h 1518067"/>
                <a:gd name="connsiteX196" fmla="*/ 561250 w 1268190"/>
                <a:gd name="connsiteY196" fmla="*/ 1047711 h 1518067"/>
                <a:gd name="connsiteX197" fmla="*/ 554117 w 1268190"/>
                <a:gd name="connsiteY197" fmla="*/ 1033445 h 1518067"/>
                <a:gd name="connsiteX198" fmla="*/ 548173 w 1268190"/>
                <a:gd name="connsiteY198" fmla="*/ 1016800 h 1518067"/>
                <a:gd name="connsiteX199" fmla="*/ 564817 w 1268190"/>
                <a:gd name="connsiteY199" fmla="*/ 1000156 h 1518067"/>
                <a:gd name="connsiteX200" fmla="*/ 585028 w 1268190"/>
                <a:gd name="connsiteY200" fmla="*/ 974110 h 1518067"/>
                <a:gd name="connsiteX201" fmla="*/ 608697 w 1268190"/>
                <a:gd name="connsiteY201" fmla="*/ 931419 h 1518067"/>
                <a:gd name="connsiteX202" fmla="*/ 630096 w 1268190"/>
                <a:gd name="connsiteY202" fmla="*/ 879217 h 1518067"/>
                <a:gd name="connsiteX203" fmla="*/ 653874 w 1268190"/>
                <a:gd name="connsiteY203" fmla="*/ 829393 h 1518067"/>
                <a:gd name="connsiteX204" fmla="*/ 663385 w 1268190"/>
                <a:gd name="connsiteY204" fmla="*/ 792646 h 1518067"/>
                <a:gd name="connsiteX205" fmla="*/ 659818 w 1268190"/>
                <a:gd name="connsiteY205" fmla="*/ 777191 h 1518067"/>
                <a:gd name="connsiteX206" fmla="*/ 649118 w 1268190"/>
                <a:gd name="connsiteY206" fmla="*/ 759466 h 1518067"/>
                <a:gd name="connsiteX207" fmla="*/ 641985 w 1268190"/>
                <a:gd name="connsiteY207" fmla="*/ 745200 h 1518067"/>
                <a:gd name="connsiteX208" fmla="*/ 651496 w 1268190"/>
                <a:gd name="connsiteY208" fmla="*/ 730934 h 1518067"/>
                <a:gd name="connsiteX209" fmla="*/ 694187 w 1268190"/>
                <a:gd name="connsiteY209" fmla="*/ 692998 h 1518067"/>
                <a:gd name="connsiteX210" fmla="*/ 742822 w 1268190"/>
                <a:gd name="connsiteY210" fmla="*/ 663384 h 1518067"/>
                <a:gd name="connsiteX211" fmla="*/ 753522 w 1268190"/>
                <a:gd name="connsiteY211" fmla="*/ 661007 h 1518067"/>
                <a:gd name="connsiteX212" fmla="*/ 763033 w 1268190"/>
                <a:gd name="connsiteY212" fmla="*/ 669329 h 1518067"/>
                <a:gd name="connsiteX213" fmla="*/ 763033 w 1268190"/>
                <a:gd name="connsiteY213" fmla="*/ 670518 h 1518067"/>
                <a:gd name="connsiteX214" fmla="*/ 776110 w 1268190"/>
                <a:gd name="connsiteY214" fmla="*/ 693106 h 1518067"/>
                <a:gd name="connsiteX215" fmla="*/ 785621 w 1268190"/>
                <a:gd name="connsiteY215" fmla="*/ 738175 h 1518067"/>
                <a:gd name="connsiteX216" fmla="*/ 789188 w 1268190"/>
                <a:gd name="connsiteY216" fmla="*/ 779677 h 1518067"/>
                <a:gd name="connsiteX217" fmla="*/ 786810 w 1268190"/>
                <a:gd name="connsiteY217" fmla="*/ 839012 h 1518067"/>
                <a:gd name="connsiteX218" fmla="*/ 786810 w 1268190"/>
                <a:gd name="connsiteY218" fmla="*/ 879325 h 1518067"/>
                <a:gd name="connsiteX219" fmla="*/ 793943 w 1268190"/>
                <a:gd name="connsiteY219" fmla="*/ 900724 h 1518067"/>
                <a:gd name="connsiteX220" fmla="*/ 814154 w 1268190"/>
                <a:gd name="connsiteY220" fmla="*/ 923313 h 1518067"/>
                <a:gd name="connsiteX221" fmla="*/ 828420 w 1268190"/>
                <a:gd name="connsiteY221" fmla="*/ 910235 h 1518067"/>
                <a:gd name="connsiteX222" fmla="*/ 845064 w 1268190"/>
                <a:gd name="connsiteY222" fmla="*/ 894780 h 1518067"/>
                <a:gd name="connsiteX223" fmla="*/ 862897 w 1268190"/>
                <a:gd name="connsiteY223" fmla="*/ 894780 h 1518067"/>
                <a:gd name="connsiteX224" fmla="*/ 886566 w 1268190"/>
                <a:gd name="connsiteY224" fmla="*/ 891214 h 1518067"/>
                <a:gd name="connsiteX225" fmla="*/ 890133 w 1268190"/>
                <a:gd name="connsiteY225" fmla="*/ 884080 h 1518067"/>
                <a:gd name="connsiteX226" fmla="*/ 868733 w 1268190"/>
                <a:gd name="connsiteY226" fmla="*/ 874569 h 1518067"/>
                <a:gd name="connsiteX227" fmla="*/ 843875 w 1268190"/>
                <a:gd name="connsiteY227" fmla="*/ 857926 h 1518067"/>
                <a:gd name="connsiteX228" fmla="*/ 835553 w 1268190"/>
                <a:gd name="connsiteY228" fmla="*/ 838904 h 1518067"/>
                <a:gd name="connsiteX229" fmla="*/ 835553 w 1268190"/>
                <a:gd name="connsiteY229" fmla="*/ 817504 h 1518067"/>
                <a:gd name="connsiteX230" fmla="*/ 839120 w 1268190"/>
                <a:gd name="connsiteY230" fmla="*/ 794916 h 1518067"/>
                <a:gd name="connsiteX231" fmla="*/ 856953 w 1268190"/>
                <a:gd name="connsiteY231" fmla="*/ 768869 h 1518067"/>
                <a:gd name="connsiteX232" fmla="*/ 858142 w 1268190"/>
                <a:gd name="connsiteY232" fmla="*/ 767680 h 1518067"/>
                <a:gd name="connsiteX233" fmla="*/ 874786 w 1268190"/>
                <a:gd name="connsiteY233" fmla="*/ 753414 h 1518067"/>
                <a:gd name="connsiteX234" fmla="*/ 874786 w 1268190"/>
                <a:gd name="connsiteY234" fmla="*/ 745092 h 1518067"/>
                <a:gd name="connsiteX235" fmla="*/ 867652 w 1268190"/>
                <a:gd name="connsiteY235" fmla="*/ 727259 h 1518067"/>
                <a:gd name="connsiteX236" fmla="*/ 847442 w 1268190"/>
                <a:gd name="connsiteY236" fmla="*/ 694079 h 1518067"/>
                <a:gd name="connsiteX237" fmla="*/ 834365 w 1268190"/>
                <a:gd name="connsiteY237" fmla="*/ 662088 h 1518067"/>
                <a:gd name="connsiteX238" fmla="*/ 822476 w 1268190"/>
                <a:gd name="connsiteY238" fmla="*/ 625341 h 1518067"/>
                <a:gd name="connsiteX239" fmla="*/ 814154 w 1268190"/>
                <a:gd name="connsiteY239" fmla="*/ 607508 h 1518067"/>
                <a:gd name="connsiteX240" fmla="*/ 792754 w 1268190"/>
                <a:gd name="connsiteY240" fmla="*/ 599186 h 1518067"/>
                <a:gd name="connsiteX241" fmla="*/ 738175 w 1268190"/>
                <a:gd name="connsiteY241" fmla="*/ 594431 h 1518067"/>
                <a:gd name="connsiteX242" fmla="*/ 702617 w 1268190"/>
                <a:gd name="connsiteY242" fmla="*/ 602753 h 1518067"/>
                <a:gd name="connsiteX243" fmla="*/ 681217 w 1268190"/>
                <a:gd name="connsiteY243" fmla="*/ 618208 h 1518067"/>
                <a:gd name="connsiteX244" fmla="*/ 677651 w 1268190"/>
                <a:gd name="connsiteY244" fmla="*/ 618208 h 1518067"/>
                <a:gd name="connsiteX245" fmla="*/ 664573 w 1268190"/>
                <a:gd name="connsiteY245" fmla="*/ 621774 h 1518067"/>
                <a:gd name="connsiteX246" fmla="*/ 650307 w 1268190"/>
                <a:gd name="connsiteY246" fmla="*/ 631285 h 1518067"/>
                <a:gd name="connsiteX247" fmla="*/ 637230 w 1268190"/>
                <a:gd name="connsiteY247" fmla="*/ 631285 h 1518067"/>
                <a:gd name="connsiteX248" fmla="*/ 627719 w 1268190"/>
                <a:gd name="connsiteY248" fmla="*/ 617019 h 1518067"/>
                <a:gd name="connsiteX249" fmla="*/ 622963 w 1268190"/>
                <a:gd name="connsiteY249" fmla="*/ 593242 h 1518067"/>
                <a:gd name="connsiteX250" fmla="*/ 624152 w 1268190"/>
                <a:gd name="connsiteY250" fmla="*/ 536284 h 1518067"/>
                <a:gd name="connsiteX251" fmla="*/ 624152 w 1268190"/>
                <a:gd name="connsiteY251" fmla="*/ 535096 h 1518067"/>
                <a:gd name="connsiteX252" fmla="*/ 628908 w 1268190"/>
                <a:gd name="connsiteY252" fmla="*/ 486460 h 1518067"/>
                <a:gd name="connsiteX253" fmla="*/ 634852 w 1268190"/>
                <a:gd name="connsiteY253" fmla="*/ 444958 h 1518067"/>
                <a:gd name="connsiteX254" fmla="*/ 639607 w 1268190"/>
                <a:gd name="connsiteY254" fmla="*/ 395134 h 1518067"/>
                <a:gd name="connsiteX255" fmla="*/ 644363 w 1268190"/>
                <a:gd name="connsiteY255" fmla="*/ 383246 h 1518067"/>
                <a:gd name="connsiteX256" fmla="*/ 651496 w 1268190"/>
                <a:gd name="connsiteY256" fmla="*/ 364224 h 1518067"/>
                <a:gd name="connsiteX257" fmla="*/ 651496 w 1268190"/>
                <a:gd name="connsiteY257" fmla="*/ 363035 h 1518067"/>
                <a:gd name="connsiteX258" fmla="*/ 647929 w 1268190"/>
                <a:gd name="connsiteY258" fmla="*/ 344121 h 1518067"/>
                <a:gd name="connsiteX259" fmla="*/ 645552 w 1268190"/>
                <a:gd name="connsiteY259" fmla="*/ 342932 h 1518067"/>
                <a:gd name="connsiteX260" fmla="*/ 618316 w 1268190"/>
                <a:gd name="connsiteY260" fmla="*/ 312130 h 1518067"/>
                <a:gd name="connsiteX261" fmla="*/ 600483 w 1268190"/>
                <a:gd name="connsiteY261" fmla="*/ 288461 h 1518067"/>
                <a:gd name="connsiteX262" fmla="*/ 590972 w 1268190"/>
                <a:gd name="connsiteY262" fmla="*/ 268250 h 1518067"/>
                <a:gd name="connsiteX263" fmla="*/ 590972 w 1268190"/>
                <a:gd name="connsiteY263" fmla="*/ 267061 h 1518067"/>
                <a:gd name="connsiteX264" fmla="*/ 590972 w 1268190"/>
                <a:gd name="connsiteY264" fmla="*/ 253984 h 1518067"/>
                <a:gd name="connsiteX265" fmla="*/ 604050 w 1268190"/>
                <a:gd name="connsiteY265" fmla="*/ 227937 h 1518067"/>
                <a:gd name="connsiteX266" fmla="*/ 613560 w 1268190"/>
                <a:gd name="connsiteY266" fmla="*/ 213671 h 1518067"/>
                <a:gd name="connsiteX267" fmla="*/ 617127 w 1268190"/>
                <a:gd name="connsiteY267" fmla="*/ 186435 h 1518067"/>
                <a:gd name="connsiteX268" fmla="*/ 626638 w 1268190"/>
                <a:gd name="connsiteY268" fmla="*/ 170980 h 1518067"/>
                <a:gd name="connsiteX269" fmla="*/ 650415 w 1268190"/>
                <a:gd name="connsiteY269" fmla="*/ 148391 h 1518067"/>
                <a:gd name="connsiteX270" fmla="*/ 674084 w 1268190"/>
                <a:gd name="connsiteY270" fmla="*/ 128181 h 1518067"/>
                <a:gd name="connsiteX271" fmla="*/ 681217 w 1268190"/>
                <a:gd name="connsiteY271" fmla="*/ 109159 h 1518067"/>
                <a:gd name="connsiteX272" fmla="*/ 681217 w 1268190"/>
                <a:gd name="connsiteY272" fmla="*/ 66468 h 1518067"/>
                <a:gd name="connsiteX273" fmla="*/ 685973 w 1268190"/>
                <a:gd name="connsiteY273" fmla="*/ 35666 h 1518067"/>
                <a:gd name="connsiteX274" fmla="*/ 689539 w 1268190"/>
                <a:gd name="connsiteY274" fmla="*/ 6052 h 1518067"/>
                <a:gd name="connsiteX275" fmla="*/ 700239 w 1268190"/>
                <a:gd name="connsiteY275" fmla="*/ 13185 h 1518067"/>
                <a:gd name="connsiteX276" fmla="*/ 713317 w 1268190"/>
                <a:gd name="connsiteY276" fmla="*/ 31018 h 1518067"/>
                <a:gd name="connsiteX277" fmla="*/ 714506 w 1268190"/>
                <a:gd name="connsiteY277" fmla="*/ 31018 h 1518067"/>
                <a:gd name="connsiteX278" fmla="*/ 724016 w 1268190"/>
                <a:gd name="connsiteY278" fmla="*/ 48851 h 1518067"/>
                <a:gd name="connsiteX279" fmla="*/ 724016 w 1268190"/>
                <a:gd name="connsiteY279" fmla="*/ 50040 h 1518067"/>
                <a:gd name="connsiteX280" fmla="*/ 726394 w 1268190"/>
                <a:gd name="connsiteY280" fmla="*/ 74898 h 1518067"/>
                <a:gd name="connsiteX281" fmla="*/ 726394 w 1268190"/>
                <a:gd name="connsiteY281" fmla="*/ 112834 h 1518067"/>
                <a:gd name="connsiteX282" fmla="*/ 726394 w 1268190"/>
                <a:gd name="connsiteY282" fmla="*/ 157902 h 1518067"/>
                <a:gd name="connsiteX283" fmla="*/ 721639 w 1268190"/>
                <a:gd name="connsiteY283" fmla="*/ 198216 h 1518067"/>
                <a:gd name="connsiteX284" fmla="*/ 720450 w 1268190"/>
                <a:gd name="connsiteY284" fmla="*/ 242095 h 1518067"/>
                <a:gd name="connsiteX285" fmla="*/ 720450 w 1268190"/>
                <a:gd name="connsiteY285" fmla="*/ 243284 h 1518067"/>
                <a:gd name="connsiteX286" fmla="*/ 727583 w 1268190"/>
                <a:gd name="connsiteY286" fmla="*/ 261117 h 1518067"/>
                <a:gd name="connsiteX287" fmla="*/ 727583 w 1268190"/>
                <a:gd name="connsiteY287" fmla="*/ 262306 h 1518067"/>
                <a:gd name="connsiteX288" fmla="*/ 739472 w 1268190"/>
                <a:gd name="connsiteY288" fmla="*/ 270628 h 1518067"/>
                <a:gd name="connsiteX289" fmla="*/ 771463 w 1268190"/>
                <a:gd name="connsiteY289" fmla="*/ 270628 h 1518067"/>
                <a:gd name="connsiteX290" fmla="*/ 772652 w 1268190"/>
                <a:gd name="connsiteY290" fmla="*/ 270628 h 1518067"/>
                <a:gd name="connsiteX291" fmla="*/ 798698 w 1268190"/>
                <a:gd name="connsiteY291" fmla="*/ 263495 h 1518067"/>
                <a:gd name="connsiteX292" fmla="*/ 816531 w 1268190"/>
                <a:gd name="connsiteY292" fmla="*/ 259928 h 1518067"/>
                <a:gd name="connsiteX293" fmla="*/ 829609 w 1268190"/>
                <a:gd name="connsiteY293" fmla="*/ 265873 h 1518067"/>
                <a:gd name="connsiteX294" fmla="*/ 851008 w 1268190"/>
                <a:gd name="connsiteY294" fmla="*/ 282517 h 1518067"/>
                <a:gd name="connsiteX295" fmla="*/ 860519 w 1268190"/>
                <a:gd name="connsiteY295" fmla="*/ 282517 h 1518067"/>
                <a:gd name="connsiteX296" fmla="*/ 867652 w 1268190"/>
                <a:gd name="connsiteY296" fmla="*/ 268250 h 1518067"/>
                <a:gd name="connsiteX297" fmla="*/ 867652 w 1268190"/>
                <a:gd name="connsiteY297" fmla="*/ 267061 h 1518067"/>
                <a:gd name="connsiteX298" fmla="*/ 867652 w 1268190"/>
                <a:gd name="connsiteY298" fmla="*/ 243284 h 1518067"/>
                <a:gd name="connsiteX299" fmla="*/ 858142 w 1268190"/>
                <a:gd name="connsiteY299" fmla="*/ 216048 h 1518067"/>
                <a:gd name="connsiteX300" fmla="*/ 837931 w 1268190"/>
                <a:gd name="connsiteY300" fmla="*/ 205349 h 1518067"/>
                <a:gd name="connsiteX301" fmla="*/ 802373 w 1268190"/>
                <a:gd name="connsiteY301" fmla="*/ 194649 h 1518067"/>
                <a:gd name="connsiteX302" fmla="*/ 785729 w 1268190"/>
                <a:gd name="connsiteY302" fmla="*/ 182760 h 1518067"/>
                <a:gd name="connsiteX303" fmla="*/ 768004 w 1268190"/>
                <a:gd name="connsiteY303" fmla="*/ 161361 h 1518067"/>
                <a:gd name="connsiteX304" fmla="*/ 759682 w 1268190"/>
                <a:gd name="connsiteY304" fmla="*/ 145906 h 1518067"/>
                <a:gd name="connsiteX305" fmla="*/ 754927 w 1268190"/>
                <a:gd name="connsiteY305" fmla="*/ 128073 h 1518067"/>
                <a:gd name="connsiteX306" fmla="*/ 759682 w 1268190"/>
                <a:gd name="connsiteY306" fmla="*/ 97270 h 1518067"/>
                <a:gd name="connsiteX307" fmla="*/ 758493 w 1268190"/>
                <a:gd name="connsiteY307" fmla="*/ 84193 h 1518067"/>
                <a:gd name="connsiteX308" fmla="*/ 768004 w 1268190"/>
                <a:gd name="connsiteY308" fmla="*/ 78249 h 1518067"/>
                <a:gd name="connsiteX309" fmla="*/ 803562 w 1268190"/>
                <a:gd name="connsiteY309" fmla="*/ 78249 h 1518067"/>
                <a:gd name="connsiteX310" fmla="*/ 820206 w 1268190"/>
                <a:gd name="connsiteY310" fmla="*/ 86571 h 1518067"/>
                <a:gd name="connsiteX311" fmla="*/ 842795 w 1268190"/>
                <a:gd name="connsiteY311" fmla="*/ 98459 h 1518067"/>
                <a:gd name="connsiteX312" fmla="*/ 853494 w 1268190"/>
                <a:gd name="connsiteY312" fmla="*/ 97270 h 1518067"/>
                <a:gd name="connsiteX313" fmla="*/ 859438 w 1268190"/>
                <a:gd name="connsiteY313" fmla="*/ 93704 h 1518067"/>
                <a:gd name="connsiteX314" fmla="*/ 877272 w 1268190"/>
                <a:gd name="connsiteY314" fmla="*/ 115103 h 1518067"/>
                <a:gd name="connsiteX315" fmla="*/ 914018 w 1268190"/>
                <a:gd name="connsiteY315" fmla="*/ 144717 h 1518067"/>
                <a:gd name="connsiteX316" fmla="*/ 950765 w 1268190"/>
                <a:gd name="connsiteY316" fmla="*/ 164927 h 1518067"/>
                <a:gd name="connsiteX317" fmla="*/ 955520 w 1268190"/>
                <a:gd name="connsiteY317" fmla="*/ 209996 h 1518067"/>
                <a:gd name="connsiteX318" fmla="*/ 943632 w 1268190"/>
                <a:gd name="connsiteY318" fmla="*/ 226640 h 1518067"/>
                <a:gd name="connsiteX319" fmla="*/ 922232 w 1268190"/>
                <a:gd name="connsiteY319" fmla="*/ 234962 h 1518067"/>
                <a:gd name="connsiteX320" fmla="*/ 921043 w 1268190"/>
                <a:gd name="connsiteY320" fmla="*/ 261009 h 1518067"/>
                <a:gd name="connsiteX321" fmla="*/ 932932 w 1268190"/>
                <a:gd name="connsiteY321" fmla="*/ 278842 h 1518067"/>
                <a:gd name="connsiteX322" fmla="*/ 964923 w 1268190"/>
                <a:gd name="connsiteY322" fmla="*/ 297756 h 1518067"/>
                <a:gd name="connsiteX323" fmla="*/ 964923 w 1268190"/>
                <a:gd name="connsiteY323" fmla="*/ 297756 h 1518067"/>
                <a:gd name="connsiteX324" fmla="*/ 972056 w 1268190"/>
                <a:gd name="connsiteY324" fmla="*/ 323802 h 1518067"/>
                <a:gd name="connsiteX325" fmla="*/ 973245 w 1268190"/>
                <a:gd name="connsiteY325" fmla="*/ 324991 h 1518067"/>
                <a:gd name="connsiteX326" fmla="*/ 981567 w 1268190"/>
                <a:gd name="connsiteY326" fmla="*/ 352227 h 1518067"/>
                <a:gd name="connsiteX327" fmla="*/ 987511 w 1268190"/>
                <a:gd name="connsiteY327" fmla="*/ 380652 h 1518067"/>
                <a:gd name="connsiteX328" fmla="*/ 983945 w 1268190"/>
                <a:gd name="connsiteY328" fmla="*/ 411454 h 1518067"/>
                <a:gd name="connsiteX329" fmla="*/ 936498 w 1268190"/>
                <a:gd name="connsiteY329" fmla="*/ 457711 h 1518067"/>
                <a:gd name="connsiteX330" fmla="*/ 917585 w 1268190"/>
                <a:gd name="connsiteY330" fmla="*/ 490892 h 1518067"/>
                <a:gd name="connsiteX331" fmla="*/ 917585 w 1268190"/>
                <a:gd name="connsiteY331" fmla="*/ 518019 h 1518067"/>
                <a:gd name="connsiteX332" fmla="*/ 924718 w 1268190"/>
                <a:gd name="connsiteY332" fmla="*/ 547741 h 1518067"/>
                <a:gd name="connsiteX333" fmla="*/ 940173 w 1268190"/>
                <a:gd name="connsiteY333" fmla="*/ 566654 h 1518067"/>
                <a:gd name="connsiteX334" fmla="*/ 963842 w 1268190"/>
                <a:gd name="connsiteY334" fmla="*/ 589243 h 1518067"/>
                <a:gd name="connsiteX335" fmla="*/ 989889 w 1268190"/>
                <a:gd name="connsiteY335" fmla="*/ 592809 h 1518067"/>
                <a:gd name="connsiteX336" fmla="*/ 994644 w 1268190"/>
                <a:gd name="connsiteY336" fmla="*/ 597565 h 1518067"/>
                <a:gd name="connsiteX337" fmla="*/ 1005344 w 1268190"/>
                <a:gd name="connsiteY337" fmla="*/ 614209 h 1518067"/>
                <a:gd name="connsiteX338" fmla="*/ 1023069 w 1268190"/>
                <a:gd name="connsiteY338" fmla="*/ 626098 h 1518067"/>
                <a:gd name="connsiteX339" fmla="*/ 1036147 w 1268190"/>
                <a:gd name="connsiteY339" fmla="*/ 613020 h 1518067"/>
                <a:gd name="connsiteX340" fmla="*/ 1048035 w 1268190"/>
                <a:gd name="connsiteY340" fmla="*/ 599943 h 1518067"/>
                <a:gd name="connsiteX341" fmla="*/ 1057546 w 1268190"/>
                <a:gd name="connsiteY341" fmla="*/ 621342 h 1518067"/>
                <a:gd name="connsiteX342" fmla="*/ 1064679 w 1268190"/>
                <a:gd name="connsiteY342" fmla="*/ 645119 h 1518067"/>
                <a:gd name="connsiteX343" fmla="*/ 1090726 w 1268190"/>
                <a:gd name="connsiteY343" fmla="*/ 660575 h 1518067"/>
                <a:gd name="connsiteX344" fmla="*/ 1101426 w 1268190"/>
                <a:gd name="connsiteY344" fmla="*/ 670085 h 1518067"/>
                <a:gd name="connsiteX345" fmla="*/ 1097859 w 1268190"/>
                <a:gd name="connsiteY345" fmla="*/ 679596 h 1518067"/>
                <a:gd name="connsiteX346" fmla="*/ 1087159 w 1268190"/>
                <a:gd name="connsiteY346" fmla="*/ 690296 h 1518067"/>
                <a:gd name="connsiteX347" fmla="*/ 1085971 w 1268190"/>
                <a:gd name="connsiteY347" fmla="*/ 756656 h 1518067"/>
                <a:gd name="connsiteX348" fmla="*/ 1078838 w 1268190"/>
                <a:gd name="connsiteY348" fmla="*/ 776867 h 1518067"/>
                <a:gd name="connsiteX349" fmla="*/ 1071704 w 1268190"/>
                <a:gd name="connsiteY349" fmla="*/ 791133 h 1518067"/>
                <a:gd name="connsiteX350" fmla="*/ 1045657 w 1268190"/>
                <a:gd name="connsiteY350" fmla="*/ 794700 h 1518067"/>
                <a:gd name="connsiteX351" fmla="*/ 1050413 w 1268190"/>
                <a:gd name="connsiteY351" fmla="*/ 813721 h 1518067"/>
                <a:gd name="connsiteX352" fmla="*/ 1067057 w 1268190"/>
                <a:gd name="connsiteY352" fmla="*/ 825610 h 1518067"/>
                <a:gd name="connsiteX353" fmla="*/ 1067057 w 1268190"/>
                <a:gd name="connsiteY353" fmla="*/ 848198 h 1518067"/>
                <a:gd name="connsiteX354" fmla="*/ 1075379 w 1268190"/>
                <a:gd name="connsiteY354" fmla="*/ 888512 h 1518067"/>
                <a:gd name="connsiteX355" fmla="*/ 1089645 w 1268190"/>
                <a:gd name="connsiteY355" fmla="*/ 902778 h 1518067"/>
                <a:gd name="connsiteX356" fmla="*/ 1093212 w 1268190"/>
                <a:gd name="connsiteY356" fmla="*/ 925366 h 1518067"/>
                <a:gd name="connsiteX357" fmla="*/ 1113422 w 1268190"/>
                <a:gd name="connsiteY357" fmla="*/ 940821 h 1518067"/>
                <a:gd name="connsiteX358" fmla="*/ 1113422 w 1268190"/>
                <a:gd name="connsiteY358" fmla="*/ 942010 h 1518067"/>
                <a:gd name="connsiteX359" fmla="*/ 1116989 w 1268190"/>
                <a:gd name="connsiteY359" fmla="*/ 988268 h 1518067"/>
                <a:gd name="connsiteX360" fmla="*/ 1108019 w 1268190"/>
                <a:gd name="connsiteY360" fmla="*/ 1004372 h 1518067"/>
                <a:gd name="connsiteX361" fmla="*/ 1121096 w 1268190"/>
                <a:gd name="connsiteY361" fmla="*/ 1018638 h 1518067"/>
                <a:gd name="connsiteX362" fmla="*/ 1121096 w 1268190"/>
                <a:gd name="connsiteY362" fmla="*/ 1018638 h 1518067"/>
                <a:gd name="connsiteX363" fmla="*/ 1136551 w 1268190"/>
                <a:gd name="connsiteY363" fmla="*/ 1045874 h 1518067"/>
                <a:gd name="connsiteX364" fmla="*/ 1136551 w 1268190"/>
                <a:gd name="connsiteY364" fmla="*/ 1047063 h 1518067"/>
                <a:gd name="connsiteX365" fmla="*/ 1128229 w 1268190"/>
                <a:gd name="connsiteY365" fmla="*/ 1068462 h 1518067"/>
                <a:gd name="connsiteX366" fmla="*/ 1128229 w 1268190"/>
                <a:gd name="connsiteY366" fmla="*/ 1068462 h 1518067"/>
                <a:gd name="connsiteX367" fmla="*/ 1137740 w 1268190"/>
                <a:gd name="connsiteY367" fmla="*/ 1093320 h 1518067"/>
                <a:gd name="connsiteX368" fmla="*/ 1162598 w 1268190"/>
                <a:gd name="connsiteY368" fmla="*/ 1101642 h 1518067"/>
                <a:gd name="connsiteX369" fmla="*/ 1189834 w 1268190"/>
                <a:gd name="connsiteY369" fmla="*/ 1104020 h 1518067"/>
                <a:gd name="connsiteX370" fmla="*/ 1189834 w 1268190"/>
                <a:gd name="connsiteY370" fmla="*/ 1105208 h 1518067"/>
                <a:gd name="connsiteX371" fmla="*/ 1191023 w 1268190"/>
                <a:gd name="connsiteY371" fmla="*/ 1131255 h 1518067"/>
                <a:gd name="connsiteX372" fmla="*/ 1189834 w 1268190"/>
                <a:gd name="connsiteY372" fmla="*/ 1165625 h 1518067"/>
                <a:gd name="connsiteX373" fmla="*/ 1182701 w 1268190"/>
                <a:gd name="connsiteY373" fmla="*/ 1179891 h 1518067"/>
                <a:gd name="connsiteX374" fmla="*/ 1189834 w 1268190"/>
                <a:gd name="connsiteY374" fmla="*/ 1194157 h 1518067"/>
                <a:gd name="connsiteX375" fmla="*/ 1221825 w 1268190"/>
                <a:gd name="connsiteY375" fmla="*/ 1192968 h 1518067"/>
                <a:gd name="connsiteX376" fmla="*/ 1244414 w 1268190"/>
                <a:gd name="connsiteY376" fmla="*/ 1206046 h 1518067"/>
                <a:gd name="connsiteX377" fmla="*/ 1259869 w 1268190"/>
                <a:gd name="connsiteY377" fmla="*/ 1226256 h 1518067"/>
                <a:gd name="connsiteX378" fmla="*/ 1268191 w 1268190"/>
                <a:gd name="connsiteY378" fmla="*/ 1265381 h 1518067"/>
                <a:gd name="connsiteX379" fmla="*/ 1262246 w 1268190"/>
                <a:gd name="connsiteY379" fmla="*/ 1290347 h 1518067"/>
                <a:gd name="connsiteX380" fmla="*/ 1245602 w 1268190"/>
                <a:gd name="connsiteY380" fmla="*/ 1315205 h 1518067"/>
                <a:gd name="connsiteX381" fmla="*/ 1227878 w 1268190"/>
                <a:gd name="connsiteY381" fmla="*/ 1331741 h 151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</a:cxnLst>
              <a:rect l="l" t="t" r="r" b="b"/>
              <a:pathLst>
                <a:path w="1268190" h="1518067" extrusionOk="0">
                  <a:moveTo>
                    <a:pt x="1227878" y="1331741"/>
                  </a:moveTo>
                  <a:lnTo>
                    <a:pt x="1227878" y="1386320"/>
                  </a:lnTo>
                  <a:lnTo>
                    <a:pt x="1253924" y="1417123"/>
                  </a:lnTo>
                  <a:lnTo>
                    <a:pt x="1255113" y="1432578"/>
                  </a:lnTo>
                  <a:lnTo>
                    <a:pt x="1232525" y="1457436"/>
                  </a:lnTo>
                  <a:lnTo>
                    <a:pt x="1221825" y="1457436"/>
                  </a:lnTo>
                  <a:lnTo>
                    <a:pt x="1199345" y="1472891"/>
                  </a:lnTo>
                  <a:lnTo>
                    <a:pt x="1191023" y="1483591"/>
                  </a:lnTo>
                  <a:lnTo>
                    <a:pt x="1189834" y="1506179"/>
                  </a:lnTo>
                  <a:lnTo>
                    <a:pt x="1168435" y="1504990"/>
                  </a:lnTo>
                  <a:lnTo>
                    <a:pt x="1154168" y="1515690"/>
                  </a:lnTo>
                  <a:lnTo>
                    <a:pt x="1132769" y="1518068"/>
                  </a:lnTo>
                  <a:lnTo>
                    <a:pt x="1096022" y="1472999"/>
                  </a:lnTo>
                  <a:lnTo>
                    <a:pt x="1065220" y="1448141"/>
                  </a:lnTo>
                  <a:lnTo>
                    <a:pt x="1028473" y="1449330"/>
                  </a:lnTo>
                  <a:lnTo>
                    <a:pt x="1013018" y="1418528"/>
                  </a:lnTo>
                  <a:lnTo>
                    <a:pt x="999940" y="1407828"/>
                  </a:lnTo>
                  <a:lnTo>
                    <a:pt x="985674" y="1414961"/>
                  </a:lnTo>
                  <a:lnTo>
                    <a:pt x="985674" y="1414961"/>
                  </a:lnTo>
                  <a:lnTo>
                    <a:pt x="971408" y="1431605"/>
                  </a:lnTo>
                  <a:lnTo>
                    <a:pt x="953575" y="1442305"/>
                  </a:lnTo>
                  <a:lnTo>
                    <a:pt x="952386" y="1442305"/>
                  </a:lnTo>
                  <a:lnTo>
                    <a:pt x="939308" y="1469541"/>
                  </a:lnTo>
                  <a:lnTo>
                    <a:pt x="901373" y="1476674"/>
                  </a:lnTo>
                  <a:lnTo>
                    <a:pt x="863438" y="1476674"/>
                  </a:lnTo>
                  <a:lnTo>
                    <a:pt x="806480" y="1469541"/>
                  </a:lnTo>
                  <a:lnTo>
                    <a:pt x="788755" y="1460030"/>
                  </a:lnTo>
                  <a:lnTo>
                    <a:pt x="766167" y="1432794"/>
                  </a:lnTo>
                  <a:lnTo>
                    <a:pt x="713965" y="1432794"/>
                  </a:lnTo>
                  <a:lnTo>
                    <a:pt x="694079" y="1418311"/>
                  </a:lnTo>
                  <a:lnTo>
                    <a:pt x="666843" y="1412367"/>
                  </a:lnTo>
                  <a:lnTo>
                    <a:pt x="619397" y="1390967"/>
                  </a:lnTo>
                  <a:lnTo>
                    <a:pt x="597997" y="1382646"/>
                  </a:lnTo>
                  <a:lnTo>
                    <a:pt x="566006" y="1383834"/>
                  </a:lnTo>
                  <a:lnTo>
                    <a:pt x="551740" y="1394534"/>
                  </a:lnTo>
                  <a:lnTo>
                    <a:pt x="536284" y="1415934"/>
                  </a:lnTo>
                  <a:lnTo>
                    <a:pt x="524396" y="1430200"/>
                  </a:lnTo>
                  <a:lnTo>
                    <a:pt x="506563" y="1397020"/>
                  </a:lnTo>
                  <a:lnTo>
                    <a:pt x="495863" y="1349574"/>
                  </a:lnTo>
                  <a:lnTo>
                    <a:pt x="469816" y="1337685"/>
                  </a:lnTo>
                  <a:lnTo>
                    <a:pt x="457928" y="1285483"/>
                  </a:lnTo>
                  <a:lnTo>
                    <a:pt x="423559" y="1281917"/>
                  </a:lnTo>
                  <a:lnTo>
                    <a:pt x="398701" y="1249925"/>
                  </a:lnTo>
                  <a:lnTo>
                    <a:pt x="379679" y="1254681"/>
                  </a:lnTo>
                  <a:lnTo>
                    <a:pt x="373735" y="1260625"/>
                  </a:lnTo>
                  <a:lnTo>
                    <a:pt x="317966" y="1272514"/>
                  </a:lnTo>
                  <a:lnTo>
                    <a:pt x="306078" y="1282025"/>
                  </a:lnTo>
                  <a:lnTo>
                    <a:pt x="278842" y="1284402"/>
                  </a:lnTo>
                  <a:lnTo>
                    <a:pt x="253876" y="1268947"/>
                  </a:lnTo>
                  <a:lnTo>
                    <a:pt x="253876" y="1241711"/>
                  </a:lnTo>
                  <a:lnTo>
                    <a:pt x="164927" y="1244089"/>
                  </a:lnTo>
                  <a:lnTo>
                    <a:pt x="134125" y="1253600"/>
                  </a:lnTo>
                  <a:lnTo>
                    <a:pt x="98567" y="1259544"/>
                  </a:lnTo>
                  <a:lnTo>
                    <a:pt x="78357" y="1257167"/>
                  </a:lnTo>
                  <a:lnTo>
                    <a:pt x="58146" y="1240523"/>
                  </a:lnTo>
                  <a:lnTo>
                    <a:pt x="37935" y="1238145"/>
                  </a:lnTo>
                  <a:lnTo>
                    <a:pt x="33180" y="1210909"/>
                  </a:lnTo>
                  <a:lnTo>
                    <a:pt x="49824" y="1158707"/>
                  </a:lnTo>
                  <a:lnTo>
                    <a:pt x="39124" y="1130283"/>
                  </a:lnTo>
                  <a:lnTo>
                    <a:pt x="0" y="1097103"/>
                  </a:lnTo>
                  <a:lnTo>
                    <a:pt x="26047" y="1084025"/>
                  </a:lnTo>
                  <a:lnTo>
                    <a:pt x="58038" y="1050845"/>
                  </a:lnTo>
                  <a:lnTo>
                    <a:pt x="60416" y="1028257"/>
                  </a:lnTo>
                  <a:lnTo>
                    <a:pt x="123317" y="959411"/>
                  </a:lnTo>
                  <a:lnTo>
                    <a:pt x="152931" y="951089"/>
                  </a:lnTo>
                  <a:lnTo>
                    <a:pt x="192055" y="890565"/>
                  </a:lnTo>
                  <a:lnTo>
                    <a:pt x="189677" y="860952"/>
                  </a:lnTo>
                  <a:lnTo>
                    <a:pt x="206321" y="837174"/>
                  </a:lnTo>
                  <a:lnTo>
                    <a:pt x="207510" y="801617"/>
                  </a:lnTo>
                  <a:lnTo>
                    <a:pt x="170764" y="766059"/>
                  </a:lnTo>
                  <a:lnTo>
                    <a:pt x="169575" y="748226"/>
                  </a:lnTo>
                  <a:lnTo>
                    <a:pt x="151742" y="715046"/>
                  </a:lnTo>
                  <a:lnTo>
                    <a:pt x="156497" y="683055"/>
                  </a:lnTo>
                  <a:lnTo>
                    <a:pt x="128073" y="668788"/>
                  </a:lnTo>
                  <a:lnTo>
                    <a:pt x="118562" y="627286"/>
                  </a:lnTo>
                  <a:lnTo>
                    <a:pt x="116184" y="552604"/>
                  </a:lnTo>
                  <a:lnTo>
                    <a:pt x="145798" y="571626"/>
                  </a:lnTo>
                  <a:lnTo>
                    <a:pt x="169575" y="590648"/>
                  </a:lnTo>
                  <a:lnTo>
                    <a:pt x="170764" y="591837"/>
                  </a:lnTo>
                  <a:lnTo>
                    <a:pt x="187408" y="607292"/>
                  </a:lnTo>
                  <a:lnTo>
                    <a:pt x="187408" y="608481"/>
                  </a:lnTo>
                  <a:lnTo>
                    <a:pt x="202863" y="620369"/>
                  </a:lnTo>
                  <a:lnTo>
                    <a:pt x="218318" y="629880"/>
                  </a:lnTo>
                  <a:lnTo>
                    <a:pt x="261009" y="664249"/>
                  </a:lnTo>
                  <a:lnTo>
                    <a:pt x="277653" y="676138"/>
                  </a:lnTo>
                  <a:lnTo>
                    <a:pt x="285975" y="685649"/>
                  </a:lnTo>
                  <a:lnTo>
                    <a:pt x="287164" y="685649"/>
                  </a:lnTo>
                  <a:lnTo>
                    <a:pt x="294297" y="702293"/>
                  </a:lnTo>
                  <a:lnTo>
                    <a:pt x="295486" y="703482"/>
                  </a:lnTo>
                  <a:lnTo>
                    <a:pt x="306186" y="731906"/>
                  </a:lnTo>
                  <a:lnTo>
                    <a:pt x="313319" y="753306"/>
                  </a:lnTo>
                  <a:lnTo>
                    <a:pt x="318074" y="758061"/>
                  </a:lnTo>
                  <a:lnTo>
                    <a:pt x="318074" y="759250"/>
                  </a:lnTo>
                  <a:lnTo>
                    <a:pt x="324019" y="759250"/>
                  </a:lnTo>
                  <a:lnTo>
                    <a:pt x="328774" y="754495"/>
                  </a:lnTo>
                  <a:lnTo>
                    <a:pt x="339474" y="720126"/>
                  </a:lnTo>
                  <a:lnTo>
                    <a:pt x="347796" y="681001"/>
                  </a:lnTo>
                  <a:lnTo>
                    <a:pt x="346607" y="660791"/>
                  </a:lnTo>
                  <a:lnTo>
                    <a:pt x="344229" y="648902"/>
                  </a:lnTo>
                  <a:lnTo>
                    <a:pt x="335907" y="652469"/>
                  </a:lnTo>
                  <a:lnTo>
                    <a:pt x="322830" y="652469"/>
                  </a:lnTo>
                  <a:lnTo>
                    <a:pt x="312130" y="652469"/>
                  </a:lnTo>
                  <a:lnTo>
                    <a:pt x="286083" y="624044"/>
                  </a:lnTo>
                  <a:lnTo>
                    <a:pt x="280139" y="599186"/>
                  </a:lnTo>
                  <a:lnTo>
                    <a:pt x="271817" y="560062"/>
                  </a:lnTo>
                  <a:lnTo>
                    <a:pt x="267062" y="552928"/>
                  </a:lnTo>
                  <a:lnTo>
                    <a:pt x="261117" y="551740"/>
                  </a:lnTo>
                  <a:lnTo>
                    <a:pt x="250417" y="563628"/>
                  </a:lnTo>
                  <a:lnTo>
                    <a:pt x="242095" y="568384"/>
                  </a:lnTo>
                  <a:lnTo>
                    <a:pt x="234962" y="560062"/>
                  </a:lnTo>
                  <a:lnTo>
                    <a:pt x="230207" y="548173"/>
                  </a:lnTo>
                  <a:lnTo>
                    <a:pt x="227829" y="525585"/>
                  </a:lnTo>
                  <a:lnTo>
                    <a:pt x="226640" y="501807"/>
                  </a:lnTo>
                  <a:lnTo>
                    <a:pt x="230207" y="482894"/>
                  </a:lnTo>
                  <a:lnTo>
                    <a:pt x="244473" y="487649"/>
                  </a:lnTo>
                  <a:lnTo>
                    <a:pt x="250417" y="482894"/>
                  </a:lnTo>
                  <a:lnTo>
                    <a:pt x="251606" y="414048"/>
                  </a:lnTo>
                  <a:lnTo>
                    <a:pt x="250417" y="383246"/>
                  </a:lnTo>
                  <a:lnTo>
                    <a:pt x="248040" y="365413"/>
                  </a:lnTo>
                  <a:lnTo>
                    <a:pt x="243284" y="357091"/>
                  </a:lnTo>
                  <a:lnTo>
                    <a:pt x="227829" y="355902"/>
                  </a:lnTo>
                  <a:lnTo>
                    <a:pt x="219507" y="354713"/>
                  </a:lnTo>
                  <a:lnTo>
                    <a:pt x="223074" y="341635"/>
                  </a:lnTo>
                  <a:lnTo>
                    <a:pt x="241987" y="309644"/>
                  </a:lnTo>
                  <a:lnTo>
                    <a:pt x="244365" y="301322"/>
                  </a:lnTo>
                  <a:lnTo>
                    <a:pt x="244365" y="289434"/>
                  </a:lnTo>
                  <a:lnTo>
                    <a:pt x="261009" y="275167"/>
                  </a:lnTo>
                  <a:lnTo>
                    <a:pt x="297756" y="247931"/>
                  </a:lnTo>
                  <a:lnTo>
                    <a:pt x="322614" y="211185"/>
                  </a:lnTo>
                  <a:lnTo>
                    <a:pt x="344013" y="168494"/>
                  </a:lnTo>
                  <a:lnTo>
                    <a:pt x="358279" y="118670"/>
                  </a:lnTo>
                  <a:lnTo>
                    <a:pt x="359468" y="117481"/>
                  </a:lnTo>
                  <a:lnTo>
                    <a:pt x="370168" y="61713"/>
                  </a:lnTo>
                  <a:lnTo>
                    <a:pt x="374924" y="28533"/>
                  </a:lnTo>
                  <a:lnTo>
                    <a:pt x="374924" y="21399"/>
                  </a:lnTo>
                  <a:lnTo>
                    <a:pt x="389190" y="11889"/>
                  </a:lnTo>
                  <a:lnTo>
                    <a:pt x="407023" y="0"/>
                  </a:lnTo>
                  <a:lnTo>
                    <a:pt x="415345" y="1189"/>
                  </a:lnTo>
                  <a:lnTo>
                    <a:pt x="427233" y="9511"/>
                  </a:lnTo>
                  <a:lnTo>
                    <a:pt x="456847" y="16644"/>
                  </a:lnTo>
                  <a:lnTo>
                    <a:pt x="503104" y="13077"/>
                  </a:lnTo>
                  <a:lnTo>
                    <a:pt x="542229" y="10700"/>
                  </a:lnTo>
                  <a:lnTo>
                    <a:pt x="557684" y="15455"/>
                  </a:lnTo>
                  <a:lnTo>
                    <a:pt x="573139" y="23777"/>
                  </a:lnTo>
                  <a:lnTo>
                    <a:pt x="577895" y="35666"/>
                  </a:lnTo>
                  <a:lnTo>
                    <a:pt x="577895" y="47554"/>
                  </a:lnTo>
                  <a:lnTo>
                    <a:pt x="562440" y="66576"/>
                  </a:lnTo>
                  <a:lnTo>
                    <a:pt x="556495" y="78465"/>
                  </a:lnTo>
                  <a:lnTo>
                    <a:pt x="550551" y="119967"/>
                  </a:lnTo>
                  <a:lnTo>
                    <a:pt x="541040" y="192379"/>
                  </a:lnTo>
                  <a:lnTo>
                    <a:pt x="533907" y="219615"/>
                  </a:lnTo>
                  <a:lnTo>
                    <a:pt x="525585" y="232693"/>
                  </a:lnTo>
                  <a:lnTo>
                    <a:pt x="510129" y="258739"/>
                  </a:lnTo>
                  <a:lnTo>
                    <a:pt x="508941" y="276464"/>
                  </a:lnTo>
                  <a:lnTo>
                    <a:pt x="516074" y="294297"/>
                  </a:lnTo>
                  <a:lnTo>
                    <a:pt x="527963" y="318074"/>
                  </a:lnTo>
                  <a:lnTo>
                    <a:pt x="550551" y="360765"/>
                  </a:lnTo>
                  <a:lnTo>
                    <a:pt x="555306" y="393945"/>
                  </a:lnTo>
                  <a:lnTo>
                    <a:pt x="545795" y="459225"/>
                  </a:lnTo>
                  <a:lnTo>
                    <a:pt x="541040" y="504293"/>
                  </a:lnTo>
                  <a:lnTo>
                    <a:pt x="541040" y="541040"/>
                  </a:lnTo>
                  <a:lnTo>
                    <a:pt x="543418" y="587297"/>
                  </a:lnTo>
                  <a:lnTo>
                    <a:pt x="552929" y="638310"/>
                  </a:lnTo>
                  <a:lnTo>
                    <a:pt x="560062" y="667924"/>
                  </a:lnTo>
                  <a:lnTo>
                    <a:pt x="567195" y="681001"/>
                  </a:lnTo>
                  <a:lnTo>
                    <a:pt x="576706" y="688135"/>
                  </a:lnTo>
                  <a:lnTo>
                    <a:pt x="586217" y="707156"/>
                  </a:lnTo>
                  <a:lnTo>
                    <a:pt x="588594" y="733203"/>
                  </a:lnTo>
                  <a:lnTo>
                    <a:pt x="580272" y="762816"/>
                  </a:lnTo>
                  <a:lnTo>
                    <a:pt x="562440" y="822152"/>
                  </a:lnTo>
                  <a:lnTo>
                    <a:pt x="542229" y="875542"/>
                  </a:lnTo>
                  <a:lnTo>
                    <a:pt x="516182" y="926555"/>
                  </a:lnTo>
                  <a:lnTo>
                    <a:pt x="499538" y="939633"/>
                  </a:lnTo>
                  <a:lnTo>
                    <a:pt x="469816" y="952710"/>
                  </a:lnTo>
                  <a:lnTo>
                    <a:pt x="448417" y="952710"/>
                  </a:lnTo>
                  <a:lnTo>
                    <a:pt x="392648" y="952710"/>
                  </a:lnTo>
                  <a:lnTo>
                    <a:pt x="347580" y="951521"/>
                  </a:lnTo>
                  <a:lnTo>
                    <a:pt x="330936" y="958654"/>
                  </a:lnTo>
                  <a:lnTo>
                    <a:pt x="321425" y="978865"/>
                  </a:lnTo>
                  <a:lnTo>
                    <a:pt x="323803" y="988376"/>
                  </a:lnTo>
                  <a:lnTo>
                    <a:pt x="334502" y="983620"/>
                  </a:lnTo>
                  <a:lnTo>
                    <a:pt x="351146" y="972921"/>
                  </a:lnTo>
                  <a:lnTo>
                    <a:pt x="363035" y="980054"/>
                  </a:lnTo>
                  <a:lnTo>
                    <a:pt x="380868" y="1002534"/>
                  </a:lnTo>
                  <a:lnTo>
                    <a:pt x="415237" y="1026311"/>
                  </a:lnTo>
                  <a:lnTo>
                    <a:pt x="439014" y="1032256"/>
                  </a:lnTo>
                  <a:lnTo>
                    <a:pt x="476950" y="1029878"/>
                  </a:lnTo>
                  <a:lnTo>
                    <a:pt x="519640" y="1034633"/>
                  </a:lnTo>
                  <a:lnTo>
                    <a:pt x="535096" y="1052467"/>
                  </a:lnTo>
                  <a:lnTo>
                    <a:pt x="555306" y="1102290"/>
                  </a:lnTo>
                  <a:lnTo>
                    <a:pt x="569573" y="1134282"/>
                  </a:lnTo>
                  <a:lnTo>
                    <a:pt x="581461" y="1143792"/>
                  </a:lnTo>
                  <a:lnTo>
                    <a:pt x="588594" y="1139037"/>
                  </a:lnTo>
                  <a:lnTo>
                    <a:pt x="593350" y="1118826"/>
                  </a:lnTo>
                  <a:lnTo>
                    <a:pt x="593350" y="1098616"/>
                  </a:lnTo>
                  <a:lnTo>
                    <a:pt x="580272" y="1071380"/>
                  </a:lnTo>
                  <a:lnTo>
                    <a:pt x="561250" y="1047711"/>
                  </a:lnTo>
                  <a:lnTo>
                    <a:pt x="554117" y="1033445"/>
                  </a:lnTo>
                  <a:lnTo>
                    <a:pt x="548173" y="1016800"/>
                  </a:lnTo>
                  <a:lnTo>
                    <a:pt x="564817" y="1000156"/>
                  </a:lnTo>
                  <a:lnTo>
                    <a:pt x="585028" y="974110"/>
                  </a:lnTo>
                  <a:lnTo>
                    <a:pt x="608697" y="931419"/>
                  </a:lnTo>
                  <a:lnTo>
                    <a:pt x="630096" y="879217"/>
                  </a:lnTo>
                  <a:lnTo>
                    <a:pt x="653874" y="829393"/>
                  </a:lnTo>
                  <a:lnTo>
                    <a:pt x="663385" y="792646"/>
                  </a:lnTo>
                  <a:lnTo>
                    <a:pt x="659818" y="777191"/>
                  </a:lnTo>
                  <a:lnTo>
                    <a:pt x="649118" y="759466"/>
                  </a:lnTo>
                  <a:lnTo>
                    <a:pt x="641985" y="745200"/>
                  </a:lnTo>
                  <a:lnTo>
                    <a:pt x="651496" y="730934"/>
                  </a:lnTo>
                  <a:lnTo>
                    <a:pt x="694187" y="692998"/>
                  </a:lnTo>
                  <a:lnTo>
                    <a:pt x="742822" y="663384"/>
                  </a:lnTo>
                  <a:lnTo>
                    <a:pt x="753522" y="661007"/>
                  </a:lnTo>
                  <a:lnTo>
                    <a:pt x="763033" y="669329"/>
                  </a:lnTo>
                  <a:lnTo>
                    <a:pt x="763033" y="670518"/>
                  </a:lnTo>
                  <a:lnTo>
                    <a:pt x="776110" y="693106"/>
                  </a:lnTo>
                  <a:lnTo>
                    <a:pt x="785621" y="738175"/>
                  </a:lnTo>
                  <a:lnTo>
                    <a:pt x="789188" y="779677"/>
                  </a:lnTo>
                  <a:lnTo>
                    <a:pt x="786810" y="839012"/>
                  </a:lnTo>
                  <a:lnTo>
                    <a:pt x="786810" y="879325"/>
                  </a:lnTo>
                  <a:lnTo>
                    <a:pt x="793943" y="900724"/>
                  </a:lnTo>
                  <a:lnTo>
                    <a:pt x="814154" y="923313"/>
                  </a:lnTo>
                  <a:lnTo>
                    <a:pt x="828420" y="910235"/>
                  </a:lnTo>
                  <a:lnTo>
                    <a:pt x="845064" y="894780"/>
                  </a:lnTo>
                  <a:lnTo>
                    <a:pt x="862897" y="894780"/>
                  </a:lnTo>
                  <a:lnTo>
                    <a:pt x="886566" y="891214"/>
                  </a:lnTo>
                  <a:lnTo>
                    <a:pt x="890133" y="884080"/>
                  </a:lnTo>
                  <a:lnTo>
                    <a:pt x="868733" y="874569"/>
                  </a:lnTo>
                  <a:lnTo>
                    <a:pt x="843875" y="857926"/>
                  </a:lnTo>
                  <a:lnTo>
                    <a:pt x="835553" y="838904"/>
                  </a:lnTo>
                  <a:lnTo>
                    <a:pt x="835553" y="817504"/>
                  </a:lnTo>
                  <a:lnTo>
                    <a:pt x="839120" y="794916"/>
                  </a:lnTo>
                  <a:lnTo>
                    <a:pt x="856953" y="768869"/>
                  </a:lnTo>
                  <a:lnTo>
                    <a:pt x="858142" y="767680"/>
                  </a:lnTo>
                  <a:lnTo>
                    <a:pt x="874786" y="753414"/>
                  </a:lnTo>
                  <a:lnTo>
                    <a:pt x="874786" y="745092"/>
                  </a:lnTo>
                  <a:lnTo>
                    <a:pt x="867652" y="727259"/>
                  </a:lnTo>
                  <a:lnTo>
                    <a:pt x="847442" y="694079"/>
                  </a:lnTo>
                  <a:lnTo>
                    <a:pt x="834365" y="662088"/>
                  </a:lnTo>
                  <a:lnTo>
                    <a:pt x="822476" y="625341"/>
                  </a:lnTo>
                  <a:lnTo>
                    <a:pt x="814154" y="607508"/>
                  </a:lnTo>
                  <a:lnTo>
                    <a:pt x="792754" y="599186"/>
                  </a:lnTo>
                  <a:lnTo>
                    <a:pt x="738175" y="594431"/>
                  </a:lnTo>
                  <a:lnTo>
                    <a:pt x="702617" y="602753"/>
                  </a:lnTo>
                  <a:lnTo>
                    <a:pt x="681217" y="618208"/>
                  </a:lnTo>
                  <a:lnTo>
                    <a:pt x="677651" y="618208"/>
                  </a:lnTo>
                  <a:lnTo>
                    <a:pt x="664573" y="621774"/>
                  </a:lnTo>
                  <a:lnTo>
                    <a:pt x="650307" y="631285"/>
                  </a:lnTo>
                  <a:lnTo>
                    <a:pt x="637230" y="631285"/>
                  </a:lnTo>
                  <a:lnTo>
                    <a:pt x="627719" y="617019"/>
                  </a:lnTo>
                  <a:lnTo>
                    <a:pt x="622963" y="593242"/>
                  </a:lnTo>
                  <a:lnTo>
                    <a:pt x="624152" y="536284"/>
                  </a:lnTo>
                  <a:lnTo>
                    <a:pt x="624152" y="535096"/>
                  </a:lnTo>
                  <a:lnTo>
                    <a:pt x="628908" y="486460"/>
                  </a:lnTo>
                  <a:lnTo>
                    <a:pt x="634852" y="444958"/>
                  </a:lnTo>
                  <a:lnTo>
                    <a:pt x="639607" y="395134"/>
                  </a:lnTo>
                  <a:lnTo>
                    <a:pt x="644363" y="383246"/>
                  </a:lnTo>
                  <a:lnTo>
                    <a:pt x="651496" y="364224"/>
                  </a:lnTo>
                  <a:lnTo>
                    <a:pt x="651496" y="363035"/>
                  </a:lnTo>
                  <a:lnTo>
                    <a:pt x="647929" y="344121"/>
                  </a:lnTo>
                  <a:lnTo>
                    <a:pt x="645552" y="342932"/>
                  </a:lnTo>
                  <a:lnTo>
                    <a:pt x="618316" y="312130"/>
                  </a:lnTo>
                  <a:lnTo>
                    <a:pt x="600483" y="288461"/>
                  </a:lnTo>
                  <a:lnTo>
                    <a:pt x="590972" y="268250"/>
                  </a:lnTo>
                  <a:lnTo>
                    <a:pt x="590972" y="267061"/>
                  </a:lnTo>
                  <a:lnTo>
                    <a:pt x="590972" y="253984"/>
                  </a:lnTo>
                  <a:lnTo>
                    <a:pt x="604050" y="227937"/>
                  </a:lnTo>
                  <a:lnTo>
                    <a:pt x="613560" y="213671"/>
                  </a:lnTo>
                  <a:lnTo>
                    <a:pt x="617127" y="186435"/>
                  </a:lnTo>
                  <a:lnTo>
                    <a:pt x="626638" y="170980"/>
                  </a:lnTo>
                  <a:lnTo>
                    <a:pt x="650415" y="148391"/>
                  </a:lnTo>
                  <a:lnTo>
                    <a:pt x="674084" y="128181"/>
                  </a:lnTo>
                  <a:lnTo>
                    <a:pt x="681217" y="109159"/>
                  </a:lnTo>
                  <a:lnTo>
                    <a:pt x="681217" y="66468"/>
                  </a:lnTo>
                  <a:lnTo>
                    <a:pt x="685973" y="35666"/>
                  </a:lnTo>
                  <a:lnTo>
                    <a:pt x="689539" y="6052"/>
                  </a:lnTo>
                  <a:lnTo>
                    <a:pt x="700239" y="13185"/>
                  </a:lnTo>
                  <a:lnTo>
                    <a:pt x="713317" y="31018"/>
                  </a:lnTo>
                  <a:lnTo>
                    <a:pt x="714506" y="31018"/>
                  </a:lnTo>
                  <a:lnTo>
                    <a:pt x="724016" y="48851"/>
                  </a:lnTo>
                  <a:lnTo>
                    <a:pt x="724016" y="50040"/>
                  </a:lnTo>
                  <a:lnTo>
                    <a:pt x="726394" y="74898"/>
                  </a:lnTo>
                  <a:lnTo>
                    <a:pt x="726394" y="112834"/>
                  </a:lnTo>
                  <a:lnTo>
                    <a:pt x="726394" y="157902"/>
                  </a:lnTo>
                  <a:lnTo>
                    <a:pt x="721639" y="198216"/>
                  </a:lnTo>
                  <a:lnTo>
                    <a:pt x="720450" y="242095"/>
                  </a:lnTo>
                  <a:lnTo>
                    <a:pt x="720450" y="243284"/>
                  </a:lnTo>
                  <a:lnTo>
                    <a:pt x="727583" y="261117"/>
                  </a:lnTo>
                  <a:lnTo>
                    <a:pt x="727583" y="262306"/>
                  </a:lnTo>
                  <a:lnTo>
                    <a:pt x="739472" y="270628"/>
                  </a:lnTo>
                  <a:lnTo>
                    <a:pt x="771463" y="270628"/>
                  </a:lnTo>
                  <a:lnTo>
                    <a:pt x="772652" y="270628"/>
                  </a:lnTo>
                  <a:lnTo>
                    <a:pt x="798698" y="263495"/>
                  </a:lnTo>
                  <a:lnTo>
                    <a:pt x="816531" y="259928"/>
                  </a:lnTo>
                  <a:lnTo>
                    <a:pt x="829609" y="265873"/>
                  </a:lnTo>
                  <a:lnTo>
                    <a:pt x="851008" y="282517"/>
                  </a:lnTo>
                  <a:lnTo>
                    <a:pt x="860519" y="282517"/>
                  </a:lnTo>
                  <a:lnTo>
                    <a:pt x="867652" y="268250"/>
                  </a:lnTo>
                  <a:lnTo>
                    <a:pt x="867652" y="267061"/>
                  </a:lnTo>
                  <a:lnTo>
                    <a:pt x="867652" y="243284"/>
                  </a:lnTo>
                  <a:lnTo>
                    <a:pt x="858142" y="216048"/>
                  </a:lnTo>
                  <a:lnTo>
                    <a:pt x="837931" y="205349"/>
                  </a:lnTo>
                  <a:lnTo>
                    <a:pt x="802373" y="194649"/>
                  </a:lnTo>
                  <a:lnTo>
                    <a:pt x="785729" y="182760"/>
                  </a:lnTo>
                  <a:lnTo>
                    <a:pt x="768004" y="161361"/>
                  </a:lnTo>
                  <a:lnTo>
                    <a:pt x="759682" y="145906"/>
                  </a:lnTo>
                  <a:lnTo>
                    <a:pt x="754927" y="128073"/>
                  </a:lnTo>
                  <a:lnTo>
                    <a:pt x="759682" y="97270"/>
                  </a:lnTo>
                  <a:lnTo>
                    <a:pt x="758493" y="84193"/>
                  </a:lnTo>
                  <a:lnTo>
                    <a:pt x="768004" y="78249"/>
                  </a:lnTo>
                  <a:lnTo>
                    <a:pt x="803562" y="78249"/>
                  </a:lnTo>
                  <a:lnTo>
                    <a:pt x="820206" y="86571"/>
                  </a:lnTo>
                  <a:lnTo>
                    <a:pt x="842795" y="98459"/>
                  </a:lnTo>
                  <a:lnTo>
                    <a:pt x="853494" y="97270"/>
                  </a:lnTo>
                  <a:lnTo>
                    <a:pt x="859438" y="93704"/>
                  </a:lnTo>
                  <a:lnTo>
                    <a:pt x="877272" y="115103"/>
                  </a:lnTo>
                  <a:lnTo>
                    <a:pt x="914018" y="144717"/>
                  </a:lnTo>
                  <a:lnTo>
                    <a:pt x="950765" y="164927"/>
                  </a:lnTo>
                  <a:lnTo>
                    <a:pt x="955520" y="209996"/>
                  </a:lnTo>
                  <a:lnTo>
                    <a:pt x="943632" y="226640"/>
                  </a:lnTo>
                  <a:lnTo>
                    <a:pt x="922232" y="234962"/>
                  </a:lnTo>
                  <a:lnTo>
                    <a:pt x="921043" y="261009"/>
                  </a:lnTo>
                  <a:lnTo>
                    <a:pt x="932932" y="278842"/>
                  </a:lnTo>
                  <a:lnTo>
                    <a:pt x="964923" y="297756"/>
                  </a:lnTo>
                  <a:lnTo>
                    <a:pt x="964923" y="297756"/>
                  </a:lnTo>
                  <a:lnTo>
                    <a:pt x="972056" y="323802"/>
                  </a:lnTo>
                  <a:lnTo>
                    <a:pt x="973245" y="324991"/>
                  </a:lnTo>
                  <a:lnTo>
                    <a:pt x="981567" y="352227"/>
                  </a:lnTo>
                  <a:lnTo>
                    <a:pt x="987511" y="380652"/>
                  </a:lnTo>
                  <a:lnTo>
                    <a:pt x="983945" y="411454"/>
                  </a:lnTo>
                  <a:lnTo>
                    <a:pt x="936498" y="457711"/>
                  </a:lnTo>
                  <a:lnTo>
                    <a:pt x="917585" y="490892"/>
                  </a:lnTo>
                  <a:lnTo>
                    <a:pt x="917585" y="518019"/>
                  </a:lnTo>
                  <a:lnTo>
                    <a:pt x="924718" y="547741"/>
                  </a:lnTo>
                  <a:lnTo>
                    <a:pt x="940173" y="566654"/>
                  </a:lnTo>
                  <a:lnTo>
                    <a:pt x="963842" y="589243"/>
                  </a:lnTo>
                  <a:lnTo>
                    <a:pt x="989889" y="592809"/>
                  </a:lnTo>
                  <a:lnTo>
                    <a:pt x="994644" y="597565"/>
                  </a:lnTo>
                  <a:lnTo>
                    <a:pt x="1005344" y="614209"/>
                  </a:lnTo>
                  <a:lnTo>
                    <a:pt x="1023069" y="626098"/>
                  </a:lnTo>
                  <a:lnTo>
                    <a:pt x="1036147" y="613020"/>
                  </a:lnTo>
                  <a:lnTo>
                    <a:pt x="1048035" y="599943"/>
                  </a:lnTo>
                  <a:lnTo>
                    <a:pt x="1057546" y="621342"/>
                  </a:lnTo>
                  <a:lnTo>
                    <a:pt x="1064679" y="645119"/>
                  </a:lnTo>
                  <a:lnTo>
                    <a:pt x="1090726" y="660575"/>
                  </a:lnTo>
                  <a:lnTo>
                    <a:pt x="1101426" y="670085"/>
                  </a:lnTo>
                  <a:lnTo>
                    <a:pt x="1097859" y="679596"/>
                  </a:lnTo>
                  <a:lnTo>
                    <a:pt x="1087159" y="690296"/>
                  </a:lnTo>
                  <a:lnTo>
                    <a:pt x="1085971" y="756656"/>
                  </a:lnTo>
                  <a:lnTo>
                    <a:pt x="1078838" y="776867"/>
                  </a:lnTo>
                  <a:lnTo>
                    <a:pt x="1071704" y="791133"/>
                  </a:lnTo>
                  <a:lnTo>
                    <a:pt x="1045657" y="794700"/>
                  </a:lnTo>
                  <a:lnTo>
                    <a:pt x="1050413" y="813721"/>
                  </a:lnTo>
                  <a:lnTo>
                    <a:pt x="1067057" y="825610"/>
                  </a:lnTo>
                  <a:lnTo>
                    <a:pt x="1067057" y="848198"/>
                  </a:lnTo>
                  <a:lnTo>
                    <a:pt x="1075379" y="888512"/>
                  </a:lnTo>
                  <a:lnTo>
                    <a:pt x="1089645" y="902778"/>
                  </a:lnTo>
                  <a:lnTo>
                    <a:pt x="1093212" y="925366"/>
                  </a:lnTo>
                  <a:lnTo>
                    <a:pt x="1113422" y="940821"/>
                  </a:lnTo>
                  <a:lnTo>
                    <a:pt x="1113422" y="942010"/>
                  </a:lnTo>
                  <a:lnTo>
                    <a:pt x="1116989" y="988268"/>
                  </a:lnTo>
                  <a:lnTo>
                    <a:pt x="1108019" y="1004372"/>
                  </a:lnTo>
                  <a:lnTo>
                    <a:pt x="1121096" y="1018638"/>
                  </a:lnTo>
                  <a:lnTo>
                    <a:pt x="1121096" y="1018638"/>
                  </a:lnTo>
                  <a:lnTo>
                    <a:pt x="1136551" y="1045874"/>
                  </a:lnTo>
                  <a:lnTo>
                    <a:pt x="1136551" y="1047063"/>
                  </a:lnTo>
                  <a:lnTo>
                    <a:pt x="1128229" y="1068462"/>
                  </a:lnTo>
                  <a:lnTo>
                    <a:pt x="1128229" y="1068462"/>
                  </a:lnTo>
                  <a:lnTo>
                    <a:pt x="1137740" y="1093320"/>
                  </a:lnTo>
                  <a:lnTo>
                    <a:pt x="1162598" y="1101642"/>
                  </a:lnTo>
                  <a:lnTo>
                    <a:pt x="1189834" y="1104020"/>
                  </a:lnTo>
                  <a:lnTo>
                    <a:pt x="1189834" y="1105208"/>
                  </a:lnTo>
                  <a:lnTo>
                    <a:pt x="1191023" y="1131255"/>
                  </a:lnTo>
                  <a:lnTo>
                    <a:pt x="1189834" y="1165625"/>
                  </a:lnTo>
                  <a:lnTo>
                    <a:pt x="1182701" y="1179891"/>
                  </a:lnTo>
                  <a:lnTo>
                    <a:pt x="1189834" y="1194157"/>
                  </a:lnTo>
                  <a:lnTo>
                    <a:pt x="1221825" y="1192968"/>
                  </a:lnTo>
                  <a:lnTo>
                    <a:pt x="1244414" y="1206046"/>
                  </a:lnTo>
                  <a:lnTo>
                    <a:pt x="1259869" y="1226256"/>
                  </a:lnTo>
                  <a:lnTo>
                    <a:pt x="1268191" y="1265381"/>
                  </a:lnTo>
                  <a:lnTo>
                    <a:pt x="1262246" y="1290347"/>
                  </a:lnTo>
                  <a:lnTo>
                    <a:pt x="1245602" y="1315205"/>
                  </a:lnTo>
                  <a:lnTo>
                    <a:pt x="1227878" y="1331741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61" name="Полилиния: фигура 231"/>
            <p:cNvSpPr/>
            <p:nvPr/>
          </p:nvSpPr>
          <p:spPr bwMode="auto">
            <a:xfrm>
              <a:off x="4254314" y="4272045"/>
              <a:ext cx="542336" cy="497376"/>
            </a:xfrm>
            <a:custGeom>
              <a:avLst/>
              <a:gdLst>
                <a:gd name="connsiteX0" fmla="*/ 158983 w 542336"/>
                <a:gd name="connsiteY0" fmla="*/ 75222 h 497376"/>
                <a:gd name="connsiteX1" fmla="*/ 121048 w 542336"/>
                <a:gd name="connsiteY1" fmla="*/ 107213 h 497376"/>
                <a:gd name="connsiteX2" fmla="*/ 96190 w 542336"/>
                <a:gd name="connsiteY2" fmla="*/ 129694 h 497376"/>
                <a:gd name="connsiteX3" fmla="*/ 70143 w 542336"/>
                <a:gd name="connsiteY3" fmla="*/ 138016 h 497376"/>
                <a:gd name="connsiteX4" fmla="*/ 58254 w 542336"/>
                <a:gd name="connsiteY4" fmla="*/ 142771 h 497376"/>
                <a:gd name="connsiteX5" fmla="*/ 59443 w 542336"/>
                <a:gd name="connsiteY5" fmla="*/ 171304 h 497376"/>
                <a:gd name="connsiteX6" fmla="*/ 49932 w 542336"/>
                <a:gd name="connsiteY6" fmla="*/ 209239 h 497376"/>
                <a:gd name="connsiteX7" fmla="*/ 35666 w 542336"/>
                <a:gd name="connsiteY7" fmla="*/ 218750 h 497376"/>
                <a:gd name="connsiteX8" fmla="*/ 28533 w 542336"/>
                <a:gd name="connsiteY8" fmla="*/ 228261 h 497376"/>
                <a:gd name="connsiteX9" fmla="*/ 10700 w 542336"/>
                <a:gd name="connsiteY9" fmla="*/ 235395 h 497376"/>
                <a:gd name="connsiteX10" fmla="*/ 2378 w 542336"/>
                <a:gd name="connsiteY10" fmla="*/ 244905 h 497376"/>
                <a:gd name="connsiteX11" fmla="*/ 0 w 542336"/>
                <a:gd name="connsiteY11" fmla="*/ 279274 h 497376"/>
                <a:gd name="connsiteX12" fmla="*/ 3567 w 542336"/>
                <a:gd name="connsiteY12" fmla="*/ 306510 h 497376"/>
                <a:gd name="connsiteX13" fmla="*/ 15455 w 542336"/>
                <a:gd name="connsiteY13" fmla="*/ 333746 h 497376"/>
                <a:gd name="connsiteX14" fmla="*/ 53391 w 542336"/>
                <a:gd name="connsiteY14" fmla="*/ 372870 h 497376"/>
                <a:gd name="connsiteX15" fmla="*/ 96082 w 542336"/>
                <a:gd name="connsiteY15" fmla="*/ 403673 h 497376"/>
                <a:gd name="connsiteX16" fmla="*/ 150661 w 542336"/>
                <a:gd name="connsiteY16" fmla="*/ 401295 h 497376"/>
                <a:gd name="connsiteX17" fmla="*/ 170872 w 542336"/>
                <a:gd name="connsiteY17" fmla="*/ 414372 h 497376"/>
                <a:gd name="connsiteX18" fmla="*/ 189785 w 542336"/>
                <a:gd name="connsiteY18" fmla="*/ 453496 h 497376"/>
                <a:gd name="connsiteX19" fmla="*/ 202863 w 542336"/>
                <a:gd name="connsiteY19" fmla="*/ 465385 h 497376"/>
                <a:gd name="connsiteX20" fmla="*/ 214752 w 542336"/>
                <a:gd name="connsiteY20" fmla="*/ 484299 h 497376"/>
                <a:gd name="connsiteX21" fmla="*/ 220696 w 542336"/>
                <a:gd name="connsiteY21" fmla="*/ 483110 h 497376"/>
                <a:gd name="connsiteX22" fmla="*/ 233773 w 542336"/>
                <a:gd name="connsiteY22" fmla="*/ 486677 h 497376"/>
                <a:gd name="connsiteX23" fmla="*/ 250417 w 542336"/>
                <a:gd name="connsiteY23" fmla="*/ 492621 h 497376"/>
                <a:gd name="connsiteX24" fmla="*/ 274195 w 542336"/>
                <a:gd name="connsiteY24" fmla="*/ 497376 h 497376"/>
                <a:gd name="connsiteX25" fmla="*/ 290839 w 542336"/>
                <a:gd name="connsiteY25" fmla="*/ 497376 h 497376"/>
                <a:gd name="connsiteX26" fmla="*/ 307483 w 542336"/>
                <a:gd name="connsiteY26" fmla="*/ 493810 h 497376"/>
                <a:gd name="connsiteX27" fmla="*/ 301539 w 542336"/>
                <a:gd name="connsiteY27" fmla="*/ 473599 h 497376"/>
                <a:gd name="connsiteX28" fmla="*/ 300350 w 542336"/>
                <a:gd name="connsiteY28" fmla="*/ 452200 h 497376"/>
                <a:gd name="connsiteX29" fmla="*/ 300350 w 542336"/>
                <a:gd name="connsiteY29" fmla="*/ 426153 h 497376"/>
                <a:gd name="connsiteX30" fmla="*/ 314616 w 542336"/>
                <a:gd name="connsiteY30" fmla="*/ 402376 h 497376"/>
                <a:gd name="connsiteX31" fmla="*/ 312238 w 542336"/>
                <a:gd name="connsiteY31" fmla="*/ 339474 h 497376"/>
                <a:gd name="connsiteX32" fmla="*/ 343041 w 542336"/>
                <a:gd name="connsiteY32" fmla="*/ 328774 h 497376"/>
                <a:gd name="connsiteX33" fmla="*/ 363251 w 542336"/>
                <a:gd name="connsiteY33" fmla="*/ 314508 h 497376"/>
                <a:gd name="connsiteX34" fmla="*/ 363251 w 542336"/>
                <a:gd name="connsiteY34" fmla="*/ 298188 h 497376"/>
                <a:gd name="connsiteX35" fmla="*/ 352551 w 542336"/>
                <a:gd name="connsiteY35" fmla="*/ 286299 h 497376"/>
                <a:gd name="connsiteX36" fmla="*/ 341852 w 542336"/>
                <a:gd name="connsiteY36" fmla="*/ 288677 h 497376"/>
                <a:gd name="connsiteX37" fmla="*/ 320452 w 542336"/>
                <a:gd name="connsiteY37" fmla="*/ 267278 h 497376"/>
                <a:gd name="connsiteX38" fmla="*/ 297864 w 542336"/>
                <a:gd name="connsiteY38" fmla="*/ 242311 h 497376"/>
                <a:gd name="connsiteX39" fmla="*/ 297864 w 542336"/>
                <a:gd name="connsiteY39" fmla="*/ 241123 h 497376"/>
                <a:gd name="connsiteX40" fmla="*/ 290731 w 542336"/>
                <a:gd name="connsiteY40" fmla="*/ 225668 h 497376"/>
                <a:gd name="connsiteX41" fmla="*/ 294297 w 542336"/>
                <a:gd name="connsiteY41" fmla="*/ 201998 h 497376"/>
                <a:gd name="connsiteX42" fmla="*/ 297864 w 542336"/>
                <a:gd name="connsiteY42" fmla="*/ 181788 h 497376"/>
                <a:gd name="connsiteX43" fmla="*/ 309752 w 542336"/>
                <a:gd name="connsiteY43" fmla="*/ 168710 h 497376"/>
                <a:gd name="connsiteX44" fmla="*/ 321641 w 542336"/>
                <a:gd name="connsiteY44" fmla="*/ 156822 h 497376"/>
                <a:gd name="connsiteX45" fmla="*/ 328774 w 542336"/>
                <a:gd name="connsiteY45" fmla="*/ 163955 h 497376"/>
                <a:gd name="connsiteX46" fmla="*/ 343041 w 542336"/>
                <a:gd name="connsiteY46" fmla="*/ 179410 h 497376"/>
                <a:gd name="connsiteX47" fmla="*/ 371465 w 542336"/>
                <a:gd name="connsiteY47" fmla="*/ 182976 h 497376"/>
                <a:gd name="connsiteX48" fmla="*/ 392865 w 542336"/>
                <a:gd name="connsiteY48" fmla="*/ 192487 h 497376"/>
                <a:gd name="connsiteX49" fmla="*/ 405942 w 542336"/>
                <a:gd name="connsiteY49" fmla="*/ 197243 h 497376"/>
                <a:gd name="connsiteX50" fmla="*/ 442689 w 542336"/>
                <a:gd name="connsiteY50" fmla="*/ 197243 h 497376"/>
                <a:gd name="connsiteX51" fmla="*/ 467547 w 542336"/>
                <a:gd name="connsiteY51" fmla="*/ 185354 h 497376"/>
                <a:gd name="connsiteX52" fmla="*/ 492405 w 542336"/>
                <a:gd name="connsiteY52" fmla="*/ 166332 h 497376"/>
                <a:gd name="connsiteX53" fmla="*/ 516182 w 542336"/>
                <a:gd name="connsiteY53" fmla="*/ 168710 h 497376"/>
                <a:gd name="connsiteX54" fmla="*/ 530448 w 542336"/>
                <a:gd name="connsiteY54" fmla="*/ 152066 h 497376"/>
                <a:gd name="connsiteX55" fmla="*/ 542337 w 542336"/>
                <a:gd name="connsiteY55" fmla="*/ 146122 h 497376"/>
                <a:gd name="connsiteX56" fmla="*/ 538770 w 542336"/>
                <a:gd name="connsiteY56" fmla="*/ 129478 h 497376"/>
                <a:gd name="connsiteX57" fmla="*/ 522126 w 542336"/>
                <a:gd name="connsiteY57" fmla="*/ 122345 h 497376"/>
                <a:gd name="connsiteX58" fmla="*/ 429611 w 542336"/>
                <a:gd name="connsiteY58" fmla="*/ 122345 h 497376"/>
                <a:gd name="connsiteX59" fmla="*/ 429611 w 542336"/>
                <a:gd name="connsiteY59" fmla="*/ 104512 h 497376"/>
                <a:gd name="connsiteX60" fmla="*/ 416534 w 542336"/>
                <a:gd name="connsiteY60" fmla="*/ 93812 h 497376"/>
                <a:gd name="connsiteX61" fmla="*/ 401079 w 542336"/>
                <a:gd name="connsiteY61" fmla="*/ 83112 h 497376"/>
                <a:gd name="connsiteX62" fmla="*/ 395134 w 542336"/>
                <a:gd name="connsiteY62" fmla="*/ 65279 h 497376"/>
                <a:gd name="connsiteX63" fmla="*/ 382057 w 542336"/>
                <a:gd name="connsiteY63" fmla="*/ 47446 h 497376"/>
                <a:gd name="connsiteX64" fmla="*/ 367790 w 542336"/>
                <a:gd name="connsiteY64" fmla="*/ 30802 h 497376"/>
                <a:gd name="connsiteX65" fmla="*/ 335799 w 542336"/>
                <a:gd name="connsiteY65" fmla="*/ 11889 h 497376"/>
                <a:gd name="connsiteX66" fmla="*/ 262306 w 542336"/>
                <a:gd name="connsiteY66" fmla="*/ 11889 h 497376"/>
                <a:gd name="connsiteX67" fmla="*/ 243284 w 542336"/>
                <a:gd name="connsiteY67" fmla="*/ 0 h 497376"/>
                <a:gd name="connsiteX68" fmla="*/ 223074 w 542336"/>
                <a:gd name="connsiteY68" fmla="*/ 0 h 497376"/>
                <a:gd name="connsiteX69" fmla="*/ 223074 w 542336"/>
                <a:gd name="connsiteY69" fmla="*/ 19022 h 497376"/>
                <a:gd name="connsiteX70" fmla="*/ 213563 w 542336"/>
                <a:gd name="connsiteY70" fmla="*/ 36855 h 497376"/>
                <a:gd name="connsiteX71" fmla="*/ 189785 w 542336"/>
                <a:gd name="connsiteY71" fmla="*/ 38043 h 497376"/>
                <a:gd name="connsiteX72" fmla="*/ 162550 w 542336"/>
                <a:gd name="connsiteY72" fmla="*/ 54688 h 497376"/>
                <a:gd name="connsiteX73" fmla="*/ 158983 w 542336"/>
                <a:gd name="connsiteY73" fmla="*/ 75222 h 497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542336" h="497376" extrusionOk="0">
                  <a:moveTo>
                    <a:pt x="158983" y="75222"/>
                  </a:moveTo>
                  <a:lnTo>
                    <a:pt x="121048" y="107213"/>
                  </a:lnTo>
                  <a:lnTo>
                    <a:pt x="96190" y="129694"/>
                  </a:lnTo>
                  <a:lnTo>
                    <a:pt x="70143" y="138016"/>
                  </a:lnTo>
                  <a:lnTo>
                    <a:pt x="58254" y="142771"/>
                  </a:lnTo>
                  <a:lnTo>
                    <a:pt x="59443" y="171304"/>
                  </a:lnTo>
                  <a:lnTo>
                    <a:pt x="49932" y="209239"/>
                  </a:lnTo>
                  <a:lnTo>
                    <a:pt x="35666" y="218750"/>
                  </a:lnTo>
                  <a:lnTo>
                    <a:pt x="28533" y="228261"/>
                  </a:lnTo>
                  <a:lnTo>
                    <a:pt x="10700" y="235395"/>
                  </a:lnTo>
                  <a:lnTo>
                    <a:pt x="2378" y="244905"/>
                  </a:lnTo>
                  <a:lnTo>
                    <a:pt x="0" y="279274"/>
                  </a:lnTo>
                  <a:lnTo>
                    <a:pt x="3567" y="306510"/>
                  </a:lnTo>
                  <a:lnTo>
                    <a:pt x="15455" y="333746"/>
                  </a:lnTo>
                  <a:lnTo>
                    <a:pt x="53391" y="372870"/>
                  </a:lnTo>
                  <a:lnTo>
                    <a:pt x="96082" y="403673"/>
                  </a:lnTo>
                  <a:lnTo>
                    <a:pt x="150661" y="401295"/>
                  </a:lnTo>
                  <a:lnTo>
                    <a:pt x="170872" y="414372"/>
                  </a:lnTo>
                  <a:lnTo>
                    <a:pt x="189785" y="453496"/>
                  </a:lnTo>
                  <a:lnTo>
                    <a:pt x="202863" y="465385"/>
                  </a:lnTo>
                  <a:lnTo>
                    <a:pt x="214752" y="484299"/>
                  </a:lnTo>
                  <a:lnTo>
                    <a:pt x="220696" y="483110"/>
                  </a:lnTo>
                  <a:lnTo>
                    <a:pt x="233773" y="486677"/>
                  </a:lnTo>
                  <a:lnTo>
                    <a:pt x="250417" y="492621"/>
                  </a:lnTo>
                  <a:lnTo>
                    <a:pt x="274195" y="497376"/>
                  </a:lnTo>
                  <a:lnTo>
                    <a:pt x="290839" y="497376"/>
                  </a:lnTo>
                  <a:lnTo>
                    <a:pt x="307483" y="493810"/>
                  </a:lnTo>
                  <a:lnTo>
                    <a:pt x="301539" y="473599"/>
                  </a:lnTo>
                  <a:lnTo>
                    <a:pt x="300350" y="452200"/>
                  </a:lnTo>
                  <a:lnTo>
                    <a:pt x="300350" y="426153"/>
                  </a:lnTo>
                  <a:lnTo>
                    <a:pt x="314616" y="402376"/>
                  </a:lnTo>
                  <a:lnTo>
                    <a:pt x="312238" y="339474"/>
                  </a:lnTo>
                  <a:lnTo>
                    <a:pt x="343041" y="328774"/>
                  </a:lnTo>
                  <a:lnTo>
                    <a:pt x="363251" y="314508"/>
                  </a:lnTo>
                  <a:lnTo>
                    <a:pt x="363251" y="298188"/>
                  </a:lnTo>
                  <a:lnTo>
                    <a:pt x="352551" y="286299"/>
                  </a:lnTo>
                  <a:lnTo>
                    <a:pt x="341852" y="288677"/>
                  </a:lnTo>
                  <a:lnTo>
                    <a:pt x="320452" y="267278"/>
                  </a:lnTo>
                  <a:lnTo>
                    <a:pt x="297864" y="242311"/>
                  </a:lnTo>
                  <a:lnTo>
                    <a:pt x="297864" y="241123"/>
                  </a:lnTo>
                  <a:lnTo>
                    <a:pt x="290731" y="225668"/>
                  </a:lnTo>
                  <a:lnTo>
                    <a:pt x="294297" y="201998"/>
                  </a:lnTo>
                  <a:lnTo>
                    <a:pt x="297864" y="181788"/>
                  </a:lnTo>
                  <a:lnTo>
                    <a:pt x="309752" y="168710"/>
                  </a:lnTo>
                  <a:lnTo>
                    <a:pt x="321641" y="156822"/>
                  </a:lnTo>
                  <a:lnTo>
                    <a:pt x="328774" y="163955"/>
                  </a:lnTo>
                  <a:lnTo>
                    <a:pt x="343041" y="179410"/>
                  </a:lnTo>
                  <a:lnTo>
                    <a:pt x="371465" y="182976"/>
                  </a:lnTo>
                  <a:lnTo>
                    <a:pt x="392865" y="192487"/>
                  </a:lnTo>
                  <a:lnTo>
                    <a:pt x="405942" y="197243"/>
                  </a:lnTo>
                  <a:lnTo>
                    <a:pt x="442689" y="197243"/>
                  </a:lnTo>
                  <a:lnTo>
                    <a:pt x="467547" y="185354"/>
                  </a:lnTo>
                  <a:lnTo>
                    <a:pt x="492405" y="166332"/>
                  </a:lnTo>
                  <a:lnTo>
                    <a:pt x="516182" y="168710"/>
                  </a:lnTo>
                  <a:lnTo>
                    <a:pt x="530448" y="152066"/>
                  </a:lnTo>
                  <a:lnTo>
                    <a:pt x="542337" y="146122"/>
                  </a:lnTo>
                  <a:lnTo>
                    <a:pt x="538770" y="129478"/>
                  </a:lnTo>
                  <a:lnTo>
                    <a:pt x="522126" y="122345"/>
                  </a:lnTo>
                  <a:lnTo>
                    <a:pt x="429611" y="122345"/>
                  </a:lnTo>
                  <a:lnTo>
                    <a:pt x="429611" y="104512"/>
                  </a:lnTo>
                  <a:lnTo>
                    <a:pt x="416534" y="93812"/>
                  </a:lnTo>
                  <a:lnTo>
                    <a:pt x="401079" y="83112"/>
                  </a:lnTo>
                  <a:lnTo>
                    <a:pt x="395134" y="65279"/>
                  </a:lnTo>
                  <a:lnTo>
                    <a:pt x="382057" y="47446"/>
                  </a:lnTo>
                  <a:lnTo>
                    <a:pt x="367790" y="30802"/>
                  </a:lnTo>
                  <a:lnTo>
                    <a:pt x="335799" y="11889"/>
                  </a:lnTo>
                  <a:lnTo>
                    <a:pt x="262306" y="11889"/>
                  </a:lnTo>
                  <a:lnTo>
                    <a:pt x="243284" y="0"/>
                  </a:lnTo>
                  <a:lnTo>
                    <a:pt x="223074" y="0"/>
                  </a:lnTo>
                  <a:lnTo>
                    <a:pt x="223074" y="19022"/>
                  </a:lnTo>
                  <a:lnTo>
                    <a:pt x="213563" y="36855"/>
                  </a:lnTo>
                  <a:lnTo>
                    <a:pt x="189785" y="38043"/>
                  </a:lnTo>
                  <a:lnTo>
                    <a:pt x="162550" y="54688"/>
                  </a:lnTo>
                  <a:lnTo>
                    <a:pt x="158983" y="75222"/>
                  </a:lnTo>
                  <a:close/>
                </a:path>
              </a:pathLst>
            </a:custGeom>
            <a:grpFill/>
            <a:ln w="9525" cap="flat">
              <a:solidFill>
                <a:srgbClr val="2B394A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/>
            </a:p>
          </p:txBody>
        </p:sp>
        <p:grpSp>
          <p:nvGrpSpPr>
            <p:cNvPr id="162" name="Рисунок 1"/>
            <p:cNvGrpSpPr/>
            <p:nvPr/>
          </p:nvGrpSpPr>
          <p:grpSpPr bwMode="auto">
            <a:xfrm>
              <a:off x="8076502" y="4372450"/>
              <a:ext cx="1665918" cy="1332281"/>
              <a:chOff x="8076502" y="4372450"/>
              <a:chExt cx="1665918" cy="1332281"/>
            </a:xfrm>
            <a:grpFill/>
          </p:grpSpPr>
          <p:sp>
            <p:nvSpPr>
              <p:cNvPr id="163" name="Полилиния: фигура 233"/>
              <p:cNvSpPr/>
              <p:nvPr/>
            </p:nvSpPr>
            <p:spPr bwMode="auto">
              <a:xfrm>
                <a:off x="8648020" y="5696301"/>
                <a:ext cx="18805" cy="8430"/>
              </a:xfrm>
              <a:custGeom>
                <a:avLst/>
                <a:gdLst>
                  <a:gd name="connsiteX0" fmla="*/ 0 w 18805"/>
                  <a:gd name="connsiteY0" fmla="*/ 5080 h 8430"/>
                  <a:gd name="connsiteX1" fmla="*/ 3567 w 18805"/>
                  <a:gd name="connsiteY1" fmla="*/ 8430 h 8430"/>
                  <a:gd name="connsiteX2" fmla="*/ 14266 w 18805"/>
                  <a:gd name="connsiteY2" fmla="*/ 6485 h 8430"/>
                  <a:gd name="connsiteX3" fmla="*/ 18806 w 18805"/>
                  <a:gd name="connsiteY3" fmla="*/ 216 h 8430"/>
                  <a:gd name="connsiteX4" fmla="*/ 10700 w 18805"/>
                  <a:gd name="connsiteY4" fmla="*/ 0 h 8430"/>
                  <a:gd name="connsiteX5" fmla="*/ 0 w 18805"/>
                  <a:gd name="connsiteY5" fmla="*/ 5080 h 8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805" h="8430" extrusionOk="0">
                    <a:moveTo>
                      <a:pt x="0" y="5080"/>
                    </a:moveTo>
                    <a:lnTo>
                      <a:pt x="3567" y="8430"/>
                    </a:lnTo>
                    <a:lnTo>
                      <a:pt x="14266" y="6485"/>
                    </a:lnTo>
                    <a:lnTo>
                      <a:pt x="18806" y="216"/>
                    </a:lnTo>
                    <a:lnTo>
                      <a:pt x="10700" y="0"/>
                    </a:lnTo>
                    <a:lnTo>
                      <a:pt x="0" y="508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64" name="Полилиния: фигура 234"/>
              <p:cNvSpPr/>
              <p:nvPr/>
            </p:nvSpPr>
            <p:spPr bwMode="auto">
              <a:xfrm>
                <a:off x="8097686" y="4740997"/>
                <a:ext cx="40961" cy="37395"/>
              </a:xfrm>
              <a:custGeom>
                <a:avLst/>
                <a:gdLst>
                  <a:gd name="connsiteX0" fmla="*/ 1621 w 40961"/>
                  <a:gd name="connsiteY0" fmla="*/ 27776 h 37395"/>
                  <a:gd name="connsiteX1" fmla="*/ 4431 w 40961"/>
                  <a:gd name="connsiteY1" fmla="*/ 27884 h 37395"/>
                  <a:gd name="connsiteX2" fmla="*/ 6917 w 40961"/>
                  <a:gd name="connsiteY2" fmla="*/ 24750 h 37395"/>
                  <a:gd name="connsiteX3" fmla="*/ 10267 w 40961"/>
                  <a:gd name="connsiteY3" fmla="*/ 23345 h 37395"/>
                  <a:gd name="connsiteX4" fmla="*/ 13185 w 40961"/>
                  <a:gd name="connsiteY4" fmla="*/ 25723 h 37395"/>
                  <a:gd name="connsiteX5" fmla="*/ 15563 w 40961"/>
                  <a:gd name="connsiteY5" fmla="*/ 32964 h 37395"/>
                  <a:gd name="connsiteX6" fmla="*/ 20859 w 40961"/>
                  <a:gd name="connsiteY6" fmla="*/ 37395 h 37395"/>
                  <a:gd name="connsiteX7" fmla="*/ 26803 w 40961"/>
                  <a:gd name="connsiteY7" fmla="*/ 35018 h 37395"/>
                  <a:gd name="connsiteX8" fmla="*/ 30802 w 40961"/>
                  <a:gd name="connsiteY8" fmla="*/ 31667 h 37395"/>
                  <a:gd name="connsiteX9" fmla="*/ 30045 w 40961"/>
                  <a:gd name="connsiteY9" fmla="*/ 26587 h 37395"/>
                  <a:gd name="connsiteX10" fmla="*/ 32207 w 40961"/>
                  <a:gd name="connsiteY10" fmla="*/ 22048 h 37395"/>
                  <a:gd name="connsiteX11" fmla="*/ 38259 w 40961"/>
                  <a:gd name="connsiteY11" fmla="*/ 19887 h 37395"/>
                  <a:gd name="connsiteX12" fmla="*/ 40961 w 40961"/>
                  <a:gd name="connsiteY12" fmla="*/ 16968 h 37395"/>
                  <a:gd name="connsiteX13" fmla="*/ 34909 w 40961"/>
                  <a:gd name="connsiteY13" fmla="*/ 14375 h 37395"/>
                  <a:gd name="connsiteX14" fmla="*/ 32315 w 40961"/>
                  <a:gd name="connsiteY14" fmla="*/ 17077 h 37395"/>
                  <a:gd name="connsiteX15" fmla="*/ 27127 w 40961"/>
                  <a:gd name="connsiteY15" fmla="*/ 17941 h 37395"/>
                  <a:gd name="connsiteX16" fmla="*/ 26587 w 40961"/>
                  <a:gd name="connsiteY16" fmla="*/ 15239 h 37395"/>
                  <a:gd name="connsiteX17" fmla="*/ 31667 w 40961"/>
                  <a:gd name="connsiteY17" fmla="*/ 11889 h 37395"/>
                  <a:gd name="connsiteX18" fmla="*/ 33288 w 40961"/>
                  <a:gd name="connsiteY18" fmla="*/ 9295 h 37395"/>
                  <a:gd name="connsiteX19" fmla="*/ 31991 w 40961"/>
                  <a:gd name="connsiteY19" fmla="*/ 6809 h 37395"/>
                  <a:gd name="connsiteX20" fmla="*/ 23453 w 40961"/>
                  <a:gd name="connsiteY20" fmla="*/ 4864 h 37395"/>
                  <a:gd name="connsiteX21" fmla="*/ 19454 w 40961"/>
                  <a:gd name="connsiteY21" fmla="*/ 0 h 37395"/>
                  <a:gd name="connsiteX22" fmla="*/ 13834 w 40961"/>
                  <a:gd name="connsiteY22" fmla="*/ 1837 h 37395"/>
                  <a:gd name="connsiteX23" fmla="*/ 8970 w 40961"/>
                  <a:gd name="connsiteY23" fmla="*/ 7674 h 37395"/>
                  <a:gd name="connsiteX24" fmla="*/ 2486 w 40961"/>
                  <a:gd name="connsiteY24" fmla="*/ 9835 h 37395"/>
                  <a:gd name="connsiteX25" fmla="*/ 0 w 40961"/>
                  <a:gd name="connsiteY25" fmla="*/ 15347 h 37395"/>
                  <a:gd name="connsiteX26" fmla="*/ 1621 w 40961"/>
                  <a:gd name="connsiteY26" fmla="*/ 27776 h 37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0961" h="37395" extrusionOk="0">
                    <a:moveTo>
                      <a:pt x="1621" y="27776"/>
                    </a:moveTo>
                    <a:lnTo>
                      <a:pt x="4431" y="27884"/>
                    </a:lnTo>
                    <a:lnTo>
                      <a:pt x="6917" y="24750"/>
                    </a:lnTo>
                    <a:lnTo>
                      <a:pt x="10267" y="23345"/>
                    </a:lnTo>
                    <a:lnTo>
                      <a:pt x="13185" y="25723"/>
                    </a:lnTo>
                    <a:lnTo>
                      <a:pt x="15563" y="32964"/>
                    </a:lnTo>
                    <a:lnTo>
                      <a:pt x="20859" y="37395"/>
                    </a:lnTo>
                    <a:lnTo>
                      <a:pt x="26803" y="35018"/>
                    </a:lnTo>
                    <a:lnTo>
                      <a:pt x="30802" y="31667"/>
                    </a:lnTo>
                    <a:lnTo>
                      <a:pt x="30045" y="26587"/>
                    </a:lnTo>
                    <a:lnTo>
                      <a:pt x="32207" y="22048"/>
                    </a:lnTo>
                    <a:lnTo>
                      <a:pt x="38259" y="19887"/>
                    </a:lnTo>
                    <a:lnTo>
                      <a:pt x="40961" y="16968"/>
                    </a:lnTo>
                    <a:lnTo>
                      <a:pt x="34909" y="14375"/>
                    </a:lnTo>
                    <a:lnTo>
                      <a:pt x="32315" y="17077"/>
                    </a:lnTo>
                    <a:lnTo>
                      <a:pt x="27127" y="17941"/>
                    </a:lnTo>
                    <a:lnTo>
                      <a:pt x="26587" y="15239"/>
                    </a:lnTo>
                    <a:lnTo>
                      <a:pt x="31667" y="11889"/>
                    </a:lnTo>
                    <a:lnTo>
                      <a:pt x="33288" y="9295"/>
                    </a:lnTo>
                    <a:lnTo>
                      <a:pt x="31991" y="6809"/>
                    </a:lnTo>
                    <a:lnTo>
                      <a:pt x="23453" y="4864"/>
                    </a:lnTo>
                    <a:lnTo>
                      <a:pt x="19454" y="0"/>
                    </a:lnTo>
                    <a:lnTo>
                      <a:pt x="13834" y="1837"/>
                    </a:lnTo>
                    <a:lnTo>
                      <a:pt x="8970" y="7674"/>
                    </a:lnTo>
                    <a:lnTo>
                      <a:pt x="2486" y="9835"/>
                    </a:lnTo>
                    <a:lnTo>
                      <a:pt x="0" y="15347"/>
                    </a:lnTo>
                    <a:lnTo>
                      <a:pt x="1621" y="2777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65" name="Полилиния: фигура 235"/>
              <p:cNvSpPr/>
              <p:nvPr/>
            </p:nvSpPr>
            <p:spPr bwMode="auto">
              <a:xfrm>
                <a:off x="8076502" y="4737647"/>
                <a:ext cx="19994" cy="15995"/>
              </a:xfrm>
              <a:custGeom>
                <a:avLst/>
                <a:gdLst>
                  <a:gd name="connsiteX0" fmla="*/ 865 w 19994"/>
                  <a:gd name="connsiteY0" fmla="*/ 14807 h 15995"/>
                  <a:gd name="connsiteX1" fmla="*/ 3999 w 19994"/>
                  <a:gd name="connsiteY1" fmla="*/ 14807 h 15995"/>
                  <a:gd name="connsiteX2" fmla="*/ 4864 w 19994"/>
                  <a:gd name="connsiteY2" fmla="*/ 12970 h 15995"/>
                  <a:gd name="connsiteX3" fmla="*/ 8322 w 19994"/>
                  <a:gd name="connsiteY3" fmla="*/ 11348 h 15995"/>
                  <a:gd name="connsiteX4" fmla="*/ 11348 w 19994"/>
                  <a:gd name="connsiteY4" fmla="*/ 15996 h 15995"/>
                  <a:gd name="connsiteX5" fmla="*/ 14698 w 19994"/>
                  <a:gd name="connsiteY5" fmla="*/ 15239 h 15995"/>
                  <a:gd name="connsiteX6" fmla="*/ 14807 w 19994"/>
                  <a:gd name="connsiteY6" fmla="*/ 8971 h 15995"/>
                  <a:gd name="connsiteX7" fmla="*/ 19562 w 19994"/>
                  <a:gd name="connsiteY7" fmla="*/ 5945 h 15995"/>
                  <a:gd name="connsiteX8" fmla="*/ 19994 w 19994"/>
                  <a:gd name="connsiteY8" fmla="*/ 648 h 15995"/>
                  <a:gd name="connsiteX9" fmla="*/ 17617 w 19994"/>
                  <a:gd name="connsiteY9" fmla="*/ 0 h 15995"/>
                  <a:gd name="connsiteX10" fmla="*/ 11348 w 19994"/>
                  <a:gd name="connsiteY10" fmla="*/ 2810 h 15995"/>
                  <a:gd name="connsiteX11" fmla="*/ 2918 w 19994"/>
                  <a:gd name="connsiteY11" fmla="*/ 2486 h 15995"/>
                  <a:gd name="connsiteX12" fmla="*/ 0 w 19994"/>
                  <a:gd name="connsiteY12" fmla="*/ 8430 h 15995"/>
                  <a:gd name="connsiteX13" fmla="*/ 865 w 19994"/>
                  <a:gd name="connsiteY13" fmla="*/ 14807 h 15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9994" h="15995" extrusionOk="0">
                    <a:moveTo>
                      <a:pt x="865" y="14807"/>
                    </a:moveTo>
                    <a:lnTo>
                      <a:pt x="3999" y="14807"/>
                    </a:lnTo>
                    <a:lnTo>
                      <a:pt x="4864" y="12970"/>
                    </a:lnTo>
                    <a:lnTo>
                      <a:pt x="8322" y="11348"/>
                    </a:lnTo>
                    <a:lnTo>
                      <a:pt x="11348" y="15996"/>
                    </a:lnTo>
                    <a:lnTo>
                      <a:pt x="14698" y="15239"/>
                    </a:lnTo>
                    <a:lnTo>
                      <a:pt x="14807" y="8971"/>
                    </a:lnTo>
                    <a:lnTo>
                      <a:pt x="19562" y="5945"/>
                    </a:lnTo>
                    <a:lnTo>
                      <a:pt x="19994" y="648"/>
                    </a:lnTo>
                    <a:lnTo>
                      <a:pt x="17617" y="0"/>
                    </a:lnTo>
                    <a:lnTo>
                      <a:pt x="11348" y="2810"/>
                    </a:lnTo>
                    <a:lnTo>
                      <a:pt x="2918" y="2486"/>
                    </a:lnTo>
                    <a:lnTo>
                      <a:pt x="0" y="8430"/>
                    </a:lnTo>
                    <a:lnTo>
                      <a:pt x="865" y="1480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66" name="Полилиния: фигура 236"/>
              <p:cNvSpPr/>
              <p:nvPr/>
            </p:nvSpPr>
            <p:spPr bwMode="auto">
              <a:xfrm>
                <a:off x="8117248" y="4791470"/>
                <a:ext cx="9943" cy="10266"/>
              </a:xfrm>
              <a:custGeom>
                <a:avLst/>
                <a:gdLst>
                  <a:gd name="connsiteX0" fmla="*/ 0 w 9943"/>
                  <a:gd name="connsiteY0" fmla="*/ 7782 h 10267"/>
                  <a:gd name="connsiteX1" fmla="*/ 648 w 9943"/>
                  <a:gd name="connsiteY1" fmla="*/ 10268 h 10267"/>
                  <a:gd name="connsiteX2" fmla="*/ 6376 w 9943"/>
                  <a:gd name="connsiteY2" fmla="*/ 8970 h 10267"/>
                  <a:gd name="connsiteX3" fmla="*/ 9943 w 9943"/>
                  <a:gd name="connsiteY3" fmla="*/ 5080 h 10267"/>
                  <a:gd name="connsiteX4" fmla="*/ 7349 w 9943"/>
                  <a:gd name="connsiteY4" fmla="*/ 0 h 10267"/>
                  <a:gd name="connsiteX5" fmla="*/ 5511 w 9943"/>
                  <a:gd name="connsiteY5" fmla="*/ 1189 h 10267"/>
                  <a:gd name="connsiteX6" fmla="*/ 4971 w 9943"/>
                  <a:gd name="connsiteY6" fmla="*/ 4215 h 10267"/>
                  <a:gd name="connsiteX7" fmla="*/ 0 w 9943"/>
                  <a:gd name="connsiteY7" fmla="*/ 7782 h 10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943" h="10267" extrusionOk="0">
                    <a:moveTo>
                      <a:pt x="0" y="7782"/>
                    </a:moveTo>
                    <a:lnTo>
                      <a:pt x="648" y="10268"/>
                    </a:lnTo>
                    <a:lnTo>
                      <a:pt x="6376" y="8970"/>
                    </a:lnTo>
                    <a:lnTo>
                      <a:pt x="9943" y="5080"/>
                    </a:lnTo>
                    <a:lnTo>
                      <a:pt x="7349" y="0"/>
                    </a:lnTo>
                    <a:lnTo>
                      <a:pt x="5511" y="1189"/>
                    </a:lnTo>
                    <a:lnTo>
                      <a:pt x="4971" y="4215"/>
                    </a:lnTo>
                    <a:lnTo>
                      <a:pt x="0" y="778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67" name="Полилиния: фигура 237"/>
              <p:cNvSpPr/>
              <p:nvPr/>
            </p:nvSpPr>
            <p:spPr bwMode="auto">
              <a:xfrm>
                <a:off x="8111303" y="4786282"/>
                <a:ext cx="5943" cy="11132"/>
              </a:xfrm>
              <a:custGeom>
                <a:avLst/>
                <a:gdLst>
                  <a:gd name="connsiteX0" fmla="*/ 1946 w 5944"/>
                  <a:gd name="connsiteY0" fmla="*/ 865 h 11132"/>
                  <a:gd name="connsiteX1" fmla="*/ 0 w 5944"/>
                  <a:gd name="connsiteY1" fmla="*/ 5080 h 11132"/>
                  <a:gd name="connsiteX2" fmla="*/ 757 w 5944"/>
                  <a:gd name="connsiteY2" fmla="*/ 11132 h 11132"/>
                  <a:gd name="connsiteX3" fmla="*/ 3999 w 5944"/>
                  <a:gd name="connsiteY3" fmla="*/ 8214 h 11132"/>
                  <a:gd name="connsiteX4" fmla="*/ 5945 w 5944"/>
                  <a:gd name="connsiteY4" fmla="*/ 2594 h 11132"/>
                  <a:gd name="connsiteX5" fmla="*/ 4864 w 5944"/>
                  <a:gd name="connsiteY5" fmla="*/ 0 h 11132"/>
                  <a:gd name="connsiteX6" fmla="*/ 1946 w 5944"/>
                  <a:gd name="connsiteY6" fmla="*/ 865 h 11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944" h="11132" extrusionOk="0">
                    <a:moveTo>
                      <a:pt x="1946" y="865"/>
                    </a:moveTo>
                    <a:lnTo>
                      <a:pt x="0" y="5080"/>
                    </a:lnTo>
                    <a:lnTo>
                      <a:pt x="757" y="11132"/>
                    </a:lnTo>
                    <a:lnTo>
                      <a:pt x="3999" y="8214"/>
                    </a:lnTo>
                    <a:lnTo>
                      <a:pt x="5945" y="2594"/>
                    </a:lnTo>
                    <a:lnTo>
                      <a:pt x="4864" y="0"/>
                    </a:lnTo>
                    <a:lnTo>
                      <a:pt x="1946" y="86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68" name="Полилиния: фигура 238"/>
              <p:cNvSpPr/>
              <p:nvPr/>
            </p:nvSpPr>
            <p:spPr bwMode="auto">
              <a:xfrm>
                <a:off x="8096605" y="4804115"/>
                <a:ext cx="23560" cy="17940"/>
              </a:xfrm>
              <a:custGeom>
                <a:avLst/>
                <a:gdLst>
                  <a:gd name="connsiteX0" fmla="*/ 3567 w 23560"/>
                  <a:gd name="connsiteY0" fmla="*/ 17941 h 17940"/>
                  <a:gd name="connsiteX1" fmla="*/ 10916 w 23560"/>
                  <a:gd name="connsiteY1" fmla="*/ 12861 h 17940"/>
                  <a:gd name="connsiteX2" fmla="*/ 15347 w 23560"/>
                  <a:gd name="connsiteY2" fmla="*/ 13510 h 17940"/>
                  <a:gd name="connsiteX3" fmla="*/ 20319 w 23560"/>
                  <a:gd name="connsiteY3" fmla="*/ 8646 h 17940"/>
                  <a:gd name="connsiteX4" fmla="*/ 19670 w 23560"/>
                  <a:gd name="connsiteY4" fmla="*/ 5836 h 17940"/>
                  <a:gd name="connsiteX5" fmla="*/ 23561 w 23560"/>
                  <a:gd name="connsiteY5" fmla="*/ 2053 h 17940"/>
                  <a:gd name="connsiteX6" fmla="*/ 11456 w 23560"/>
                  <a:gd name="connsiteY6" fmla="*/ 0 h 17940"/>
                  <a:gd name="connsiteX7" fmla="*/ 1513 w 23560"/>
                  <a:gd name="connsiteY7" fmla="*/ 5836 h 17940"/>
                  <a:gd name="connsiteX8" fmla="*/ 0 w 23560"/>
                  <a:gd name="connsiteY8" fmla="*/ 11564 h 17940"/>
                  <a:gd name="connsiteX9" fmla="*/ 3567 w 23560"/>
                  <a:gd name="connsiteY9" fmla="*/ 17941 h 1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60" h="17940" extrusionOk="0">
                    <a:moveTo>
                      <a:pt x="3567" y="17941"/>
                    </a:moveTo>
                    <a:lnTo>
                      <a:pt x="10916" y="12861"/>
                    </a:lnTo>
                    <a:lnTo>
                      <a:pt x="15347" y="13510"/>
                    </a:lnTo>
                    <a:lnTo>
                      <a:pt x="20319" y="8646"/>
                    </a:lnTo>
                    <a:lnTo>
                      <a:pt x="19670" y="5836"/>
                    </a:lnTo>
                    <a:lnTo>
                      <a:pt x="23561" y="2053"/>
                    </a:lnTo>
                    <a:lnTo>
                      <a:pt x="11456" y="0"/>
                    </a:lnTo>
                    <a:lnTo>
                      <a:pt x="1513" y="5836"/>
                    </a:lnTo>
                    <a:lnTo>
                      <a:pt x="0" y="11564"/>
                    </a:lnTo>
                    <a:lnTo>
                      <a:pt x="3567" y="17941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69" name="Полилиния: фигура 239"/>
              <p:cNvSpPr/>
              <p:nvPr/>
            </p:nvSpPr>
            <p:spPr bwMode="auto">
              <a:xfrm>
                <a:off x="9507026" y="4372450"/>
                <a:ext cx="50580" cy="79113"/>
              </a:xfrm>
              <a:custGeom>
                <a:avLst/>
                <a:gdLst>
                  <a:gd name="connsiteX0" fmla="*/ 3675 w 50580"/>
                  <a:gd name="connsiteY0" fmla="*/ 77060 h 79113"/>
                  <a:gd name="connsiteX1" fmla="*/ 5837 w 50580"/>
                  <a:gd name="connsiteY1" fmla="*/ 79113 h 79113"/>
                  <a:gd name="connsiteX2" fmla="*/ 8539 w 50580"/>
                  <a:gd name="connsiteY2" fmla="*/ 70143 h 79113"/>
                  <a:gd name="connsiteX3" fmla="*/ 8106 w 50580"/>
                  <a:gd name="connsiteY3" fmla="*/ 61172 h 79113"/>
                  <a:gd name="connsiteX4" fmla="*/ 12105 w 50580"/>
                  <a:gd name="connsiteY4" fmla="*/ 58578 h 79113"/>
                  <a:gd name="connsiteX5" fmla="*/ 14483 w 50580"/>
                  <a:gd name="connsiteY5" fmla="*/ 53174 h 79113"/>
                  <a:gd name="connsiteX6" fmla="*/ 22480 w 50580"/>
                  <a:gd name="connsiteY6" fmla="*/ 45717 h 79113"/>
                  <a:gd name="connsiteX7" fmla="*/ 31559 w 50580"/>
                  <a:gd name="connsiteY7" fmla="*/ 41502 h 79113"/>
                  <a:gd name="connsiteX8" fmla="*/ 44096 w 50580"/>
                  <a:gd name="connsiteY8" fmla="*/ 38584 h 79113"/>
                  <a:gd name="connsiteX9" fmla="*/ 48743 w 50580"/>
                  <a:gd name="connsiteY9" fmla="*/ 38259 h 79113"/>
                  <a:gd name="connsiteX10" fmla="*/ 50365 w 50580"/>
                  <a:gd name="connsiteY10" fmla="*/ 28965 h 79113"/>
                  <a:gd name="connsiteX11" fmla="*/ 50581 w 50580"/>
                  <a:gd name="connsiteY11" fmla="*/ 17509 h 79113"/>
                  <a:gd name="connsiteX12" fmla="*/ 46041 w 50580"/>
                  <a:gd name="connsiteY12" fmla="*/ 3242 h 79113"/>
                  <a:gd name="connsiteX13" fmla="*/ 42367 w 50580"/>
                  <a:gd name="connsiteY13" fmla="*/ 0 h 79113"/>
                  <a:gd name="connsiteX14" fmla="*/ 36422 w 50580"/>
                  <a:gd name="connsiteY14" fmla="*/ 2378 h 79113"/>
                  <a:gd name="connsiteX15" fmla="*/ 33505 w 50580"/>
                  <a:gd name="connsiteY15" fmla="*/ 5836 h 79113"/>
                  <a:gd name="connsiteX16" fmla="*/ 29398 w 50580"/>
                  <a:gd name="connsiteY16" fmla="*/ 6484 h 79113"/>
                  <a:gd name="connsiteX17" fmla="*/ 14915 w 50580"/>
                  <a:gd name="connsiteY17" fmla="*/ 13618 h 79113"/>
                  <a:gd name="connsiteX18" fmla="*/ 10376 w 50580"/>
                  <a:gd name="connsiteY18" fmla="*/ 13618 h 79113"/>
                  <a:gd name="connsiteX19" fmla="*/ 2486 w 50580"/>
                  <a:gd name="connsiteY19" fmla="*/ 19022 h 79113"/>
                  <a:gd name="connsiteX20" fmla="*/ 7025 w 50580"/>
                  <a:gd name="connsiteY20" fmla="*/ 20535 h 79113"/>
                  <a:gd name="connsiteX21" fmla="*/ 15347 w 50580"/>
                  <a:gd name="connsiteY21" fmla="*/ 20967 h 79113"/>
                  <a:gd name="connsiteX22" fmla="*/ 15888 w 50580"/>
                  <a:gd name="connsiteY22" fmla="*/ 22588 h 79113"/>
                  <a:gd name="connsiteX23" fmla="*/ 10591 w 50580"/>
                  <a:gd name="connsiteY23" fmla="*/ 28424 h 79113"/>
                  <a:gd name="connsiteX24" fmla="*/ 7782 w 50580"/>
                  <a:gd name="connsiteY24" fmla="*/ 42042 h 79113"/>
                  <a:gd name="connsiteX25" fmla="*/ 9403 w 50580"/>
                  <a:gd name="connsiteY25" fmla="*/ 49500 h 79113"/>
                  <a:gd name="connsiteX26" fmla="*/ 6161 w 50580"/>
                  <a:gd name="connsiteY26" fmla="*/ 58470 h 79113"/>
                  <a:gd name="connsiteX27" fmla="*/ 433 w 50580"/>
                  <a:gd name="connsiteY27" fmla="*/ 61929 h 79113"/>
                  <a:gd name="connsiteX28" fmla="*/ 0 w 50580"/>
                  <a:gd name="connsiteY28" fmla="*/ 66900 h 79113"/>
                  <a:gd name="connsiteX29" fmla="*/ 3675 w 50580"/>
                  <a:gd name="connsiteY29" fmla="*/ 77060 h 79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0580" h="79113" extrusionOk="0">
                    <a:moveTo>
                      <a:pt x="3675" y="77060"/>
                    </a:moveTo>
                    <a:lnTo>
                      <a:pt x="5837" y="79113"/>
                    </a:lnTo>
                    <a:lnTo>
                      <a:pt x="8539" y="70143"/>
                    </a:lnTo>
                    <a:lnTo>
                      <a:pt x="8106" y="61172"/>
                    </a:lnTo>
                    <a:lnTo>
                      <a:pt x="12105" y="58578"/>
                    </a:lnTo>
                    <a:lnTo>
                      <a:pt x="14483" y="53174"/>
                    </a:lnTo>
                    <a:lnTo>
                      <a:pt x="22480" y="45717"/>
                    </a:lnTo>
                    <a:lnTo>
                      <a:pt x="31559" y="41502"/>
                    </a:lnTo>
                    <a:lnTo>
                      <a:pt x="44096" y="38584"/>
                    </a:lnTo>
                    <a:lnTo>
                      <a:pt x="48743" y="38259"/>
                    </a:lnTo>
                    <a:lnTo>
                      <a:pt x="50365" y="28965"/>
                    </a:lnTo>
                    <a:lnTo>
                      <a:pt x="50581" y="17509"/>
                    </a:lnTo>
                    <a:lnTo>
                      <a:pt x="46041" y="3242"/>
                    </a:lnTo>
                    <a:lnTo>
                      <a:pt x="42367" y="0"/>
                    </a:lnTo>
                    <a:lnTo>
                      <a:pt x="36422" y="2378"/>
                    </a:lnTo>
                    <a:lnTo>
                      <a:pt x="33505" y="5836"/>
                    </a:lnTo>
                    <a:lnTo>
                      <a:pt x="29398" y="6484"/>
                    </a:lnTo>
                    <a:lnTo>
                      <a:pt x="14915" y="13618"/>
                    </a:lnTo>
                    <a:lnTo>
                      <a:pt x="10376" y="13618"/>
                    </a:lnTo>
                    <a:lnTo>
                      <a:pt x="2486" y="19022"/>
                    </a:lnTo>
                    <a:lnTo>
                      <a:pt x="7025" y="20535"/>
                    </a:lnTo>
                    <a:lnTo>
                      <a:pt x="15347" y="20967"/>
                    </a:lnTo>
                    <a:lnTo>
                      <a:pt x="15888" y="22588"/>
                    </a:lnTo>
                    <a:lnTo>
                      <a:pt x="10591" y="28424"/>
                    </a:lnTo>
                    <a:lnTo>
                      <a:pt x="7782" y="42042"/>
                    </a:lnTo>
                    <a:lnTo>
                      <a:pt x="9403" y="49500"/>
                    </a:lnTo>
                    <a:lnTo>
                      <a:pt x="6161" y="58470"/>
                    </a:lnTo>
                    <a:lnTo>
                      <a:pt x="433" y="61929"/>
                    </a:lnTo>
                    <a:lnTo>
                      <a:pt x="0" y="66900"/>
                    </a:lnTo>
                    <a:lnTo>
                      <a:pt x="3675" y="7706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0" name="Полилиния: фигура 240"/>
              <p:cNvSpPr/>
              <p:nvPr/>
            </p:nvSpPr>
            <p:spPr bwMode="auto">
              <a:xfrm>
                <a:off x="9682546" y="4888632"/>
                <a:ext cx="59875" cy="32315"/>
              </a:xfrm>
              <a:custGeom>
                <a:avLst/>
                <a:gdLst>
                  <a:gd name="connsiteX0" fmla="*/ 0 w 59875"/>
                  <a:gd name="connsiteY0" fmla="*/ 3134 h 32315"/>
                  <a:gd name="connsiteX1" fmla="*/ 4972 w 59875"/>
                  <a:gd name="connsiteY1" fmla="*/ 11348 h 32315"/>
                  <a:gd name="connsiteX2" fmla="*/ 14483 w 59875"/>
                  <a:gd name="connsiteY2" fmla="*/ 11997 h 32315"/>
                  <a:gd name="connsiteX3" fmla="*/ 25291 w 59875"/>
                  <a:gd name="connsiteY3" fmla="*/ 22264 h 32315"/>
                  <a:gd name="connsiteX4" fmla="*/ 40746 w 59875"/>
                  <a:gd name="connsiteY4" fmla="*/ 27344 h 32315"/>
                  <a:gd name="connsiteX5" fmla="*/ 46150 w 59875"/>
                  <a:gd name="connsiteY5" fmla="*/ 32316 h 32315"/>
                  <a:gd name="connsiteX6" fmla="*/ 59876 w 59875"/>
                  <a:gd name="connsiteY6" fmla="*/ 29722 h 32315"/>
                  <a:gd name="connsiteX7" fmla="*/ 55877 w 59875"/>
                  <a:gd name="connsiteY7" fmla="*/ 25939 h 32315"/>
                  <a:gd name="connsiteX8" fmla="*/ 40529 w 59875"/>
                  <a:gd name="connsiteY8" fmla="*/ 19238 h 32315"/>
                  <a:gd name="connsiteX9" fmla="*/ 34045 w 59875"/>
                  <a:gd name="connsiteY9" fmla="*/ 13618 h 32315"/>
                  <a:gd name="connsiteX10" fmla="*/ 23777 w 59875"/>
                  <a:gd name="connsiteY10" fmla="*/ 12213 h 32315"/>
                  <a:gd name="connsiteX11" fmla="*/ 16968 w 59875"/>
                  <a:gd name="connsiteY11" fmla="*/ 3567 h 32315"/>
                  <a:gd name="connsiteX12" fmla="*/ 4432 w 59875"/>
                  <a:gd name="connsiteY12" fmla="*/ 0 h 32315"/>
                  <a:gd name="connsiteX13" fmla="*/ 0 w 59875"/>
                  <a:gd name="connsiteY13" fmla="*/ 3134 h 32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875" h="32315" extrusionOk="0">
                    <a:moveTo>
                      <a:pt x="0" y="3134"/>
                    </a:moveTo>
                    <a:lnTo>
                      <a:pt x="4972" y="11348"/>
                    </a:lnTo>
                    <a:lnTo>
                      <a:pt x="14483" y="11997"/>
                    </a:lnTo>
                    <a:lnTo>
                      <a:pt x="25291" y="22264"/>
                    </a:lnTo>
                    <a:lnTo>
                      <a:pt x="40746" y="27344"/>
                    </a:lnTo>
                    <a:lnTo>
                      <a:pt x="46150" y="32316"/>
                    </a:lnTo>
                    <a:lnTo>
                      <a:pt x="59876" y="29722"/>
                    </a:lnTo>
                    <a:lnTo>
                      <a:pt x="55877" y="25939"/>
                    </a:lnTo>
                    <a:lnTo>
                      <a:pt x="40529" y="19238"/>
                    </a:lnTo>
                    <a:lnTo>
                      <a:pt x="34045" y="13618"/>
                    </a:lnTo>
                    <a:lnTo>
                      <a:pt x="23777" y="12213"/>
                    </a:lnTo>
                    <a:lnTo>
                      <a:pt x="16968" y="3567"/>
                    </a:lnTo>
                    <a:lnTo>
                      <a:pt x="4432" y="0"/>
                    </a:lnTo>
                    <a:lnTo>
                      <a:pt x="0" y="313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1" name="Полилиния: фигура 241"/>
              <p:cNvSpPr/>
              <p:nvPr/>
            </p:nvSpPr>
            <p:spPr bwMode="auto">
              <a:xfrm>
                <a:off x="9576629" y="4847671"/>
                <a:ext cx="78573" cy="64414"/>
              </a:xfrm>
              <a:custGeom>
                <a:avLst/>
                <a:gdLst>
                  <a:gd name="connsiteX0" fmla="*/ 216 w 78573"/>
                  <a:gd name="connsiteY0" fmla="*/ 16536 h 64414"/>
                  <a:gd name="connsiteX1" fmla="*/ 8322 w 78573"/>
                  <a:gd name="connsiteY1" fmla="*/ 20427 h 64414"/>
                  <a:gd name="connsiteX2" fmla="*/ 16752 w 78573"/>
                  <a:gd name="connsiteY2" fmla="*/ 20211 h 64414"/>
                  <a:gd name="connsiteX3" fmla="*/ 22156 w 78573"/>
                  <a:gd name="connsiteY3" fmla="*/ 26263 h 64414"/>
                  <a:gd name="connsiteX4" fmla="*/ 21399 w 78573"/>
                  <a:gd name="connsiteY4" fmla="*/ 29938 h 64414"/>
                  <a:gd name="connsiteX5" fmla="*/ 31018 w 78573"/>
                  <a:gd name="connsiteY5" fmla="*/ 42691 h 64414"/>
                  <a:gd name="connsiteX6" fmla="*/ 38368 w 78573"/>
                  <a:gd name="connsiteY6" fmla="*/ 44312 h 64414"/>
                  <a:gd name="connsiteX7" fmla="*/ 46582 w 78573"/>
                  <a:gd name="connsiteY7" fmla="*/ 54147 h 64414"/>
                  <a:gd name="connsiteX8" fmla="*/ 51337 w 78573"/>
                  <a:gd name="connsiteY8" fmla="*/ 55012 h 64414"/>
                  <a:gd name="connsiteX9" fmla="*/ 55876 w 78573"/>
                  <a:gd name="connsiteY9" fmla="*/ 52850 h 64414"/>
                  <a:gd name="connsiteX10" fmla="*/ 65172 w 78573"/>
                  <a:gd name="connsiteY10" fmla="*/ 62685 h 64414"/>
                  <a:gd name="connsiteX11" fmla="*/ 76195 w 78573"/>
                  <a:gd name="connsiteY11" fmla="*/ 64415 h 64414"/>
                  <a:gd name="connsiteX12" fmla="*/ 78573 w 78573"/>
                  <a:gd name="connsiteY12" fmla="*/ 60416 h 64414"/>
                  <a:gd name="connsiteX13" fmla="*/ 72953 w 78573"/>
                  <a:gd name="connsiteY13" fmla="*/ 48851 h 64414"/>
                  <a:gd name="connsiteX14" fmla="*/ 62361 w 78573"/>
                  <a:gd name="connsiteY14" fmla="*/ 44960 h 64414"/>
                  <a:gd name="connsiteX15" fmla="*/ 48527 w 78573"/>
                  <a:gd name="connsiteY15" fmla="*/ 34261 h 64414"/>
                  <a:gd name="connsiteX16" fmla="*/ 45068 w 78573"/>
                  <a:gd name="connsiteY16" fmla="*/ 24534 h 64414"/>
                  <a:gd name="connsiteX17" fmla="*/ 35558 w 78573"/>
                  <a:gd name="connsiteY17" fmla="*/ 23669 h 64414"/>
                  <a:gd name="connsiteX18" fmla="*/ 26587 w 78573"/>
                  <a:gd name="connsiteY18" fmla="*/ 9403 h 64414"/>
                  <a:gd name="connsiteX19" fmla="*/ 26696 w 78573"/>
                  <a:gd name="connsiteY19" fmla="*/ 5728 h 64414"/>
                  <a:gd name="connsiteX20" fmla="*/ 31667 w 78573"/>
                  <a:gd name="connsiteY20" fmla="*/ 1405 h 64414"/>
                  <a:gd name="connsiteX21" fmla="*/ 20967 w 78573"/>
                  <a:gd name="connsiteY21" fmla="*/ 0 h 64414"/>
                  <a:gd name="connsiteX22" fmla="*/ 14698 w 78573"/>
                  <a:gd name="connsiteY22" fmla="*/ 2053 h 64414"/>
                  <a:gd name="connsiteX23" fmla="*/ 7674 w 78573"/>
                  <a:gd name="connsiteY23" fmla="*/ 1945 h 64414"/>
                  <a:gd name="connsiteX24" fmla="*/ 0 w 78573"/>
                  <a:gd name="connsiteY24" fmla="*/ 10591 h 64414"/>
                  <a:gd name="connsiteX25" fmla="*/ 216 w 78573"/>
                  <a:gd name="connsiteY25" fmla="*/ 16536 h 6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78573" h="64414" extrusionOk="0">
                    <a:moveTo>
                      <a:pt x="216" y="16536"/>
                    </a:moveTo>
                    <a:lnTo>
                      <a:pt x="8322" y="20427"/>
                    </a:lnTo>
                    <a:lnTo>
                      <a:pt x="16752" y="20211"/>
                    </a:lnTo>
                    <a:lnTo>
                      <a:pt x="22156" y="26263"/>
                    </a:lnTo>
                    <a:lnTo>
                      <a:pt x="21399" y="29938"/>
                    </a:lnTo>
                    <a:lnTo>
                      <a:pt x="31018" y="42691"/>
                    </a:lnTo>
                    <a:lnTo>
                      <a:pt x="38368" y="44312"/>
                    </a:lnTo>
                    <a:lnTo>
                      <a:pt x="46582" y="54147"/>
                    </a:lnTo>
                    <a:lnTo>
                      <a:pt x="51337" y="55012"/>
                    </a:lnTo>
                    <a:lnTo>
                      <a:pt x="55876" y="52850"/>
                    </a:lnTo>
                    <a:lnTo>
                      <a:pt x="65172" y="62685"/>
                    </a:lnTo>
                    <a:lnTo>
                      <a:pt x="76195" y="64415"/>
                    </a:lnTo>
                    <a:lnTo>
                      <a:pt x="78573" y="60416"/>
                    </a:lnTo>
                    <a:lnTo>
                      <a:pt x="72953" y="48851"/>
                    </a:lnTo>
                    <a:lnTo>
                      <a:pt x="62361" y="44960"/>
                    </a:lnTo>
                    <a:lnTo>
                      <a:pt x="48527" y="34261"/>
                    </a:lnTo>
                    <a:lnTo>
                      <a:pt x="45068" y="24534"/>
                    </a:lnTo>
                    <a:lnTo>
                      <a:pt x="35558" y="23669"/>
                    </a:lnTo>
                    <a:lnTo>
                      <a:pt x="26587" y="9403"/>
                    </a:lnTo>
                    <a:lnTo>
                      <a:pt x="26696" y="5728"/>
                    </a:lnTo>
                    <a:lnTo>
                      <a:pt x="31667" y="1405"/>
                    </a:lnTo>
                    <a:lnTo>
                      <a:pt x="20967" y="0"/>
                    </a:lnTo>
                    <a:lnTo>
                      <a:pt x="14698" y="2053"/>
                    </a:lnTo>
                    <a:lnTo>
                      <a:pt x="7674" y="1945"/>
                    </a:lnTo>
                    <a:lnTo>
                      <a:pt x="0" y="10591"/>
                    </a:lnTo>
                    <a:lnTo>
                      <a:pt x="216" y="1653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2" name="Полилиния: фигура 242"/>
              <p:cNvSpPr/>
              <p:nvPr/>
            </p:nvSpPr>
            <p:spPr bwMode="auto">
              <a:xfrm>
                <a:off x="9144748" y="5199465"/>
                <a:ext cx="14050" cy="19778"/>
              </a:xfrm>
              <a:custGeom>
                <a:avLst/>
                <a:gdLst>
                  <a:gd name="connsiteX0" fmla="*/ 2810 w 14050"/>
                  <a:gd name="connsiteY0" fmla="*/ 18049 h 19778"/>
                  <a:gd name="connsiteX1" fmla="*/ 6701 w 14050"/>
                  <a:gd name="connsiteY1" fmla="*/ 19778 h 19778"/>
                  <a:gd name="connsiteX2" fmla="*/ 12429 w 14050"/>
                  <a:gd name="connsiteY2" fmla="*/ 16968 h 19778"/>
                  <a:gd name="connsiteX3" fmla="*/ 14051 w 14050"/>
                  <a:gd name="connsiteY3" fmla="*/ 7998 h 19778"/>
                  <a:gd name="connsiteX4" fmla="*/ 11564 w 14050"/>
                  <a:gd name="connsiteY4" fmla="*/ 0 h 19778"/>
                  <a:gd name="connsiteX5" fmla="*/ 2594 w 14050"/>
                  <a:gd name="connsiteY5" fmla="*/ 2378 h 19778"/>
                  <a:gd name="connsiteX6" fmla="*/ 0 w 14050"/>
                  <a:gd name="connsiteY6" fmla="*/ 8322 h 19778"/>
                  <a:gd name="connsiteX7" fmla="*/ 2810 w 14050"/>
                  <a:gd name="connsiteY7" fmla="*/ 18049 h 1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050" h="19778" extrusionOk="0">
                    <a:moveTo>
                      <a:pt x="2810" y="18049"/>
                    </a:moveTo>
                    <a:lnTo>
                      <a:pt x="6701" y="19778"/>
                    </a:lnTo>
                    <a:lnTo>
                      <a:pt x="12429" y="16968"/>
                    </a:lnTo>
                    <a:lnTo>
                      <a:pt x="14051" y="7998"/>
                    </a:lnTo>
                    <a:lnTo>
                      <a:pt x="11564" y="0"/>
                    </a:lnTo>
                    <a:lnTo>
                      <a:pt x="2594" y="2378"/>
                    </a:lnTo>
                    <a:lnTo>
                      <a:pt x="0" y="8322"/>
                    </a:lnTo>
                    <a:lnTo>
                      <a:pt x="2810" y="1804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3" name="Полилиния: фигура 243"/>
              <p:cNvSpPr/>
              <p:nvPr/>
            </p:nvSpPr>
            <p:spPr bwMode="auto">
              <a:xfrm>
                <a:off x="9099896" y="5182713"/>
                <a:ext cx="16643" cy="17076"/>
              </a:xfrm>
              <a:custGeom>
                <a:avLst/>
                <a:gdLst>
                  <a:gd name="connsiteX0" fmla="*/ 3891 w 16643"/>
                  <a:gd name="connsiteY0" fmla="*/ 973 h 17076"/>
                  <a:gd name="connsiteX1" fmla="*/ 0 w 16643"/>
                  <a:gd name="connsiteY1" fmla="*/ 8106 h 17076"/>
                  <a:gd name="connsiteX2" fmla="*/ 2377 w 16643"/>
                  <a:gd name="connsiteY2" fmla="*/ 13618 h 17076"/>
                  <a:gd name="connsiteX3" fmla="*/ 12105 w 16643"/>
                  <a:gd name="connsiteY3" fmla="*/ 17076 h 17076"/>
                  <a:gd name="connsiteX4" fmla="*/ 16644 w 16643"/>
                  <a:gd name="connsiteY4" fmla="*/ 11348 h 17076"/>
                  <a:gd name="connsiteX5" fmla="*/ 10808 w 16643"/>
                  <a:gd name="connsiteY5" fmla="*/ 0 h 17076"/>
                  <a:gd name="connsiteX6" fmla="*/ 3891 w 16643"/>
                  <a:gd name="connsiteY6" fmla="*/ 973 h 170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43" h="17076" extrusionOk="0">
                    <a:moveTo>
                      <a:pt x="3891" y="973"/>
                    </a:moveTo>
                    <a:lnTo>
                      <a:pt x="0" y="8106"/>
                    </a:lnTo>
                    <a:lnTo>
                      <a:pt x="2377" y="13618"/>
                    </a:lnTo>
                    <a:lnTo>
                      <a:pt x="12105" y="17076"/>
                    </a:lnTo>
                    <a:lnTo>
                      <a:pt x="16644" y="11348"/>
                    </a:lnTo>
                    <a:lnTo>
                      <a:pt x="10808" y="0"/>
                    </a:lnTo>
                    <a:lnTo>
                      <a:pt x="3891" y="97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4" name="Полилиния: фигура 244"/>
              <p:cNvSpPr/>
              <p:nvPr/>
            </p:nvSpPr>
            <p:spPr bwMode="auto">
              <a:xfrm>
                <a:off x="9084981" y="5202167"/>
                <a:ext cx="58362" cy="73168"/>
              </a:xfrm>
              <a:custGeom>
                <a:avLst/>
                <a:gdLst>
                  <a:gd name="connsiteX0" fmla="*/ 10591 w 58362"/>
                  <a:gd name="connsiteY0" fmla="*/ 71224 h 73168"/>
                  <a:gd name="connsiteX1" fmla="*/ 13726 w 58362"/>
                  <a:gd name="connsiteY1" fmla="*/ 73169 h 73168"/>
                  <a:gd name="connsiteX2" fmla="*/ 18589 w 58362"/>
                  <a:gd name="connsiteY2" fmla="*/ 62577 h 73168"/>
                  <a:gd name="connsiteX3" fmla="*/ 23129 w 58362"/>
                  <a:gd name="connsiteY3" fmla="*/ 55877 h 73168"/>
                  <a:gd name="connsiteX4" fmla="*/ 32423 w 58362"/>
                  <a:gd name="connsiteY4" fmla="*/ 55336 h 73168"/>
                  <a:gd name="connsiteX5" fmla="*/ 41610 w 58362"/>
                  <a:gd name="connsiteY5" fmla="*/ 49175 h 73168"/>
                  <a:gd name="connsiteX6" fmla="*/ 45393 w 58362"/>
                  <a:gd name="connsiteY6" fmla="*/ 39124 h 73168"/>
                  <a:gd name="connsiteX7" fmla="*/ 49932 w 58362"/>
                  <a:gd name="connsiteY7" fmla="*/ 32315 h 73168"/>
                  <a:gd name="connsiteX8" fmla="*/ 57281 w 58362"/>
                  <a:gd name="connsiteY8" fmla="*/ 29938 h 73168"/>
                  <a:gd name="connsiteX9" fmla="*/ 58363 w 58362"/>
                  <a:gd name="connsiteY9" fmla="*/ 19562 h 73168"/>
                  <a:gd name="connsiteX10" fmla="*/ 49175 w 58362"/>
                  <a:gd name="connsiteY10" fmla="*/ 0 h 73168"/>
                  <a:gd name="connsiteX11" fmla="*/ 43880 w 58362"/>
                  <a:gd name="connsiteY11" fmla="*/ 6593 h 73168"/>
                  <a:gd name="connsiteX12" fmla="*/ 38044 w 58362"/>
                  <a:gd name="connsiteY12" fmla="*/ 23561 h 73168"/>
                  <a:gd name="connsiteX13" fmla="*/ 32747 w 58362"/>
                  <a:gd name="connsiteY13" fmla="*/ 32423 h 73168"/>
                  <a:gd name="connsiteX14" fmla="*/ 23561 w 58362"/>
                  <a:gd name="connsiteY14" fmla="*/ 31775 h 73168"/>
                  <a:gd name="connsiteX15" fmla="*/ 14375 w 58362"/>
                  <a:gd name="connsiteY15" fmla="*/ 38260 h 73168"/>
                  <a:gd name="connsiteX16" fmla="*/ 8430 w 58362"/>
                  <a:gd name="connsiteY16" fmla="*/ 36314 h 73168"/>
                  <a:gd name="connsiteX17" fmla="*/ 6377 w 58362"/>
                  <a:gd name="connsiteY17" fmla="*/ 38692 h 73168"/>
                  <a:gd name="connsiteX18" fmla="*/ 9943 w 58362"/>
                  <a:gd name="connsiteY18" fmla="*/ 50040 h 73168"/>
                  <a:gd name="connsiteX19" fmla="*/ 6809 w 58362"/>
                  <a:gd name="connsiteY19" fmla="*/ 57174 h 73168"/>
                  <a:gd name="connsiteX20" fmla="*/ 0 w 58362"/>
                  <a:gd name="connsiteY20" fmla="*/ 57930 h 73168"/>
                  <a:gd name="connsiteX21" fmla="*/ 973 w 58362"/>
                  <a:gd name="connsiteY21" fmla="*/ 61713 h 73168"/>
                  <a:gd name="connsiteX22" fmla="*/ 9619 w 58362"/>
                  <a:gd name="connsiteY22" fmla="*/ 64955 h 73168"/>
                  <a:gd name="connsiteX23" fmla="*/ 10591 w 58362"/>
                  <a:gd name="connsiteY23" fmla="*/ 71224 h 73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8362" h="73168" extrusionOk="0">
                    <a:moveTo>
                      <a:pt x="10591" y="71224"/>
                    </a:moveTo>
                    <a:lnTo>
                      <a:pt x="13726" y="73169"/>
                    </a:lnTo>
                    <a:lnTo>
                      <a:pt x="18589" y="62577"/>
                    </a:lnTo>
                    <a:lnTo>
                      <a:pt x="23129" y="55877"/>
                    </a:lnTo>
                    <a:lnTo>
                      <a:pt x="32423" y="55336"/>
                    </a:lnTo>
                    <a:lnTo>
                      <a:pt x="41610" y="49175"/>
                    </a:lnTo>
                    <a:lnTo>
                      <a:pt x="45393" y="39124"/>
                    </a:lnTo>
                    <a:lnTo>
                      <a:pt x="49932" y="32315"/>
                    </a:lnTo>
                    <a:lnTo>
                      <a:pt x="57281" y="29938"/>
                    </a:lnTo>
                    <a:lnTo>
                      <a:pt x="58363" y="19562"/>
                    </a:lnTo>
                    <a:lnTo>
                      <a:pt x="49175" y="0"/>
                    </a:lnTo>
                    <a:lnTo>
                      <a:pt x="43880" y="6593"/>
                    </a:lnTo>
                    <a:lnTo>
                      <a:pt x="38044" y="23561"/>
                    </a:lnTo>
                    <a:lnTo>
                      <a:pt x="32747" y="32423"/>
                    </a:lnTo>
                    <a:lnTo>
                      <a:pt x="23561" y="31775"/>
                    </a:lnTo>
                    <a:lnTo>
                      <a:pt x="14375" y="38260"/>
                    </a:lnTo>
                    <a:lnTo>
                      <a:pt x="8430" y="36314"/>
                    </a:lnTo>
                    <a:lnTo>
                      <a:pt x="6377" y="38692"/>
                    </a:lnTo>
                    <a:lnTo>
                      <a:pt x="9943" y="50040"/>
                    </a:lnTo>
                    <a:lnTo>
                      <a:pt x="6809" y="57174"/>
                    </a:lnTo>
                    <a:lnTo>
                      <a:pt x="0" y="57930"/>
                    </a:lnTo>
                    <a:lnTo>
                      <a:pt x="973" y="61713"/>
                    </a:lnTo>
                    <a:lnTo>
                      <a:pt x="9619" y="64955"/>
                    </a:lnTo>
                    <a:lnTo>
                      <a:pt x="10591" y="71224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5" name="Полилиния: фигура 245"/>
              <p:cNvSpPr/>
              <p:nvPr/>
            </p:nvSpPr>
            <p:spPr bwMode="auto">
              <a:xfrm>
                <a:off x="9058393" y="5301491"/>
                <a:ext cx="12861" cy="25614"/>
              </a:xfrm>
              <a:custGeom>
                <a:avLst/>
                <a:gdLst>
                  <a:gd name="connsiteX0" fmla="*/ 3135 w 12861"/>
                  <a:gd name="connsiteY0" fmla="*/ 25615 h 25614"/>
                  <a:gd name="connsiteX1" fmla="*/ 10051 w 12861"/>
                  <a:gd name="connsiteY1" fmla="*/ 21832 h 25614"/>
                  <a:gd name="connsiteX2" fmla="*/ 9619 w 12861"/>
                  <a:gd name="connsiteY2" fmla="*/ 10808 h 25614"/>
                  <a:gd name="connsiteX3" fmla="*/ 12861 w 12861"/>
                  <a:gd name="connsiteY3" fmla="*/ 2594 h 25614"/>
                  <a:gd name="connsiteX4" fmla="*/ 10700 w 12861"/>
                  <a:gd name="connsiteY4" fmla="*/ 0 h 25614"/>
                  <a:gd name="connsiteX5" fmla="*/ 7025 w 12861"/>
                  <a:gd name="connsiteY5" fmla="*/ 8430 h 25614"/>
                  <a:gd name="connsiteX6" fmla="*/ 0 w 12861"/>
                  <a:gd name="connsiteY6" fmla="*/ 16212 h 25614"/>
                  <a:gd name="connsiteX7" fmla="*/ 3135 w 12861"/>
                  <a:gd name="connsiteY7" fmla="*/ 25615 h 25614"/>
                  <a:gd name="connsiteX8" fmla="*/ 3135 w 12861"/>
                  <a:gd name="connsiteY8" fmla="*/ 25615 h 25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861" h="25614" extrusionOk="0">
                    <a:moveTo>
                      <a:pt x="3135" y="25615"/>
                    </a:moveTo>
                    <a:cubicBezTo>
                      <a:pt x="3135" y="24750"/>
                      <a:pt x="10051" y="21832"/>
                      <a:pt x="10051" y="21832"/>
                    </a:cubicBezTo>
                    <a:lnTo>
                      <a:pt x="9619" y="10808"/>
                    </a:lnTo>
                    <a:lnTo>
                      <a:pt x="12861" y="2594"/>
                    </a:lnTo>
                    <a:lnTo>
                      <a:pt x="10700" y="0"/>
                    </a:lnTo>
                    <a:lnTo>
                      <a:pt x="7025" y="8430"/>
                    </a:lnTo>
                    <a:lnTo>
                      <a:pt x="0" y="16212"/>
                    </a:lnTo>
                    <a:lnTo>
                      <a:pt x="3135" y="25615"/>
                    </a:lnTo>
                    <a:lnTo>
                      <a:pt x="3135" y="2561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6" name="Полилиния: фигура 246"/>
              <p:cNvSpPr/>
              <p:nvPr/>
            </p:nvSpPr>
            <p:spPr bwMode="auto">
              <a:xfrm>
                <a:off x="9052774" y="5334239"/>
                <a:ext cx="9186" cy="11996"/>
              </a:xfrm>
              <a:custGeom>
                <a:avLst/>
                <a:gdLst>
                  <a:gd name="connsiteX0" fmla="*/ 2918 w 9186"/>
                  <a:gd name="connsiteY0" fmla="*/ 11997 h 11996"/>
                  <a:gd name="connsiteX1" fmla="*/ 8213 w 9186"/>
                  <a:gd name="connsiteY1" fmla="*/ 11889 h 11996"/>
                  <a:gd name="connsiteX2" fmla="*/ 9186 w 9186"/>
                  <a:gd name="connsiteY2" fmla="*/ 5512 h 11996"/>
                  <a:gd name="connsiteX3" fmla="*/ 3566 w 9186"/>
                  <a:gd name="connsiteY3" fmla="*/ 0 h 11996"/>
                  <a:gd name="connsiteX4" fmla="*/ 0 w 9186"/>
                  <a:gd name="connsiteY4" fmla="*/ 648 h 11996"/>
                  <a:gd name="connsiteX5" fmla="*/ 0 w 9186"/>
                  <a:gd name="connsiteY5" fmla="*/ 5404 h 11996"/>
                  <a:gd name="connsiteX6" fmla="*/ 2918 w 9186"/>
                  <a:gd name="connsiteY6" fmla="*/ 11997 h 11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186" h="11996" extrusionOk="0">
                    <a:moveTo>
                      <a:pt x="2918" y="11997"/>
                    </a:moveTo>
                    <a:lnTo>
                      <a:pt x="8213" y="11889"/>
                    </a:lnTo>
                    <a:lnTo>
                      <a:pt x="9186" y="5512"/>
                    </a:lnTo>
                    <a:lnTo>
                      <a:pt x="3566" y="0"/>
                    </a:lnTo>
                    <a:lnTo>
                      <a:pt x="0" y="648"/>
                    </a:lnTo>
                    <a:lnTo>
                      <a:pt x="0" y="5404"/>
                    </a:lnTo>
                    <a:lnTo>
                      <a:pt x="2918" y="1199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7" name="Полилиния: фигура 247"/>
              <p:cNvSpPr/>
              <p:nvPr/>
            </p:nvSpPr>
            <p:spPr bwMode="auto">
              <a:xfrm>
                <a:off x="9029105" y="5345695"/>
                <a:ext cx="7024" cy="6592"/>
              </a:xfrm>
              <a:custGeom>
                <a:avLst/>
                <a:gdLst>
                  <a:gd name="connsiteX0" fmla="*/ 3999 w 7024"/>
                  <a:gd name="connsiteY0" fmla="*/ 6593 h 6592"/>
                  <a:gd name="connsiteX1" fmla="*/ 7025 w 7024"/>
                  <a:gd name="connsiteY1" fmla="*/ 6485 h 6592"/>
                  <a:gd name="connsiteX2" fmla="*/ 6701 w 7024"/>
                  <a:gd name="connsiteY2" fmla="*/ 2702 h 6592"/>
                  <a:gd name="connsiteX3" fmla="*/ 3674 w 7024"/>
                  <a:gd name="connsiteY3" fmla="*/ 0 h 6592"/>
                  <a:gd name="connsiteX4" fmla="*/ 0 w 7024"/>
                  <a:gd name="connsiteY4" fmla="*/ 3242 h 6592"/>
                  <a:gd name="connsiteX5" fmla="*/ 3999 w 7024"/>
                  <a:gd name="connsiteY5" fmla="*/ 6593 h 6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24" h="6592" extrusionOk="0">
                    <a:moveTo>
                      <a:pt x="3999" y="6593"/>
                    </a:moveTo>
                    <a:lnTo>
                      <a:pt x="7025" y="6485"/>
                    </a:lnTo>
                    <a:lnTo>
                      <a:pt x="6701" y="2702"/>
                    </a:lnTo>
                    <a:lnTo>
                      <a:pt x="3674" y="0"/>
                    </a:lnTo>
                    <a:lnTo>
                      <a:pt x="0" y="3242"/>
                    </a:lnTo>
                    <a:lnTo>
                      <a:pt x="3999" y="659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8" name="Полилиния: фигура 248"/>
              <p:cNvSpPr/>
              <p:nvPr/>
            </p:nvSpPr>
            <p:spPr bwMode="auto">
              <a:xfrm>
                <a:off x="9029969" y="5360394"/>
                <a:ext cx="14050" cy="16536"/>
              </a:xfrm>
              <a:custGeom>
                <a:avLst/>
                <a:gdLst>
                  <a:gd name="connsiteX0" fmla="*/ 0 w 14050"/>
                  <a:gd name="connsiteY0" fmla="*/ 16536 h 16536"/>
                  <a:gd name="connsiteX1" fmla="*/ 4323 w 14050"/>
                  <a:gd name="connsiteY1" fmla="*/ 15888 h 16536"/>
                  <a:gd name="connsiteX2" fmla="*/ 9835 w 14050"/>
                  <a:gd name="connsiteY2" fmla="*/ 12861 h 16536"/>
                  <a:gd name="connsiteX3" fmla="*/ 14051 w 14050"/>
                  <a:gd name="connsiteY3" fmla="*/ 4755 h 16536"/>
                  <a:gd name="connsiteX4" fmla="*/ 12754 w 14050"/>
                  <a:gd name="connsiteY4" fmla="*/ 0 h 16536"/>
                  <a:gd name="connsiteX5" fmla="*/ 6917 w 14050"/>
                  <a:gd name="connsiteY5" fmla="*/ 5728 h 16536"/>
                  <a:gd name="connsiteX6" fmla="*/ 0 w 14050"/>
                  <a:gd name="connsiteY6" fmla="*/ 16536 h 16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050" h="16536" extrusionOk="0">
                    <a:moveTo>
                      <a:pt x="0" y="16536"/>
                    </a:moveTo>
                    <a:lnTo>
                      <a:pt x="4323" y="15888"/>
                    </a:lnTo>
                    <a:lnTo>
                      <a:pt x="9835" y="12861"/>
                    </a:lnTo>
                    <a:lnTo>
                      <a:pt x="14051" y="4755"/>
                    </a:lnTo>
                    <a:lnTo>
                      <a:pt x="12754" y="0"/>
                    </a:lnTo>
                    <a:lnTo>
                      <a:pt x="6917" y="5728"/>
                    </a:lnTo>
                    <a:lnTo>
                      <a:pt x="0" y="1653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79" name="Полилиния: фигура 249"/>
              <p:cNvSpPr/>
              <p:nvPr/>
            </p:nvSpPr>
            <p:spPr bwMode="auto">
              <a:xfrm>
                <a:off x="8990412" y="5422863"/>
                <a:ext cx="6917" cy="6052"/>
              </a:xfrm>
              <a:custGeom>
                <a:avLst/>
                <a:gdLst>
                  <a:gd name="connsiteX0" fmla="*/ 1945 w 6917"/>
                  <a:gd name="connsiteY0" fmla="*/ 6052 h 6052"/>
                  <a:gd name="connsiteX1" fmla="*/ 6917 w 6917"/>
                  <a:gd name="connsiteY1" fmla="*/ 4972 h 6052"/>
                  <a:gd name="connsiteX2" fmla="*/ 3782 w 6917"/>
                  <a:gd name="connsiteY2" fmla="*/ 0 h 6052"/>
                  <a:gd name="connsiteX3" fmla="*/ 0 w 6917"/>
                  <a:gd name="connsiteY3" fmla="*/ 324 h 6052"/>
                  <a:gd name="connsiteX4" fmla="*/ 1945 w 6917"/>
                  <a:gd name="connsiteY4" fmla="*/ 6052 h 6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17" h="6052" extrusionOk="0">
                    <a:moveTo>
                      <a:pt x="1945" y="6052"/>
                    </a:moveTo>
                    <a:lnTo>
                      <a:pt x="6917" y="4972"/>
                    </a:lnTo>
                    <a:lnTo>
                      <a:pt x="3782" y="0"/>
                    </a:lnTo>
                    <a:lnTo>
                      <a:pt x="0" y="324"/>
                    </a:lnTo>
                    <a:lnTo>
                      <a:pt x="1945" y="6052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80" name="Полилиния: фигура 250"/>
              <p:cNvSpPr/>
              <p:nvPr/>
            </p:nvSpPr>
            <p:spPr bwMode="auto">
              <a:xfrm>
                <a:off x="8975174" y="5448910"/>
                <a:ext cx="5943" cy="11887"/>
              </a:xfrm>
              <a:custGeom>
                <a:avLst/>
                <a:gdLst>
                  <a:gd name="connsiteX0" fmla="*/ 0 w 5944"/>
                  <a:gd name="connsiteY0" fmla="*/ 11889 h 11888"/>
                  <a:gd name="connsiteX1" fmla="*/ 5836 w 5944"/>
                  <a:gd name="connsiteY1" fmla="*/ 5945 h 11888"/>
                  <a:gd name="connsiteX2" fmla="*/ 5944 w 5944"/>
                  <a:gd name="connsiteY2" fmla="*/ 0 h 11888"/>
                  <a:gd name="connsiteX3" fmla="*/ 1081 w 5944"/>
                  <a:gd name="connsiteY3" fmla="*/ 3026 h 11888"/>
                  <a:gd name="connsiteX4" fmla="*/ 0 w 5944"/>
                  <a:gd name="connsiteY4" fmla="*/ 11889 h 11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44" h="11888" extrusionOk="0">
                    <a:moveTo>
                      <a:pt x="0" y="11889"/>
                    </a:moveTo>
                    <a:lnTo>
                      <a:pt x="5836" y="5945"/>
                    </a:lnTo>
                    <a:lnTo>
                      <a:pt x="5944" y="0"/>
                    </a:lnTo>
                    <a:lnTo>
                      <a:pt x="1081" y="3026"/>
                    </a:lnTo>
                    <a:lnTo>
                      <a:pt x="0" y="1188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81" name="Полилиния: фигура 251"/>
              <p:cNvSpPr/>
              <p:nvPr/>
            </p:nvSpPr>
            <p:spPr bwMode="auto">
              <a:xfrm>
                <a:off x="8968905" y="5466851"/>
                <a:ext cx="5403" cy="6484"/>
              </a:xfrm>
              <a:custGeom>
                <a:avLst/>
                <a:gdLst>
                  <a:gd name="connsiteX0" fmla="*/ 757 w 5403"/>
                  <a:gd name="connsiteY0" fmla="*/ 0 h 6484"/>
                  <a:gd name="connsiteX1" fmla="*/ 0 w 5403"/>
                  <a:gd name="connsiteY1" fmla="*/ 6485 h 6484"/>
                  <a:gd name="connsiteX2" fmla="*/ 5404 w 5403"/>
                  <a:gd name="connsiteY2" fmla="*/ 2378 h 6484"/>
                  <a:gd name="connsiteX3" fmla="*/ 757 w 5403"/>
                  <a:gd name="connsiteY3" fmla="*/ 0 h 6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03" h="6484" extrusionOk="0">
                    <a:moveTo>
                      <a:pt x="757" y="0"/>
                    </a:moveTo>
                    <a:lnTo>
                      <a:pt x="0" y="6485"/>
                    </a:lnTo>
                    <a:lnTo>
                      <a:pt x="5404" y="2378"/>
                    </a:lnTo>
                    <a:lnTo>
                      <a:pt x="757" y="0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82" name="Полилиния: фигура 252"/>
              <p:cNvSpPr/>
              <p:nvPr/>
            </p:nvSpPr>
            <p:spPr bwMode="auto">
              <a:xfrm>
                <a:off x="8953558" y="5477983"/>
                <a:ext cx="7024" cy="8430"/>
              </a:xfrm>
              <a:custGeom>
                <a:avLst/>
                <a:gdLst>
                  <a:gd name="connsiteX0" fmla="*/ 540 w 7024"/>
                  <a:gd name="connsiteY0" fmla="*/ 1405 h 8430"/>
                  <a:gd name="connsiteX1" fmla="*/ 0 w 7024"/>
                  <a:gd name="connsiteY1" fmla="*/ 5188 h 8430"/>
                  <a:gd name="connsiteX2" fmla="*/ 3674 w 7024"/>
                  <a:gd name="connsiteY2" fmla="*/ 8430 h 8430"/>
                  <a:gd name="connsiteX3" fmla="*/ 7025 w 7024"/>
                  <a:gd name="connsiteY3" fmla="*/ 3999 h 8430"/>
                  <a:gd name="connsiteX4" fmla="*/ 3350 w 7024"/>
                  <a:gd name="connsiteY4" fmla="*/ 0 h 8430"/>
                  <a:gd name="connsiteX5" fmla="*/ 540 w 7024"/>
                  <a:gd name="connsiteY5" fmla="*/ 1405 h 8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24" h="8430" extrusionOk="0">
                    <a:moveTo>
                      <a:pt x="540" y="1405"/>
                    </a:moveTo>
                    <a:lnTo>
                      <a:pt x="0" y="5188"/>
                    </a:lnTo>
                    <a:lnTo>
                      <a:pt x="3674" y="8430"/>
                    </a:lnTo>
                    <a:lnTo>
                      <a:pt x="7025" y="3999"/>
                    </a:lnTo>
                    <a:lnTo>
                      <a:pt x="3350" y="0"/>
                    </a:lnTo>
                    <a:lnTo>
                      <a:pt x="540" y="1405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83" name="Полилиния: фигура 253"/>
              <p:cNvSpPr/>
              <p:nvPr/>
            </p:nvSpPr>
            <p:spPr bwMode="auto">
              <a:xfrm>
                <a:off x="8926322" y="5495276"/>
                <a:ext cx="16643" cy="20426"/>
              </a:xfrm>
              <a:custGeom>
                <a:avLst/>
                <a:gdLst>
                  <a:gd name="connsiteX0" fmla="*/ 2702 w 16643"/>
                  <a:gd name="connsiteY0" fmla="*/ 20427 h 20426"/>
                  <a:gd name="connsiteX1" fmla="*/ 8538 w 16643"/>
                  <a:gd name="connsiteY1" fmla="*/ 16860 h 20426"/>
                  <a:gd name="connsiteX2" fmla="*/ 16644 w 16643"/>
                  <a:gd name="connsiteY2" fmla="*/ 2054 h 20426"/>
                  <a:gd name="connsiteX3" fmla="*/ 13726 w 16643"/>
                  <a:gd name="connsiteY3" fmla="*/ 0 h 20426"/>
                  <a:gd name="connsiteX4" fmla="*/ 9186 w 16643"/>
                  <a:gd name="connsiteY4" fmla="*/ 7457 h 20426"/>
                  <a:gd name="connsiteX5" fmla="*/ 0 w 16643"/>
                  <a:gd name="connsiteY5" fmla="*/ 17833 h 20426"/>
                  <a:gd name="connsiteX6" fmla="*/ 2702 w 16643"/>
                  <a:gd name="connsiteY6" fmla="*/ 20427 h 20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643" h="20426" extrusionOk="0">
                    <a:moveTo>
                      <a:pt x="2702" y="20427"/>
                    </a:moveTo>
                    <a:lnTo>
                      <a:pt x="8538" y="16860"/>
                    </a:lnTo>
                    <a:lnTo>
                      <a:pt x="16644" y="2054"/>
                    </a:lnTo>
                    <a:lnTo>
                      <a:pt x="13726" y="0"/>
                    </a:lnTo>
                    <a:lnTo>
                      <a:pt x="9186" y="7457"/>
                    </a:lnTo>
                    <a:lnTo>
                      <a:pt x="0" y="17833"/>
                    </a:lnTo>
                    <a:lnTo>
                      <a:pt x="2702" y="20427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84" name="Полилиния: фигура 254"/>
              <p:cNvSpPr/>
              <p:nvPr/>
            </p:nvSpPr>
            <p:spPr bwMode="auto">
              <a:xfrm>
                <a:off x="8801384" y="5546072"/>
                <a:ext cx="65062" cy="44420"/>
              </a:xfrm>
              <a:custGeom>
                <a:avLst/>
                <a:gdLst>
                  <a:gd name="connsiteX0" fmla="*/ 0 w 65062"/>
                  <a:gd name="connsiteY0" fmla="*/ 40529 h 44420"/>
                  <a:gd name="connsiteX1" fmla="*/ 4107 w 65062"/>
                  <a:gd name="connsiteY1" fmla="*/ 44420 h 44420"/>
                  <a:gd name="connsiteX2" fmla="*/ 18373 w 65062"/>
                  <a:gd name="connsiteY2" fmla="*/ 38908 h 44420"/>
                  <a:gd name="connsiteX3" fmla="*/ 30045 w 65062"/>
                  <a:gd name="connsiteY3" fmla="*/ 30694 h 44420"/>
                  <a:gd name="connsiteX4" fmla="*/ 37936 w 65062"/>
                  <a:gd name="connsiteY4" fmla="*/ 28965 h 44420"/>
                  <a:gd name="connsiteX5" fmla="*/ 42367 w 65062"/>
                  <a:gd name="connsiteY5" fmla="*/ 19778 h 44420"/>
                  <a:gd name="connsiteX6" fmla="*/ 49716 w 65062"/>
                  <a:gd name="connsiteY6" fmla="*/ 10808 h 44420"/>
                  <a:gd name="connsiteX7" fmla="*/ 65063 w 65062"/>
                  <a:gd name="connsiteY7" fmla="*/ 1945 h 44420"/>
                  <a:gd name="connsiteX8" fmla="*/ 59335 w 65062"/>
                  <a:gd name="connsiteY8" fmla="*/ 2486 h 44420"/>
                  <a:gd name="connsiteX9" fmla="*/ 48959 w 65062"/>
                  <a:gd name="connsiteY9" fmla="*/ 0 h 44420"/>
                  <a:gd name="connsiteX10" fmla="*/ 40205 w 65062"/>
                  <a:gd name="connsiteY10" fmla="*/ 7457 h 44420"/>
                  <a:gd name="connsiteX11" fmla="*/ 35017 w 65062"/>
                  <a:gd name="connsiteY11" fmla="*/ 9295 h 44420"/>
                  <a:gd name="connsiteX12" fmla="*/ 28640 w 65062"/>
                  <a:gd name="connsiteY12" fmla="*/ 16536 h 44420"/>
                  <a:gd name="connsiteX13" fmla="*/ 23345 w 65062"/>
                  <a:gd name="connsiteY13" fmla="*/ 18914 h 44420"/>
                  <a:gd name="connsiteX14" fmla="*/ 19238 w 65062"/>
                  <a:gd name="connsiteY14" fmla="*/ 23777 h 44420"/>
                  <a:gd name="connsiteX15" fmla="*/ 8971 w 65062"/>
                  <a:gd name="connsiteY15" fmla="*/ 28208 h 44420"/>
                  <a:gd name="connsiteX16" fmla="*/ 0 w 65062"/>
                  <a:gd name="connsiteY16" fmla="*/ 40529 h 4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5062" h="44420" extrusionOk="0">
                    <a:moveTo>
                      <a:pt x="0" y="40529"/>
                    </a:moveTo>
                    <a:lnTo>
                      <a:pt x="4107" y="44420"/>
                    </a:lnTo>
                    <a:lnTo>
                      <a:pt x="18373" y="38908"/>
                    </a:lnTo>
                    <a:lnTo>
                      <a:pt x="30045" y="30694"/>
                    </a:lnTo>
                    <a:lnTo>
                      <a:pt x="37936" y="28965"/>
                    </a:lnTo>
                    <a:lnTo>
                      <a:pt x="42367" y="19778"/>
                    </a:lnTo>
                    <a:lnTo>
                      <a:pt x="49716" y="10808"/>
                    </a:lnTo>
                    <a:lnTo>
                      <a:pt x="65063" y="1945"/>
                    </a:lnTo>
                    <a:lnTo>
                      <a:pt x="59335" y="2486"/>
                    </a:lnTo>
                    <a:lnTo>
                      <a:pt x="48959" y="0"/>
                    </a:lnTo>
                    <a:lnTo>
                      <a:pt x="40205" y="7457"/>
                    </a:lnTo>
                    <a:lnTo>
                      <a:pt x="35017" y="9295"/>
                    </a:lnTo>
                    <a:lnTo>
                      <a:pt x="28640" y="16536"/>
                    </a:lnTo>
                    <a:lnTo>
                      <a:pt x="23345" y="18914"/>
                    </a:lnTo>
                    <a:lnTo>
                      <a:pt x="19238" y="23777"/>
                    </a:lnTo>
                    <a:lnTo>
                      <a:pt x="8971" y="28208"/>
                    </a:lnTo>
                    <a:lnTo>
                      <a:pt x="0" y="40529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85" name="Полилиния: фигура 255"/>
              <p:cNvSpPr/>
              <p:nvPr/>
            </p:nvSpPr>
            <p:spPr bwMode="auto">
              <a:xfrm>
                <a:off x="8668447" y="5582603"/>
                <a:ext cx="105051" cy="69061"/>
              </a:xfrm>
              <a:custGeom>
                <a:avLst/>
                <a:gdLst>
                  <a:gd name="connsiteX0" fmla="*/ 0 w 105051"/>
                  <a:gd name="connsiteY0" fmla="*/ 68846 h 69061"/>
                  <a:gd name="connsiteX1" fmla="*/ 5404 w 105051"/>
                  <a:gd name="connsiteY1" fmla="*/ 69062 h 69061"/>
                  <a:gd name="connsiteX2" fmla="*/ 12429 w 105051"/>
                  <a:gd name="connsiteY2" fmla="*/ 60199 h 69061"/>
                  <a:gd name="connsiteX3" fmla="*/ 21399 w 105051"/>
                  <a:gd name="connsiteY3" fmla="*/ 57281 h 69061"/>
                  <a:gd name="connsiteX4" fmla="*/ 25290 w 105051"/>
                  <a:gd name="connsiteY4" fmla="*/ 44636 h 69061"/>
                  <a:gd name="connsiteX5" fmla="*/ 31559 w 105051"/>
                  <a:gd name="connsiteY5" fmla="*/ 42258 h 69061"/>
                  <a:gd name="connsiteX6" fmla="*/ 34261 w 105051"/>
                  <a:gd name="connsiteY6" fmla="*/ 37611 h 69061"/>
                  <a:gd name="connsiteX7" fmla="*/ 40205 w 105051"/>
                  <a:gd name="connsiteY7" fmla="*/ 35990 h 69061"/>
                  <a:gd name="connsiteX8" fmla="*/ 44095 w 105051"/>
                  <a:gd name="connsiteY8" fmla="*/ 40313 h 69061"/>
                  <a:gd name="connsiteX9" fmla="*/ 53283 w 105051"/>
                  <a:gd name="connsiteY9" fmla="*/ 37071 h 69061"/>
                  <a:gd name="connsiteX10" fmla="*/ 66252 w 105051"/>
                  <a:gd name="connsiteY10" fmla="*/ 26155 h 69061"/>
                  <a:gd name="connsiteX11" fmla="*/ 80302 w 105051"/>
                  <a:gd name="connsiteY11" fmla="*/ 19022 h 69061"/>
                  <a:gd name="connsiteX12" fmla="*/ 91218 w 105051"/>
                  <a:gd name="connsiteY12" fmla="*/ 22588 h 69061"/>
                  <a:gd name="connsiteX13" fmla="*/ 100513 w 105051"/>
                  <a:gd name="connsiteY13" fmla="*/ 21183 h 69061"/>
                  <a:gd name="connsiteX14" fmla="*/ 104079 w 105051"/>
                  <a:gd name="connsiteY14" fmla="*/ 11456 h 69061"/>
                  <a:gd name="connsiteX15" fmla="*/ 105052 w 105051"/>
                  <a:gd name="connsiteY15" fmla="*/ 973 h 69061"/>
                  <a:gd name="connsiteX16" fmla="*/ 98351 w 105051"/>
                  <a:gd name="connsiteY16" fmla="*/ 0 h 69061"/>
                  <a:gd name="connsiteX17" fmla="*/ 83328 w 105051"/>
                  <a:gd name="connsiteY17" fmla="*/ 7025 h 69061"/>
                  <a:gd name="connsiteX18" fmla="*/ 78140 w 105051"/>
                  <a:gd name="connsiteY18" fmla="*/ 13402 h 69061"/>
                  <a:gd name="connsiteX19" fmla="*/ 72196 w 105051"/>
                  <a:gd name="connsiteY19" fmla="*/ 11348 h 69061"/>
                  <a:gd name="connsiteX20" fmla="*/ 63550 w 105051"/>
                  <a:gd name="connsiteY20" fmla="*/ 13077 h 69061"/>
                  <a:gd name="connsiteX21" fmla="*/ 59443 w 105051"/>
                  <a:gd name="connsiteY21" fmla="*/ 9079 h 69061"/>
                  <a:gd name="connsiteX22" fmla="*/ 59335 w 105051"/>
                  <a:gd name="connsiteY22" fmla="*/ 540 h 69061"/>
                  <a:gd name="connsiteX23" fmla="*/ 56741 w 105051"/>
                  <a:gd name="connsiteY23" fmla="*/ 648 h 69061"/>
                  <a:gd name="connsiteX24" fmla="*/ 50040 w 105051"/>
                  <a:gd name="connsiteY24" fmla="*/ 7133 h 69061"/>
                  <a:gd name="connsiteX25" fmla="*/ 50689 w 105051"/>
                  <a:gd name="connsiteY25" fmla="*/ 13510 h 69061"/>
                  <a:gd name="connsiteX26" fmla="*/ 44312 w 105051"/>
                  <a:gd name="connsiteY26" fmla="*/ 18157 h 69061"/>
                  <a:gd name="connsiteX27" fmla="*/ 34585 w 105051"/>
                  <a:gd name="connsiteY27" fmla="*/ 25290 h 69061"/>
                  <a:gd name="connsiteX28" fmla="*/ 30586 w 105051"/>
                  <a:gd name="connsiteY28" fmla="*/ 23345 h 69061"/>
                  <a:gd name="connsiteX29" fmla="*/ 28965 w 105051"/>
                  <a:gd name="connsiteY29" fmla="*/ 28857 h 69061"/>
                  <a:gd name="connsiteX30" fmla="*/ 22480 w 105051"/>
                  <a:gd name="connsiteY30" fmla="*/ 36963 h 69061"/>
                  <a:gd name="connsiteX31" fmla="*/ 13185 w 105051"/>
                  <a:gd name="connsiteY31" fmla="*/ 37719 h 69061"/>
                  <a:gd name="connsiteX32" fmla="*/ 9835 w 105051"/>
                  <a:gd name="connsiteY32" fmla="*/ 42691 h 69061"/>
                  <a:gd name="connsiteX33" fmla="*/ 12105 w 105051"/>
                  <a:gd name="connsiteY33" fmla="*/ 49392 h 69061"/>
                  <a:gd name="connsiteX34" fmla="*/ 7025 w 105051"/>
                  <a:gd name="connsiteY34" fmla="*/ 50905 h 69061"/>
                  <a:gd name="connsiteX35" fmla="*/ 2161 w 105051"/>
                  <a:gd name="connsiteY35" fmla="*/ 57497 h 69061"/>
                  <a:gd name="connsiteX36" fmla="*/ 0 w 105051"/>
                  <a:gd name="connsiteY36" fmla="*/ 68846 h 69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05051" h="69061" extrusionOk="0">
                    <a:moveTo>
                      <a:pt x="0" y="68846"/>
                    </a:moveTo>
                    <a:lnTo>
                      <a:pt x="5404" y="69062"/>
                    </a:lnTo>
                    <a:lnTo>
                      <a:pt x="12429" y="60199"/>
                    </a:lnTo>
                    <a:lnTo>
                      <a:pt x="21399" y="57281"/>
                    </a:lnTo>
                    <a:lnTo>
                      <a:pt x="25290" y="44636"/>
                    </a:lnTo>
                    <a:lnTo>
                      <a:pt x="31559" y="42258"/>
                    </a:lnTo>
                    <a:lnTo>
                      <a:pt x="34261" y="37611"/>
                    </a:lnTo>
                    <a:lnTo>
                      <a:pt x="40205" y="35990"/>
                    </a:lnTo>
                    <a:lnTo>
                      <a:pt x="44095" y="40313"/>
                    </a:lnTo>
                    <a:lnTo>
                      <a:pt x="53283" y="37071"/>
                    </a:lnTo>
                    <a:lnTo>
                      <a:pt x="66252" y="26155"/>
                    </a:lnTo>
                    <a:lnTo>
                      <a:pt x="80302" y="19022"/>
                    </a:lnTo>
                    <a:lnTo>
                      <a:pt x="91218" y="22588"/>
                    </a:lnTo>
                    <a:lnTo>
                      <a:pt x="100513" y="21183"/>
                    </a:lnTo>
                    <a:lnTo>
                      <a:pt x="104079" y="11456"/>
                    </a:lnTo>
                    <a:lnTo>
                      <a:pt x="105052" y="973"/>
                    </a:lnTo>
                    <a:lnTo>
                      <a:pt x="98351" y="0"/>
                    </a:lnTo>
                    <a:lnTo>
                      <a:pt x="83328" y="7025"/>
                    </a:lnTo>
                    <a:lnTo>
                      <a:pt x="78140" y="13402"/>
                    </a:lnTo>
                    <a:lnTo>
                      <a:pt x="72196" y="11348"/>
                    </a:lnTo>
                    <a:lnTo>
                      <a:pt x="63550" y="13077"/>
                    </a:lnTo>
                    <a:lnTo>
                      <a:pt x="59443" y="9079"/>
                    </a:lnTo>
                    <a:lnTo>
                      <a:pt x="59335" y="540"/>
                    </a:lnTo>
                    <a:lnTo>
                      <a:pt x="56741" y="648"/>
                    </a:lnTo>
                    <a:lnTo>
                      <a:pt x="50040" y="7133"/>
                    </a:lnTo>
                    <a:lnTo>
                      <a:pt x="50689" y="13510"/>
                    </a:lnTo>
                    <a:lnTo>
                      <a:pt x="44312" y="18157"/>
                    </a:lnTo>
                    <a:lnTo>
                      <a:pt x="34585" y="25290"/>
                    </a:lnTo>
                    <a:lnTo>
                      <a:pt x="30586" y="23345"/>
                    </a:lnTo>
                    <a:lnTo>
                      <a:pt x="28965" y="28857"/>
                    </a:lnTo>
                    <a:lnTo>
                      <a:pt x="22480" y="36963"/>
                    </a:lnTo>
                    <a:lnTo>
                      <a:pt x="13185" y="37719"/>
                    </a:lnTo>
                    <a:lnTo>
                      <a:pt x="9835" y="42691"/>
                    </a:lnTo>
                    <a:lnTo>
                      <a:pt x="12105" y="49392"/>
                    </a:lnTo>
                    <a:lnTo>
                      <a:pt x="7025" y="50905"/>
                    </a:lnTo>
                    <a:lnTo>
                      <a:pt x="2161" y="57497"/>
                    </a:lnTo>
                    <a:lnTo>
                      <a:pt x="0" y="68846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86" name="Полилиния: фигура 256"/>
              <p:cNvSpPr/>
              <p:nvPr/>
            </p:nvSpPr>
            <p:spPr bwMode="auto">
              <a:xfrm>
                <a:off x="8598088" y="5634913"/>
                <a:ext cx="51877" cy="61712"/>
              </a:xfrm>
              <a:custGeom>
                <a:avLst/>
                <a:gdLst>
                  <a:gd name="connsiteX0" fmla="*/ 4323 w 51877"/>
                  <a:gd name="connsiteY0" fmla="*/ 61713 h 61712"/>
                  <a:gd name="connsiteX1" fmla="*/ 10375 w 51877"/>
                  <a:gd name="connsiteY1" fmla="*/ 48635 h 61712"/>
                  <a:gd name="connsiteX2" fmla="*/ 24209 w 51877"/>
                  <a:gd name="connsiteY2" fmla="*/ 28100 h 61712"/>
                  <a:gd name="connsiteX3" fmla="*/ 29181 w 51877"/>
                  <a:gd name="connsiteY3" fmla="*/ 27884 h 61712"/>
                  <a:gd name="connsiteX4" fmla="*/ 45393 w 51877"/>
                  <a:gd name="connsiteY4" fmla="*/ 22156 h 61712"/>
                  <a:gd name="connsiteX5" fmla="*/ 51877 w 51877"/>
                  <a:gd name="connsiteY5" fmla="*/ 12861 h 61712"/>
                  <a:gd name="connsiteX6" fmla="*/ 49175 w 51877"/>
                  <a:gd name="connsiteY6" fmla="*/ 11672 h 61712"/>
                  <a:gd name="connsiteX7" fmla="*/ 41718 w 51877"/>
                  <a:gd name="connsiteY7" fmla="*/ 10375 h 61712"/>
                  <a:gd name="connsiteX8" fmla="*/ 37395 w 51877"/>
                  <a:gd name="connsiteY8" fmla="*/ 6484 h 61712"/>
                  <a:gd name="connsiteX9" fmla="*/ 34585 w 51877"/>
                  <a:gd name="connsiteY9" fmla="*/ 0 h 61712"/>
                  <a:gd name="connsiteX10" fmla="*/ 30370 w 51877"/>
                  <a:gd name="connsiteY10" fmla="*/ 2161 h 61712"/>
                  <a:gd name="connsiteX11" fmla="*/ 23777 w 51877"/>
                  <a:gd name="connsiteY11" fmla="*/ 12537 h 61712"/>
                  <a:gd name="connsiteX12" fmla="*/ 17076 w 51877"/>
                  <a:gd name="connsiteY12" fmla="*/ 21291 h 61712"/>
                  <a:gd name="connsiteX13" fmla="*/ 9295 w 51877"/>
                  <a:gd name="connsiteY13" fmla="*/ 34369 h 61712"/>
                  <a:gd name="connsiteX14" fmla="*/ 540 w 51877"/>
                  <a:gd name="connsiteY14" fmla="*/ 41394 h 61712"/>
                  <a:gd name="connsiteX15" fmla="*/ 0 w 51877"/>
                  <a:gd name="connsiteY15" fmla="*/ 47987 h 61712"/>
                  <a:gd name="connsiteX16" fmla="*/ 4323 w 51877"/>
                  <a:gd name="connsiteY16" fmla="*/ 61713 h 61712"/>
                  <a:gd name="connsiteX17" fmla="*/ 4323 w 51877"/>
                  <a:gd name="connsiteY17" fmla="*/ 61713 h 61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1877" h="61712" extrusionOk="0">
                    <a:moveTo>
                      <a:pt x="4323" y="61713"/>
                    </a:moveTo>
                    <a:cubicBezTo>
                      <a:pt x="4431" y="60524"/>
                      <a:pt x="10375" y="48635"/>
                      <a:pt x="10375" y="48635"/>
                    </a:cubicBezTo>
                    <a:lnTo>
                      <a:pt x="24209" y="28100"/>
                    </a:lnTo>
                    <a:lnTo>
                      <a:pt x="29181" y="27884"/>
                    </a:lnTo>
                    <a:lnTo>
                      <a:pt x="45393" y="22156"/>
                    </a:lnTo>
                    <a:lnTo>
                      <a:pt x="51877" y="12861"/>
                    </a:lnTo>
                    <a:lnTo>
                      <a:pt x="49175" y="11672"/>
                    </a:lnTo>
                    <a:lnTo>
                      <a:pt x="41718" y="10375"/>
                    </a:lnTo>
                    <a:lnTo>
                      <a:pt x="37395" y="6484"/>
                    </a:lnTo>
                    <a:lnTo>
                      <a:pt x="34585" y="0"/>
                    </a:lnTo>
                    <a:lnTo>
                      <a:pt x="30370" y="2161"/>
                    </a:lnTo>
                    <a:lnTo>
                      <a:pt x="23777" y="12537"/>
                    </a:lnTo>
                    <a:lnTo>
                      <a:pt x="17076" y="21291"/>
                    </a:lnTo>
                    <a:lnTo>
                      <a:pt x="9295" y="34369"/>
                    </a:lnTo>
                    <a:lnTo>
                      <a:pt x="540" y="41394"/>
                    </a:lnTo>
                    <a:lnTo>
                      <a:pt x="0" y="47987"/>
                    </a:lnTo>
                    <a:lnTo>
                      <a:pt x="4323" y="61713"/>
                    </a:lnTo>
                    <a:lnTo>
                      <a:pt x="4323" y="61713"/>
                    </a:lnTo>
                    <a:close/>
                  </a:path>
                </a:pathLst>
              </a:custGeom>
              <a:grpFill/>
              <a:ln w="9525" cap="flat">
                <a:solidFill>
                  <a:srgbClr val="2B394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ru-RU"/>
              </a:p>
            </p:txBody>
          </p:sp>
        </p:grpSp>
      </p:grpSp>
      <p:sp>
        <p:nvSpPr>
          <p:cNvPr id="11" name="Прямоугольник 10"/>
          <p:cNvSpPr/>
          <p:nvPr/>
        </p:nvSpPr>
        <p:spPr bwMode="auto">
          <a:xfrm>
            <a:off x="-46494" y="0"/>
            <a:ext cx="4572815" cy="6858000"/>
          </a:xfrm>
          <a:prstGeom prst="rect">
            <a:avLst/>
          </a:prstGeom>
          <a:solidFill>
            <a:srgbClr val="1F2630"/>
          </a:solidFill>
          <a:ln>
            <a:noFill/>
          </a:ln>
          <a:effectLst>
            <a:outerShdw blurRad="345447" dist="38100" sx="100539" sy="100539" algn="l" rotWithShape="0">
              <a:prstClr val="black">
                <a:alpha val="6936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Lato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-43583" y="0"/>
            <a:ext cx="4552799" cy="6858000"/>
          </a:xfrm>
          <a:prstGeom prst="rect">
            <a:avLst/>
          </a:prstGeom>
          <a:solidFill>
            <a:schemeClr val="tx2">
              <a:lumMod val="75000"/>
              <a:alpha val="32196"/>
            </a:schemeClr>
          </a:solidFill>
          <a:ln>
            <a:noFill/>
          </a:ln>
          <a:effectLst>
            <a:outerShdw blurRad="757278" dist="38100" sx="92848" sy="92848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300"/>
          </a:p>
        </p:txBody>
      </p:sp>
      <p:sp>
        <p:nvSpPr>
          <p:cNvPr id="54" name="Заголовок 2"/>
          <p:cNvSpPr>
            <a:spLocks noGrp="1"/>
          </p:cNvSpPr>
          <p:nvPr>
            <p:ph type="title"/>
          </p:nvPr>
        </p:nvSpPr>
        <p:spPr bwMode="auto">
          <a:xfrm>
            <a:off x="526479" y="340950"/>
            <a:ext cx="4031508" cy="144938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>
                <a:solidFill>
                  <a:srgbClr val="88BD24"/>
                </a:solidFill>
              </a:rPr>
              <a:t>ООО «ЦИФРОВАЯ ИНДУСТРИАЛЬНАЯ ПЛАТФОРМА» </a:t>
            </a:r>
            <a:endParaRPr/>
          </a:p>
        </p:txBody>
      </p:sp>
      <p:grpSp>
        <p:nvGrpSpPr>
          <p:cNvPr id="7" name="Группа 6"/>
          <p:cNvGrpSpPr/>
          <p:nvPr/>
        </p:nvGrpSpPr>
        <p:grpSpPr bwMode="auto">
          <a:xfrm>
            <a:off x="534488" y="5519946"/>
            <a:ext cx="1802209" cy="668808"/>
            <a:chOff x="5021458" y="1306732"/>
            <a:chExt cx="1802209" cy="668808"/>
          </a:xfrm>
        </p:grpSpPr>
        <p:sp>
          <p:nvSpPr>
            <p:cNvPr id="51" name="TextBox 50"/>
            <p:cNvSpPr txBox="1"/>
            <p:nvPr/>
          </p:nvSpPr>
          <p:spPr bwMode="auto">
            <a:xfrm>
              <a:off x="5044291" y="1306732"/>
              <a:ext cx="1464036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>
                <a:buClr>
                  <a:srgbClr val="76AF3E"/>
                </a:buClr>
                <a:defRPr/>
              </a:pPr>
              <a:r>
                <a:rPr lang="ru-RU" sz="2400">
                  <a:solidFill>
                    <a:srgbClr val="88BD24"/>
                  </a:solidFill>
                </a:rPr>
                <a:t>11/2020</a:t>
              </a:r>
              <a:endParaRPr/>
            </a:p>
          </p:txBody>
        </p:sp>
        <p:sp>
          <p:nvSpPr>
            <p:cNvPr id="58" name="TextBox 57"/>
            <p:cNvSpPr txBox="1"/>
            <p:nvPr/>
          </p:nvSpPr>
          <p:spPr bwMode="auto">
            <a:xfrm>
              <a:off x="5021458" y="1729319"/>
              <a:ext cx="180220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000">
                  <a:solidFill>
                    <a:srgbClr val="88BD24"/>
                  </a:solidFill>
                  <a:cs typeface="Arial"/>
                </a:rPr>
                <a:t>ДАТА ОСНОВАНИЯ </a:t>
              </a:r>
              <a:endParaRPr sz="1000">
                <a:solidFill>
                  <a:srgbClr val="88BD24"/>
                </a:solidFill>
                <a:cs typeface="Arial"/>
              </a:endParaRPr>
            </a:p>
          </p:txBody>
        </p:sp>
      </p:grpSp>
      <p:pic>
        <p:nvPicPr>
          <p:cNvPr id="62" name="Рисунок 61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208397" y="1912447"/>
            <a:ext cx="1101857" cy="527651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1106" y="2001937"/>
            <a:ext cx="538274" cy="441659"/>
          </a:xfrm>
          <a:prstGeom prst="rect">
            <a:avLst/>
          </a:prstGeom>
        </p:spPr>
      </p:pic>
      <p:sp>
        <p:nvSpPr>
          <p:cNvPr id="348" name="TextBox 347"/>
          <p:cNvSpPr txBox="1"/>
          <p:nvPr/>
        </p:nvSpPr>
        <p:spPr bwMode="auto">
          <a:xfrm>
            <a:off x="1134636" y="2084267"/>
            <a:ext cx="8551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schemeClr val="bg1"/>
                </a:solidFill>
                <a:latin typeface="+mj-lt"/>
                <a:ea typeface="Open Sans"/>
                <a:cs typeface="Open Sans"/>
              </a:rPr>
              <a:t>ЦИФРА</a:t>
            </a:r>
            <a:endParaRPr sz="1200" b="1">
              <a:solidFill>
                <a:schemeClr val="bg1"/>
              </a:solidFill>
              <a:latin typeface="+mj-lt"/>
              <a:ea typeface="Open Sans"/>
              <a:cs typeface="Open Sans"/>
            </a:endParaRPr>
          </a:p>
        </p:txBody>
      </p:sp>
      <p:sp>
        <p:nvSpPr>
          <p:cNvPr id="463" name="TextBox 462"/>
          <p:cNvSpPr txBox="1"/>
          <p:nvPr/>
        </p:nvSpPr>
        <p:spPr bwMode="auto">
          <a:xfrm>
            <a:off x="1817469" y="2044705"/>
            <a:ext cx="438072" cy="3561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700">
                <a:solidFill>
                  <a:schemeClr val="bg1"/>
                </a:solidFill>
                <a:latin typeface="+mj-lt"/>
                <a:cs typeface="Arial"/>
              </a:rPr>
              <a:t>+</a:t>
            </a:r>
            <a:endParaRPr sz="1700">
              <a:solidFill>
                <a:schemeClr val="bg1"/>
              </a:solidFill>
              <a:latin typeface="+mj-lt"/>
              <a:cs typeface="Arial"/>
            </a:endParaRPr>
          </a:p>
        </p:txBody>
      </p: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11106" y="2808358"/>
            <a:ext cx="0" cy="2438901"/>
          </a:xfrm>
          <a:prstGeom prst="line">
            <a:avLst/>
          </a:prstGeom>
          <a:ln w="12700">
            <a:solidFill>
              <a:srgbClr val="88BD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/>
          <p:cNvSpPr/>
          <p:nvPr/>
        </p:nvSpPr>
        <p:spPr bwMode="auto">
          <a:xfrm>
            <a:off x="712368" y="3561978"/>
            <a:ext cx="244925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76AF3E"/>
              </a:buClr>
              <a:defRPr/>
            </a:pPr>
            <a:r>
              <a:rPr lang="ru-RU" sz="1200">
                <a:solidFill>
                  <a:schemeClr val="bg1">
                    <a:lumMod val="95000"/>
                  </a:schemeClr>
                </a:solidFill>
              </a:rPr>
              <a:t>Объединение игроков и формирование общих платформ (универсальные отраслевые решения)</a:t>
            </a:r>
            <a:endParaRPr/>
          </a:p>
        </p:txBody>
      </p:sp>
      <p:sp>
        <p:nvSpPr>
          <p:cNvPr id="198" name="TextBox 197"/>
          <p:cNvSpPr txBox="1"/>
          <p:nvPr/>
        </p:nvSpPr>
        <p:spPr bwMode="auto">
          <a:xfrm>
            <a:off x="706241" y="2769613"/>
            <a:ext cx="24934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76AF3E"/>
              </a:buClr>
              <a:defRPr/>
            </a:pPr>
            <a:r>
              <a:rPr lang="ru-RU" sz="1200">
                <a:solidFill>
                  <a:schemeClr val="bg1">
                    <a:lumMod val="95000"/>
                  </a:schemeClr>
                </a:solidFill>
              </a:rPr>
              <a:t>Цифровизация промышленности и сохранение контроля над данными</a:t>
            </a:r>
            <a:endParaRPr/>
          </a:p>
        </p:txBody>
      </p:sp>
      <p:sp>
        <p:nvSpPr>
          <p:cNvPr id="199" name="TextBox 198"/>
          <p:cNvSpPr txBox="1"/>
          <p:nvPr/>
        </p:nvSpPr>
        <p:spPr bwMode="auto">
          <a:xfrm>
            <a:off x="727487" y="4584832"/>
            <a:ext cx="26126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71450" indent="-171450">
              <a:buClr>
                <a:srgbClr val="76AF3E"/>
              </a:buClr>
              <a:buFont typeface="Wingdings"/>
              <a:buChar char="ü"/>
              <a:defRPr sz="1200" b="1"/>
            </a:lvl1pPr>
          </a:lstStyle>
          <a:p>
            <a:pPr marL="0" indent="0">
              <a:buNone/>
              <a:defRPr/>
            </a:pPr>
            <a:r>
              <a:rPr lang="ru-RU" b="0">
                <a:solidFill>
                  <a:schemeClr val="bg1">
                    <a:lumMod val="95000"/>
                  </a:schemeClr>
                </a:solidFill>
              </a:rPr>
              <a:t>Использование открытых исходных кодов и общего технического потенциала</a:t>
            </a:r>
            <a:endParaRPr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66" b="15760"/>
          <a:stretch/>
        </p:blipFill>
        <p:spPr bwMode="auto">
          <a:xfrm>
            <a:off x="4542488" y="3058264"/>
            <a:ext cx="7634014" cy="3799736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 bwMode="auto">
          <a:xfrm>
            <a:off x="6878922" y="2648103"/>
            <a:ext cx="112647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1">
                <a:gradFill>
                  <a:gsLst>
                    <a:gs pos="6000">
                      <a:srgbClr val="6EB048"/>
                    </a:gs>
                    <a:gs pos="37000">
                      <a:srgbClr val="2ABB87"/>
                    </a:gs>
                    <a:gs pos="65000">
                      <a:srgbClr val="06B6B8"/>
                    </a:gs>
                    <a:gs pos="100000">
                      <a:srgbClr val="058CDF"/>
                    </a:gs>
                  </a:gsLst>
                  <a:lin ang="8400000" scaled="0"/>
                </a:gradFill>
                <a:latin typeface="+mj-lt"/>
              </a:defRPr>
            </a:lvl1pPr>
          </a:lstStyle>
          <a:p>
            <a:pPr>
              <a:defRPr/>
            </a:pPr>
            <a:r>
              <a:rPr lang="ru-RU" dirty="0"/>
              <a:t>40</a:t>
            </a:r>
            <a:endParaRPr sz="4000" dirty="0"/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6601478" y="3360896"/>
            <a:ext cx="1831440" cy="433837"/>
          </a:xfrm>
          <a:prstGeom prst="rect">
            <a:avLst/>
          </a:prstGeom>
        </p:spPr>
        <p:txBody>
          <a:bodyPr wrap="square" numCol="1" anchor="t">
            <a:spAutoFit/>
          </a:bodyPr>
          <a:lstStyle/>
          <a:p>
            <a:pPr algn="ctr" defTabSz="914418">
              <a:lnSpc>
                <a:spcPts val="1380"/>
              </a:lnSpc>
              <a:defRPr/>
            </a:pPr>
            <a:r>
              <a:rPr lang="ru-RU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СПЕЦИАЛИСТОВ АНАЛИЗА ДАННЫХ (</a:t>
            </a:r>
            <a:r>
              <a:rPr lang="en-US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DS</a:t>
            </a:r>
            <a:r>
              <a:rPr lang="ru-RU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)</a:t>
            </a:r>
            <a:endParaRPr/>
          </a:p>
        </p:txBody>
      </p:sp>
      <p:sp>
        <p:nvSpPr>
          <p:cNvPr id="38" name="TextBox 37"/>
          <p:cNvSpPr txBox="1"/>
          <p:nvPr/>
        </p:nvSpPr>
        <p:spPr bwMode="auto">
          <a:xfrm>
            <a:off x="8221303" y="2629679"/>
            <a:ext cx="190922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1">
                <a:gradFill>
                  <a:gsLst>
                    <a:gs pos="6000">
                      <a:srgbClr val="6EB048"/>
                    </a:gs>
                    <a:gs pos="37000">
                      <a:srgbClr val="2ABB87"/>
                    </a:gs>
                    <a:gs pos="65000">
                      <a:srgbClr val="06B6B8"/>
                    </a:gs>
                    <a:gs pos="100000">
                      <a:srgbClr val="058CDF"/>
                    </a:gs>
                  </a:gsLst>
                  <a:lin ang="8400000" scaled="0"/>
                </a:gradFill>
                <a:latin typeface="+mj-lt"/>
              </a:defRPr>
            </a:lvl1pPr>
          </a:lstStyle>
          <a:p>
            <a:pPr>
              <a:defRPr/>
            </a:pPr>
            <a:r>
              <a:rPr lang="ru-RU" dirty="0"/>
              <a:t>100+</a:t>
            </a:r>
            <a:endParaRPr sz="4000" dirty="0"/>
          </a:p>
        </p:txBody>
      </p:sp>
      <p:sp>
        <p:nvSpPr>
          <p:cNvPr id="39" name="Прямоугольник 38"/>
          <p:cNvSpPr/>
          <p:nvPr/>
        </p:nvSpPr>
        <p:spPr bwMode="auto">
          <a:xfrm>
            <a:off x="8460078" y="3360896"/>
            <a:ext cx="1495242" cy="254300"/>
          </a:xfrm>
          <a:prstGeom prst="rect">
            <a:avLst/>
          </a:prstGeom>
        </p:spPr>
        <p:txBody>
          <a:bodyPr wrap="square" numCol="1" anchor="t">
            <a:spAutoFit/>
          </a:bodyPr>
          <a:lstStyle/>
          <a:p>
            <a:pPr algn="ctr" defTabSz="914418">
              <a:lnSpc>
                <a:spcPts val="1380"/>
              </a:lnSpc>
              <a:defRPr/>
            </a:pPr>
            <a:r>
              <a:rPr lang="ru-RU" sz="1000" b="1" dirty="0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АНАЛИТИКОВ</a:t>
            </a:r>
            <a:endParaRPr dirty="0"/>
          </a:p>
        </p:txBody>
      </p:sp>
      <p:sp>
        <p:nvSpPr>
          <p:cNvPr id="40" name="TextBox 39"/>
          <p:cNvSpPr txBox="1"/>
          <p:nvPr/>
        </p:nvSpPr>
        <p:spPr bwMode="auto">
          <a:xfrm>
            <a:off x="10082123" y="2629679"/>
            <a:ext cx="1561020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400" b="1">
                <a:gradFill>
                  <a:gsLst>
                    <a:gs pos="6000">
                      <a:srgbClr val="6EB048"/>
                    </a:gs>
                    <a:gs pos="37000">
                      <a:srgbClr val="2ABB87"/>
                    </a:gs>
                    <a:gs pos="65000">
                      <a:srgbClr val="06B6B8"/>
                    </a:gs>
                    <a:gs pos="100000">
                      <a:srgbClr val="058CDF"/>
                    </a:gs>
                  </a:gsLst>
                  <a:lin ang="8400000" scaled="0"/>
                </a:gradFill>
                <a:latin typeface="+mj-lt"/>
              </a:defRPr>
            </a:lvl1pPr>
          </a:lstStyle>
          <a:p>
            <a:pPr>
              <a:defRPr/>
            </a:pPr>
            <a:r>
              <a:rPr lang="ru-RU" dirty="0"/>
              <a:t>80+</a:t>
            </a:r>
            <a:endParaRPr sz="4000" dirty="0"/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9864795" y="3360896"/>
            <a:ext cx="2029996" cy="433837"/>
          </a:xfrm>
          <a:prstGeom prst="rect">
            <a:avLst/>
          </a:prstGeom>
        </p:spPr>
        <p:txBody>
          <a:bodyPr wrap="square" numCol="1" anchor="t">
            <a:spAutoFit/>
          </a:bodyPr>
          <a:lstStyle/>
          <a:p>
            <a:pPr algn="ctr" defTabSz="914418">
              <a:lnSpc>
                <a:spcPts val="1380"/>
              </a:lnSpc>
              <a:defRPr/>
            </a:pPr>
            <a:r>
              <a:rPr lang="ru-RU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СИСТЕМНЫХ ИНЖЕНЕРОВ</a:t>
            </a:r>
            <a:endParaRPr lang="en-US" sz="1000" b="1">
              <a:solidFill>
                <a:schemeClr val="bg1">
                  <a:lumMod val="95000"/>
                </a:schemeClr>
              </a:solidFill>
              <a:latin typeface="+mj-lt"/>
              <a:cs typeface="Arial Black"/>
            </a:endParaRPr>
          </a:p>
          <a:p>
            <a:pPr algn="ctr" defTabSz="914418">
              <a:lnSpc>
                <a:spcPts val="1380"/>
              </a:lnSpc>
              <a:defRPr/>
            </a:pPr>
            <a:r>
              <a:rPr lang="ru-RU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(</a:t>
            </a:r>
            <a:r>
              <a:rPr lang="en-US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DEVOPS</a:t>
            </a:r>
            <a:r>
              <a:rPr lang="ru-RU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)</a:t>
            </a:r>
            <a:endParaRPr/>
          </a:p>
        </p:txBody>
      </p:sp>
      <p:sp>
        <p:nvSpPr>
          <p:cNvPr id="34" name="TextBox 33"/>
          <p:cNvSpPr txBox="1"/>
          <p:nvPr/>
        </p:nvSpPr>
        <p:spPr bwMode="auto">
          <a:xfrm>
            <a:off x="4902430" y="2629679"/>
            <a:ext cx="1874630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3200" b="1">
                <a:gradFill>
                  <a:gsLst>
                    <a:gs pos="6000">
                      <a:srgbClr val="6EB048"/>
                    </a:gs>
                    <a:gs pos="37000">
                      <a:srgbClr val="2ABB87"/>
                    </a:gs>
                    <a:gs pos="65000">
                      <a:srgbClr val="06B6B8"/>
                    </a:gs>
                    <a:gs pos="100000">
                      <a:srgbClr val="058CDF"/>
                    </a:gs>
                  </a:gsLst>
                  <a:lin ang="8400000" scaled="0"/>
                </a:gradFill>
                <a:latin typeface="+mj-lt"/>
              </a:defRPr>
            </a:lvl1pPr>
          </a:lstStyle>
          <a:p>
            <a:pPr>
              <a:defRPr/>
            </a:pPr>
            <a:r>
              <a:rPr lang="ru-RU" sz="4400" dirty="0"/>
              <a:t>160+</a:t>
            </a:r>
            <a:endParaRPr sz="2800" dirty="0"/>
          </a:p>
        </p:txBody>
      </p:sp>
      <p:sp>
        <p:nvSpPr>
          <p:cNvPr id="489" name="TextBox 488"/>
          <p:cNvSpPr txBox="1"/>
          <p:nvPr/>
        </p:nvSpPr>
        <p:spPr bwMode="auto">
          <a:xfrm>
            <a:off x="6997556" y="4930528"/>
            <a:ext cx="23676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71450" indent="-171450">
              <a:buClr>
                <a:srgbClr val="76AF3E"/>
              </a:buClr>
              <a:buFont typeface="Wingdings"/>
              <a:buChar char="ü"/>
              <a:defRPr sz="1400"/>
            </a:lvl1pPr>
          </a:lstStyle>
          <a:p>
            <a:pPr marL="0" indent="0">
              <a:buNone/>
              <a:defRPr/>
            </a:pPr>
            <a:r>
              <a:rPr lang="ru-RU" sz="1000">
                <a:solidFill>
                  <a:schemeClr val="tx2">
                    <a:lumMod val="40000"/>
                    <a:lumOff val="60000"/>
                  </a:schemeClr>
                </a:solidFill>
              </a:rPr>
              <a:t>ОФИСЫ В РОССИИ, ПРИСУТСТВИЕ В СНГ (ЧЕРЕЗ ГК «ЦИФРА»)</a:t>
            </a:r>
            <a:endParaRPr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798285" y="3360896"/>
            <a:ext cx="1877961" cy="431080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algn="ctr" defTabSz="914418">
              <a:lnSpc>
                <a:spcPts val="1380"/>
              </a:lnSpc>
              <a:defRPr/>
            </a:pPr>
            <a:r>
              <a:rPr lang="ru-RU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РАЗРАБОТЧИКА</a:t>
            </a:r>
            <a:endParaRPr lang="en-US" sz="1000" b="1">
              <a:solidFill>
                <a:schemeClr val="bg1">
                  <a:lumMod val="95000"/>
                </a:schemeClr>
              </a:solidFill>
              <a:latin typeface="+mj-lt"/>
              <a:cs typeface="Arial Black"/>
            </a:endParaRPr>
          </a:p>
          <a:p>
            <a:pPr algn="ctr" defTabSz="914418">
              <a:lnSpc>
                <a:spcPts val="1380"/>
              </a:lnSpc>
              <a:defRPr/>
            </a:pPr>
            <a:r>
              <a:rPr lang="ru-RU" sz="1000" b="1">
                <a:solidFill>
                  <a:schemeClr val="bg1">
                    <a:lumMod val="95000"/>
                  </a:schemeClr>
                </a:solidFill>
                <a:latin typeface="+mj-lt"/>
                <a:cs typeface="Arial Black"/>
              </a:rPr>
              <a:t>И ТЕСТИРОВЩИКА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5205827" y="4930528"/>
            <a:ext cx="144232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marL="171450" indent="-171450">
              <a:buClr>
                <a:srgbClr val="76AF3E"/>
              </a:buClr>
              <a:buFont typeface="Wingdings"/>
              <a:buChar char="ü"/>
              <a:defRPr sz="1400"/>
            </a:lvl1pPr>
          </a:lstStyle>
          <a:p>
            <a:pPr marL="0" indent="0">
              <a:buNone/>
              <a:defRPr/>
            </a:pPr>
            <a:r>
              <a:rPr lang="ru-RU" sz="1000">
                <a:solidFill>
                  <a:schemeClr val="tx2">
                    <a:lumMod val="40000"/>
                    <a:lumOff val="60000"/>
                  </a:schemeClr>
                </a:solidFill>
              </a:rPr>
              <a:t>ОБЩЕЕ ЧИСЛО СОТРУДНИКОВ:</a:t>
            </a:r>
            <a:endParaRPr lang="ru-RU" sz="1000" b="1">
              <a:solidFill>
                <a:srgbClr val="85B42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 bwMode="auto">
          <a:xfrm>
            <a:off x="6115637" y="4946035"/>
            <a:ext cx="809301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4800" b="1">
                <a:gradFill>
                  <a:gsLst>
                    <a:gs pos="6000">
                      <a:srgbClr val="6EB048"/>
                    </a:gs>
                    <a:gs pos="37000">
                      <a:srgbClr val="2ABB87"/>
                    </a:gs>
                    <a:gs pos="65000">
                      <a:srgbClr val="06B6B8"/>
                    </a:gs>
                    <a:gs pos="100000">
                      <a:srgbClr val="058CDF"/>
                    </a:gs>
                  </a:gsLst>
                  <a:lin ang="8400000" scaled="0"/>
                </a:gradFill>
                <a:latin typeface="+mj-lt"/>
              </a:defRPr>
            </a:lvl1pPr>
          </a:lstStyle>
          <a:p>
            <a:pPr>
              <a:defRPr/>
            </a:pPr>
            <a:r>
              <a:rPr lang="ru-RU" sz="2000" dirty="0">
                <a:solidFill>
                  <a:srgbClr val="46B76D"/>
                </a:solidFill>
              </a:rPr>
              <a:t>582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2492997D-5016-3F4F-A2A5-08C647CED841}"/>
              </a:ext>
            </a:extLst>
          </p:cNvPr>
          <p:cNvGrpSpPr/>
          <p:nvPr/>
        </p:nvGrpSpPr>
        <p:grpSpPr>
          <a:xfrm rot="1800000">
            <a:off x="4970905" y="1623948"/>
            <a:ext cx="2286501" cy="2342426"/>
            <a:chOff x="6773743" y="780203"/>
            <a:chExt cx="6983975" cy="7154795"/>
          </a:xfrm>
        </p:grpSpPr>
        <p:sp>
          <p:nvSpPr>
            <p:cNvPr id="47" name="Рисунок 6">
              <a:extLst>
                <a:ext uri="{FF2B5EF4-FFF2-40B4-BE49-F238E27FC236}">
                  <a16:creationId xmlns:a16="http://schemas.microsoft.com/office/drawing/2014/main" id="{EB24FEC0-18DE-0E41-A85A-A8AB5ECCC82E}"/>
                </a:ext>
              </a:extLst>
            </p:cNvPr>
            <p:cNvSpPr/>
            <p:nvPr/>
          </p:nvSpPr>
          <p:spPr>
            <a:xfrm>
              <a:off x="6938051" y="1092674"/>
              <a:ext cx="6819667" cy="6842324"/>
            </a:xfrm>
            <a:custGeom>
              <a:avLst/>
              <a:gdLst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87971 w 6819667"/>
                <a:gd name="connsiteY22" fmla="*/ 5567181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52345 w 6819667"/>
                <a:gd name="connsiteY22" fmla="*/ 5567181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64220 w 6819667"/>
                <a:gd name="connsiteY22" fmla="*/ 5567181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64220 w 6819667"/>
                <a:gd name="connsiteY22" fmla="*/ 5519680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687031 w 6819667"/>
                <a:gd name="connsiteY22" fmla="*/ 5478116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28594 w 6819667"/>
                <a:gd name="connsiteY22" fmla="*/ 5424677 h 6775603"/>
                <a:gd name="connsiteX0" fmla="*/ 760499 w 6819667"/>
                <a:gd name="connsiteY0" fmla="*/ 5567181 h 6750381"/>
                <a:gd name="connsiteX1" fmla="*/ 848408 w 6819667"/>
                <a:gd name="connsiteY1" fmla="*/ 4567224 h 6750381"/>
                <a:gd name="connsiteX2" fmla="*/ 908845 w 6819667"/>
                <a:gd name="connsiteY2" fmla="*/ 3979336 h 6750381"/>
                <a:gd name="connsiteX3" fmla="*/ 584683 w 6819667"/>
                <a:gd name="connsiteY3" fmla="*/ 3473864 h 6750381"/>
                <a:gd name="connsiteX4" fmla="*/ 348495 w 6819667"/>
                <a:gd name="connsiteY4" fmla="*/ 1264211 h 6750381"/>
                <a:gd name="connsiteX5" fmla="*/ 2232964 w 6819667"/>
                <a:gd name="connsiteY5" fmla="*/ 825625 h 6750381"/>
                <a:gd name="connsiteX6" fmla="*/ 2820851 w 6819667"/>
                <a:gd name="connsiteY6" fmla="*/ 880568 h 6750381"/>
                <a:gd name="connsiteX7" fmla="*/ 3326324 w 6819667"/>
                <a:gd name="connsiteY7" fmla="*/ 561900 h 6750381"/>
                <a:gd name="connsiteX8" fmla="*/ 3326324 w 6819667"/>
                <a:gd name="connsiteY8" fmla="*/ 561900 h 6750381"/>
                <a:gd name="connsiteX9" fmla="*/ 4172442 w 6819667"/>
                <a:gd name="connsiteY9" fmla="*/ 45438 h 6750381"/>
                <a:gd name="connsiteX10" fmla="*/ 6060054 w 6819667"/>
                <a:gd name="connsiteY10" fmla="*/ 1188401 h 6750381"/>
                <a:gd name="connsiteX11" fmla="*/ 5963574 w 6819667"/>
                <a:gd name="connsiteY11" fmla="*/ 2210181 h 6750381"/>
                <a:gd name="connsiteX12" fmla="*/ 5908631 w 6819667"/>
                <a:gd name="connsiteY12" fmla="*/ 2798068 h 6750381"/>
                <a:gd name="connsiteX13" fmla="*/ 6227299 w 6819667"/>
                <a:gd name="connsiteY13" fmla="*/ 3303541 h 6750381"/>
                <a:gd name="connsiteX14" fmla="*/ 6776726 w 6819667"/>
                <a:gd name="connsiteY14" fmla="*/ 4155153 h 6750381"/>
                <a:gd name="connsiteX15" fmla="*/ 5616116 w 6819667"/>
                <a:gd name="connsiteY15" fmla="*/ 6041117 h 6750381"/>
                <a:gd name="connsiteX16" fmla="*/ 4611984 w 6819667"/>
                <a:gd name="connsiteY16" fmla="*/ 5946285 h 6750381"/>
                <a:gd name="connsiteX17" fmla="*/ 4024096 w 6819667"/>
                <a:gd name="connsiteY17" fmla="*/ 5891343 h 6750381"/>
                <a:gd name="connsiteX18" fmla="*/ 3518623 w 6819667"/>
                <a:gd name="connsiteY18" fmla="*/ 6210011 h 6750381"/>
                <a:gd name="connsiteX19" fmla="*/ 3518623 w 6819667"/>
                <a:gd name="connsiteY19" fmla="*/ 6210011 h 6750381"/>
                <a:gd name="connsiteX20" fmla="*/ 2678000 w 6819667"/>
                <a:gd name="connsiteY20" fmla="*/ 6731966 h 6750381"/>
                <a:gd name="connsiteX21" fmla="*/ 777942 w 6819667"/>
                <a:gd name="connsiteY21" fmla="*/ 5580921 h 6750381"/>
                <a:gd name="connsiteX22" fmla="*/ 728594 w 6819667"/>
                <a:gd name="connsiteY22" fmla="*/ 5424677 h 6750381"/>
                <a:gd name="connsiteX0" fmla="*/ 760499 w 6819667"/>
                <a:gd name="connsiteY0" fmla="*/ 5567181 h 6732806"/>
                <a:gd name="connsiteX1" fmla="*/ 848408 w 6819667"/>
                <a:gd name="connsiteY1" fmla="*/ 4567224 h 6732806"/>
                <a:gd name="connsiteX2" fmla="*/ 908845 w 6819667"/>
                <a:gd name="connsiteY2" fmla="*/ 3979336 h 6732806"/>
                <a:gd name="connsiteX3" fmla="*/ 584683 w 6819667"/>
                <a:gd name="connsiteY3" fmla="*/ 3473864 h 6732806"/>
                <a:gd name="connsiteX4" fmla="*/ 348495 w 6819667"/>
                <a:gd name="connsiteY4" fmla="*/ 1264211 h 6732806"/>
                <a:gd name="connsiteX5" fmla="*/ 2232964 w 6819667"/>
                <a:gd name="connsiteY5" fmla="*/ 825625 h 6732806"/>
                <a:gd name="connsiteX6" fmla="*/ 2820851 w 6819667"/>
                <a:gd name="connsiteY6" fmla="*/ 880568 h 6732806"/>
                <a:gd name="connsiteX7" fmla="*/ 3326324 w 6819667"/>
                <a:gd name="connsiteY7" fmla="*/ 561900 h 6732806"/>
                <a:gd name="connsiteX8" fmla="*/ 3326324 w 6819667"/>
                <a:gd name="connsiteY8" fmla="*/ 561900 h 6732806"/>
                <a:gd name="connsiteX9" fmla="*/ 4172442 w 6819667"/>
                <a:gd name="connsiteY9" fmla="*/ 45438 h 6732806"/>
                <a:gd name="connsiteX10" fmla="*/ 6060054 w 6819667"/>
                <a:gd name="connsiteY10" fmla="*/ 1188401 h 6732806"/>
                <a:gd name="connsiteX11" fmla="*/ 5963574 w 6819667"/>
                <a:gd name="connsiteY11" fmla="*/ 2210181 h 6732806"/>
                <a:gd name="connsiteX12" fmla="*/ 5908631 w 6819667"/>
                <a:gd name="connsiteY12" fmla="*/ 2798068 h 6732806"/>
                <a:gd name="connsiteX13" fmla="*/ 6227299 w 6819667"/>
                <a:gd name="connsiteY13" fmla="*/ 3303541 h 6732806"/>
                <a:gd name="connsiteX14" fmla="*/ 6776726 w 6819667"/>
                <a:gd name="connsiteY14" fmla="*/ 4155153 h 6732806"/>
                <a:gd name="connsiteX15" fmla="*/ 5616116 w 6819667"/>
                <a:gd name="connsiteY15" fmla="*/ 6041117 h 6732806"/>
                <a:gd name="connsiteX16" fmla="*/ 4611984 w 6819667"/>
                <a:gd name="connsiteY16" fmla="*/ 5946285 h 6732806"/>
                <a:gd name="connsiteX17" fmla="*/ 4024096 w 6819667"/>
                <a:gd name="connsiteY17" fmla="*/ 5891343 h 6732806"/>
                <a:gd name="connsiteX18" fmla="*/ 3518623 w 6819667"/>
                <a:gd name="connsiteY18" fmla="*/ 6210011 h 6732806"/>
                <a:gd name="connsiteX19" fmla="*/ 3518623 w 6819667"/>
                <a:gd name="connsiteY19" fmla="*/ 6210011 h 6732806"/>
                <a:gd name="connsiteX20" fmla="*/ 2678000 w 6819667"/>
                <a:gd name="connsiteY20" fmla="*/ 6731966 h 6732806"/>
                <a:gd name="connsiteX21" fmla="*/ 777942 w 6819667"/>
                <a:gd name="connsiteY21" fmla="*/ 5580921 h 6732806"/>
                <a:gd name="connsiteX22" fmla="*/ 728594 w 6819667"/>
                <a:gd name="connsiteY22" fmla="*/ 5424677 h 6732806"/>
                <a:gd name="connsiteX0" fmla="*/ 760499 w 6819667"/>
                <a:gd name="connsiteY0" fmla="*/ 5567181 h 6732243"/>
                <a:gd name="connsiteX1" fmla="*/ 848408 w 6819667"/>
                <a:gd name="connsiteY1" fmla="*/ 4567224 h 6732243"/>
                <a:gd name="connsiteX2" fmla="*/ 908845 w 6819667"/>
                <a:gd name="connsiteY2" fmla="*/ 3979336 h 6732243"/>
                <a:gd name="connsiteX3" fmla="*/ 584683 w 6819667"/>
                <a:gd name="connsiteY3" fmla="*/ 3473864 h 6732243"/>
                <a:gd name="connsiteX4" fmla="*/ 348495 w 6819667"/>
                <a:gd name="connsiteY4" fmla="*/ 1264211 h 6732243"/>
                <a:gd name="connsiteX5" fmla="*/ 2232964 w 6819667"/>
                <a:gd name="connsiteY5" fmla="*/ 825625 h 6732243"/>
                <a:gd name="connsiteX6" fmla="*/ 2820851 w 6819667"/>
                <a:gd name="connsiteY6" fmla="*/ 880568 h 6732243"/>
                <a:gd name="connsiteX7" fmla="*/ 3326324 w 6819667"/>
                <a:gd name="connsiteY7" fmla="*/ 561900 h 6732243"/>
                <a:gd name="connsiteX8" fmla="*/ 3326324 w 6819667"/>
                <a:gd name="connsiteY8" fmla="*/ 561900 h 6732243"/>
                <a:gd name="connsiteX9" fmla="*/ 4172442 w 6819667"/>
                <a:gd name="connsiteY9" fmla="*/ 45438 h 6732243"/>
                <a:gd name="connsiteX10" fmla="*/ 6060054 w 6819667"/>
                <a:gd name="connsiteY10" fmla="*/ 1188401 h 6732243"/>
                <a:gd name="connsiteX11" fmla="*/ 5963574 w 6819667"/>
                <a:gd name="connsiteY11" fmla="*/ 2210181 h 6732243"/>
                <a:gd name="connsiteX12" fmla="*/ 5908631 w 6819667"/>
                <a:gd name="connsiteY12" fmla="*/ 2798068 h 6732243"/>
                <a:gd name="connsiteX13" fmla="*/ 6227299 w 6819667"/>
                <a:gd name="connsiteY13" fmla="*/ 3303541 h 6732243"/>
                <a:gd name="connsiteX14" fmla="*/ 6776726 w 6819667"/>
                <a:gd name="connsiteY14" fmla="*/ 4155153 h 6732243"/>
                <a:gd name="connsiteX15" fmla="*/ 5616116 w 6819667"/>
                <a:gd name="connsiteY15" fmla="*/ 6041117 h 6732243"/>
                <a:gd name="connsiteX16" fmla="*/ 4611984 w 6819667"/>
                <a:gd name="connsiteY16" fmla="*/ 5946285 h 6732243"/>
                <a:gd name="connsiteX17" fmla="*/ 4024096 w 6819667"/>
                <a:gd name="connsiteY17" fmla="*/ 5891343 h 6732243"/>
                <a:gd name="connsiteX18" fmla="*/ 3518623 w 6819667"/>
                <a:gd name="connsiteY18" fmla="*/ 6210011 h 6732243"/>
                <a:gd name="connsiteX19" fmla="*/ 3518623 w 6819667"/>
                <a:gd name="connsiteY19" fmla="*/ 6210011 h 6732243"/>
                <a:gd name="connsiteX20" fmla="*/ 2678000 w 6819667"/>
                <a:gd name="connsiteY20" fmla="*/ 6731966 h 6732243"/>
                <a:gd name="connsiteX21" fmla="*/ 777942 w 6819667"/>
                <a:gd name="connsiteY21" fmla="*/ 5580921 h 6732243"/>
                <a:gd name="connsiteX22" fmla="*/ 728594 w 6819667"/>
                <a:gd name="connsiteY22" fmla="*/ 5424677 h 6732243"/>
                <a:gd name="connsiteX0" fmla="*/ 760499 w 6819667"/>
                <a:gd name="connsiteY0" fmla="*/ 5567181 h 6750688"/>
                <a:gd name="connsiteX1" fmla="*/ 848408 w 6819667"/>
                <a:gd name="connsiteY1" fmla="*/ 4567224 h 6750688"/>
                <a:gd name="connsiteX2" fmla="*/ 908845 w 6819667"/>
                <a:gd name="connsiteY2" fmla="*/ 3979336 h 6750688"/>
                <a:gd name="connsiteX3" fmla="*/ 584683 w 6819667"/>
                <a:gd name="connsiteY3" fmla="*/ 3473864 h 6750688"/>
                <a:gd name="connsiteX4" fmla="*/ 348495 w 6819667"/>
                <a:gd name="connsiteY4" fmla="*/ 1264211 h 6750688"/>
                <a:gd name="connsiteX5" fmla="*/ 2232964 w 6819667"/>
                <a:gd name="connsiteY5" fmla="*/ 825625 h 6750688"/>
                <a:gd name="connsiteX6" fmla="*/ 2820851 w 6819667"/>
                <a:gd name="connsiteY6" fmla="*/ 880568 h 6750688"/>
                <a:gd name="connsiteX7" fmla="*/ 3326324 w 6819667"/>
                <a:gd name="connsiteY7" fmla="*/ 561900 h 6750688"/>
                <a:gd name="connsiteX8" fmla="*/ 3326324 w 6819667"/>
                <a:gd name="connsiteY8" fmla="*/ 561900 h 6750688"/>
                <a:gd name="connsiteX9" fmla="*/ 4172442 w 6819667"/>
                <a:gd name="connsiteY9" fmla="*/ 45438 h 6750688"/>
                <a:gd name="connsiteX10" fmla="*/ 6060054 w 6819667"/>
                <a:gd name="connsiteY10" fmla="*/ 1188401 h 6750688"/>
                <a:gd name="connsiteX11" fmla="*/ 5963574 w 6819667"/>
                <a:gd name="connsiteY11" fmla="*/ 2210181 h 6750688"/>
                <a:gd name="connsiteX12" fmla="*/ 5908631 w 6819667"/>
                <a:gd name="connsiteY12" fmla="*/ 2798068 h 6750688"/>
                <a:gd name="connsiteX13" fmla="*/ 6227299 w 6819667"/>
                <a:gd name="connsiteY13" fmla="*/ 3303541 h 6750688"/>
                <a:gd name="connsiteX14" fmla="*/ 6776726 w 6819667"/>
                <a:gd name="connsiteY14" fmla="*/ 4155153 h 6750688"/>
                <a:gd name="connsiteX15" fmla="*/ 5616116 w 6819667"/>
                <a:gd name="connsiteY15" fmla="*/ 6041117 h 6750688"/>
                <a:gd name="connsiteX16" fmla="*/ 4611984 w 6819667"/>
                <a:gd name="connsiteY16" fmla="*/ 5946285 h 6750688"/>
                <a:gd name="connsiteX17" fmla="*/ 4024096 w 6819667"/>
                <a:gd name="connsiteY17" fmla="*/ 5891343 h 6750688"/>
                <a:gd name="connsiteX18" fmla="*/ 3518623 w 6819667"/>
                <a:gd name="connsiteY18" fmla="*/ 6210011 h 6750688"/>
                <a:gd name="connsiteX19" fmla="*/ 3518623 w 6819667"/>
                <a:gd name="connsiteY19" fmla="*/ 6210011 h 6750688"/>
                <a:gd name="connsiteX20" fmla="*/ 2678000 w 6819667"/>
                <a:gd name="connsiteY20" fmla="*/ 6731966 h 6750688"/>
                <a:gd name="connsiteX21" fmla="*/ 758207 w 6819667"/>
                <a:gd name="connsiteY21" fmla="*/ 5574343 h 6750688"/>
                <a:gd name="connsiteX22" fmla="*/ 728594 w 6819667"/>
                <a:gd name="connsiteY22" fmla="*/ 5424677 h 6750688"/>
                <a:gd name="connsiteX0" fmla="*/ 760499 w 6819667"/>
                <a:gd name="connsiteY0" fmla="*/ 5567181 h 6750688"/>
                <a:gd name="connsiteX1" fmla="*/ 848408 w 6819667"/>
                <a:gd name="connsiteY1" fmla="*/ 4567224 h 6750688"/>
                <a:gd name="connsiteX2" fmla="*/ 908845 w 6819667"/>
                <a:gd name="connsiteY2" fmla="*/ 3979336 h 6750688"/>
                <a:gd name="connsiteX3" fmla="*/ 584683 w 6819667"/>
                <a:gd name="connsiteY3" fmla="*/ 3473864 h 6750688"/>
                <a:gd name="connsiteX4" fmla="*/ 348495 w 6819667"/>
                <a:gd name="connsiteY4" fmla="*/ 1264211 h 6750688"/>
                <a:gd name="connsiteX5" fmla="*/ 2232964 w 6819667"/>
                <a:gd name="connsiteY5" fmla="*/ 825625 h 6750688"/>
                <a:gd name="connsiteX6" fmla="*/ 2820851 w 6819667"/>
                <a:gd name="connsiteY6" fmla="*/ 880568 h 6750688"/>
                <a:gd name="connsiteX7" fmla="*/ 3326324 w 6819667"/>
                <a:gd name="connsiteY7" fmla="*/ 561900 h 6750688"/>
                <a:gd name="connsiteX8" fmla="*/ 3326324 w 6819667"/>
                <a:gd name="connsiteY8" fmla="*/ 561900 h 6750688"/>
                <a:gd name="connsiteX9" fmla="*/ 4172442 w 6819667"/>
                <a:gd name="connsiteY9" fmla="*/ 45438 h 6750688"/>
                <a:gd name="connsiteX10" fmla="*/ 6060054 w 6819667"/>
                <a:gd name="connsiteY10" fmla="*/ 1188401 h 6750688"/>
                <a:gd name="connsiteX11" fmla="*/ 5963574 w 6819667"/>
                <a:gd name="connsiteY11" fmla="*/ 2210181 h 6750688"/>
                <a:gd name="connsiteX12" fmla="*/ 5908631 w 6819667"/>
                <a:gd name="connsiteY12" fmla="*/ 2798068 h 6750688"/>
                <a:gd name="connsiteX13" fmla="*/ 6227299 w 6819667"/>
                <a:gd name="connsiteY13" fmla="*/ 3303541 h 6750688"/>
                <a:gd name="connsiteX14" fmla="*/ 6776726 w 6819667"/>
                <a:gd name="connsiteY14" fmla="*/ 4155153 h 6750688"/>
                <a:gd name="connsiteX15" fmla="*/ 5616116 w 6819667"/>
                <a:gd name="connsiteY15" fmla="*/ 6041117 h 6750688"/>
                <a:gd name="connsiteX16" fmla="*/ 4611984 w 6819667"/>
                <a:gd name="connsiteY16" fmla="*/ 5946285 h 6750688"/>
                <a:gd name="connsiteX17" fmla="*/ 4024096 w 6819667"/>
                <a:gd name="connsiteY17" fmla="*/ 5891343 h 6750688"/>
                <a:gd name="connsiteX18" fmla="*/ 3518623 w 6819667"/>
                <a:gd name="connsiteY18" fmla="*/ 6210011 h 6750688"/>
                <a:gd name="connsiteX19" fmla="*/ 3518623 w 6819667"/>
                <a:gd name="connsiteY19" fmla="*/ 6210011 h 6750688"/>
                <a:gd name="connsiteX20" fmla="*/ 2678000 w 6819667"/>
                <a:gd name="connsiteY20" fmla="*/ 6731966 h 6750688"/>
                <a:gd name="connsiteX21" fmla="*/ 758207 w 6819667"/>
                <a:gd name="connsiteY21" fmla="*/ 5574343 h 6750688"/>
                <a:gd name="connsiteX22" fmla="*/ 728594 w 6819667"/>
                <a:gd name="connsiteY22" fmla="*/ 5424677 h 6750688"/>
                <a:gd name="connsiteX0" fmla="*/ 760499 w 6819667"/>
                <a:gd name="connsiteY0" fmla="*/ 5567181 h 6737940"/>
                <a:gd name="connsiteX1" fmla="*/ 848408 w 6819667"/>
                <a:gd name="connsiteY1" fmla="*/ 4567224 h 6737940"/>
                <a:gd name="connsiteX2" fmla="*/ 908845 w 6819667"/>
                <a:gd name="connsiteY2" fmla="*/ 3979336 h 6737940"/>
                <a:gd name="connsiteX3" fmla="*/ 584683 w 6819667"/>
                <a:gd name="connsiteY3" fmla="*/ 3473864 h 6737940"/>
                <a:gd name="connsiteX4" fmla="*/ 348495 w 6819667"/>
                <a:gd name="connsiteY4" fmla="*/ 1264211 h 6737940"/>
                <a:gd name="connsiteX5" fmla="*/ 2232964 w 6819667"/>
                <a:gd name="connsiteY5" fmla="*/ 825625 h 6737940"/>
                <a:gd name="connsiteX6" fmla="*/ 2820851 w 6819667"/>
                <a:gd name="connsiteY6" fmla="*/ 880568 h 6737940"/>
                <a:gd name="connsiteX7" fmla="*/ 3326324 w 6819667"/>
                <a:gd name="connsiteY7" fmla="*/ 561900 h 6737940"/>
                <a:gd name="connsiteX8" fmla="*/ 3326324 w 6819667"/>
                <a:gd name="connsiteY8" fmla="*/ 561900 h 6737940"/>
                <a:gd name="connsiteX9" fmla="*/ 4172442 w 6819667"/>
                <a:gd name="connsiteY9" fmla="*/ 45438 h 6737940"/>
                <a:gd name="connsiteX10" fmla="*/ 6060054 w 6819667"/>
                <a:gd name="connsiteY10" fmla="*/ 1188401 h 6737940"/>
                <a:gd name="connsiteX11" fmla="*/ 5963574 w 6819667"/>
                <a:gd name="connsiteY11" fmla="*/ 2210181 h 6737940"/>
                <a:gd name="connsiteX12" fmla="*/ 5908631 w 6819667"/>
                <a:gd name="connsiteY12" fmla="*/ 2798068 h 6737940"/>
                <a:gd name="connsiteX13" fmla="*/ 6227299 w 6819667"/>
                <a:gd name="connsiteY13" fmla="*/ 3303541 h 6737940"/>
                <a:gd name="connsiteX14" fmla="*/ 6776726 w 6819667"/>
                <a:gd name="connsiteY14" fmla="*/ 4155153 h 6737940"/>
                <a:gd name="connsiteX15" fmla="*/ 5616116 w 6819667"/>
                <a:gd name="connsiteY15" fmla="*/ 6041117 h 6737940"/>
                <a:gd name="connsiteX16" fmla="*/ 4611984 w 6819667"/>
                <a:gd name="connsiteY16" fmla="*/ 5946285 h 6737940"/>
                <a:gd name="connsiteX17" fmla="*/ 4024096 w 6819667"/>
                <a:gd name="connsiteY17" fmla="*/ 5891343 h 6737940"/>
                <a:gd name="connsiteX18" fmla="*/ 3518623 w 6819667"/>
                <a:gd name="connsiteY18" fmla="*/ 6210011 h 6737940"/>
                <a:gd name="connsiteX19" fmla="*/ 3518623 w 6819667"/>
                <a:gd name="connsiteY19" fmla="*/ 6210011 h 6737940"/>
                <a:gd name="connsiteX20" fmla="*/ 2678000 w 6819667"/>
                <a:gd name="connsiteY20" fmla="*/ 6731966 h 6737940"/>
                <a:gd name="connsiteX21" fmla="*/ 758207 w 6819667"/>
                <a:gd name="connsiteY21" fmla="*/ 5574343 h 6737940"/>
                <a:gd name="connsiteX22" fmla="*/ 728594 w 6819667"/>
                <a:gd name="connsiteY22" fmla="*/ 5424677 h 6737940"/>
                <a:gd name="connsiteX0" fmla="*/ 760499 w 6819667"/>
                <a:gd name="connsiteY0" fmla="*/ 5567181 h 6732824"/>
                <a:gd name="connsiteX1" fmla="*/ 848408 w 6819667"/>
                <a:gd name="connsiteY1" fmla="*/ 4567224 h 6732824"/>
                <a:gd name="connsiteX2" fmla="*/ 908845 w 6819667"/>
                <a:gd name="connsiteY2" fmla="*/ 3979336 h 6732824"/>
                <a:gd name="connsiteX3" fmla="*/ 584683 w 6819667"/>
                <a:gd name="connsiteY3" fmla="*/ 3473864 h 6732824"/>
                <a:gd name="connsiteX4" fmla="*/ 348495 w 6819667"/>
                <a:gd name="connsiteY4" fmla="*/ 1264211 h 6732824"/>
                <a:gd name="connsiteX5" fmla="*/ 2232964 w 6819667"/>
                <a:gd name="connsiteY5" fmla="*/ 825625 h 6732824"/>
                <a:gd name="connsiteX6" fmla="*/ 2820851 w 6819667"/>
                <a:gd name="connsiteY6" fmla="*/ 880568 h 6732824"/>
                <a:gd name="connsiteX7" fmla="*/ 3326324 w 6819667"/>
                <a:gd name="connsiteY7" fmla="*/ 561900 h 6732824"/>
                <a:gd name="connsiteX8" fmla="*/ 3326324 w 6819667"/>
                <a:gd name="connsiteY8" fmla="*/ 561900 h 6732824"/>
                <a:gd name="connsiteX9" fmla="*/ 4172442 w 6819667"/>
                <a:gd name="connsiteY9" fmla="*/ 45438 h 6732824"/>
                <a:gd name="connsiteX10" fmla="*/ 6060054 w 6819667"/>
                <a:gd name="connsiteY10" fmla="*/ 1188401 h 6732824"/>
                <a:gd name="connsiteX11" fmla="*/ 5963574 w 6819667"/>
                <a:gd name="connsiteY11" fmla="*/ 2210181 h 6732824"/>
                <a:gd name="connsiteX12" fmla="*/ 5908631 w 6819667"/>
                <a:gd name="connsiteY12" fmla="*/ 2798068 h 6732824"/>
                <a:gd name="connsiteX13" fmla="*/ 6227299 w 6819667"/>
                <a:gd name="connsiteY13" fmla="*/ 3303541 h 6732824"/>
                <a:gd name="connsiteX14" fmla="*/ 6776726 w 6819667"/>
                <a:gd name="connsiteY14" fmla="*/ 4155153 h 6732824"/>
                <a:gd name="connsiteX15" fmla="*/ 5616116 w 6819667"/>
                <a:gd name="connsiteY15" fmla="*/ 6041117 h 6732824"/>
                <a:gd name="connsiteX16" fmla="*/ 4611984 w 6819667"/>
                <a:gd name="connsiteY16" fmla="*/ 5946285 h 6732824"/>
                <a:gd name="connsiteX17" fmla="*/ 4024096 w 6819667"/>
                <a:gd name="connsiteY17" fmla="*/ 5891343 h 6732824"/>
                <a:gd name="connsiteX18" fmla="*/ 3518623 w 6819667"/>
                <a:gd name="connsiteY18" fmla="*/ 6210011 h 6732824"/>
                <a:gd name="connsiteX19" fmla="*/ 3518623 w 6819667"/>
                <a:gd name="connsiteY19" fmla="*/ 6210011 h 6732824"/>
                <a:gd name="connsiteX20" fmla="*/ 2678000 w 6819667"/>
                <a:gd name="connsiteY20" fmla="*/ 6731966 h 6732824"/>
                <a:gd name="connsiteX21" fmla="*/ 758207 w 6819667"/>
                <a:gd name="connsiteY21" fmla="*/ 5574343 h 6732824"/>
                <a:gd name="connsiteX22" fmla="*/ 728594 w 6819667"/>
                <a:gd name="connsiteY22" fmla="*/ 5424677 h 6732824"/>
                <a:gd name="connsiteX0" fmla="*/ 760499 w 6819667"/>
                <a:gd name="connsiteY0" fmla="*/ 5567181 h 6746252"/>
                <a:gd name="connsiteX1" fmla="*/ 848408 w 6819667"/>
                <a:gd name="connsiteY1" fmla="*/ 4567224 h 6746252"/>
                <a:gd name="connsiteX2" fmla="*/ 908845 w 6819667"/>
                <a:gd name="connsiteY2" fmla="*/ 3979336 h 6746252"/>
                <a:gd name="connsiteX3" fmla="*/ 584683 w 6819667"/>
                <a:gd name="connsiteY3" fmla="*/ 3473864 h 6746252"/>
                <a:gd name="connsiteX4" fmla="*/ 348495 w 6819667"/>
                <a:gd name="connsiteY4" fmla="*/ 1264211 h 6746252"/>
                <a:gd name="connsiteX5" fmla="*/ 2232964 w 6819667"/>
                <a:gd name="connsiteY5" fmla="*/ 825625 h 6746252"/>
                <a:gd name="connsiteX6" fmla="*/ 2820851 w 6819667"/>
                <a:gd name="connsiteY6" fmla="*/ 880568 h 6746252"/>
                <a:gd name="connsiteX7" fmla="*/ 3326324 w 6819667"/>
                <a:gd name="connsiteY7" fmla="*/ 561900 h 6746252"/>
                <a:gd name="connsiteX8" fmla="*/ 3326324 w 6819667"/>
                <a:gd name="connsiteY8" fmla="*/ 561900 h 6746252"/>
                <a:gd name="connsiteX9" fmla="*/ 4172442 w 6819667"/>
                <a:gd name="connsiteY9" fmla="*/ 45438 h 6746252"/>
                <a:gd name="connsiteX10" fmla="*/ 6060054 w 6819667"/>
                <a:gd name="connsiteY10" fmla="*/ 1188401 h 6746252"/>
                <a:gd name="connsiteX11" fmla="*/ 5963574 w 6819667"/>
                <a:gd name="connsiteY11" fmla="*/ 2210181 h 6746252"/>
                <a:gd name="connsiteX12" fmla="*/ 5908631 w 6819667"/>
                <a:gd name="connsiteY12" fmla="*/ 2798068 h 6746252"/>
                <a:gd name="connsiteX13" fmla="*/ 6227299 w 6819667"/>
                <a:gd name="connsiteY13" fmla="*/ 3303541 h 6746252"/>
                <a:gd name="connsiteX14" fmla="*/ 6776726 w 6819667"/>
                <a:gd name="connsiteY14" fmla="*/ 4155153 h 6746252"/>
                <a:gd name="connsiteX15" fmla="*/ 5616116 w 6819667"/>
                <a:gd name="connsiteY15" fmla="*/ 6041117 h 6746252"/>
                <a:gd name="connsiteX16" fmla="*/ 4611984 w 6819667"/>
                <a:gd name="connsiteY16" fmla="*/ 5946285 h 6746252"/>
                <a:gd name="connsiteX17" fmla="*/ 4024096 w 6819667"/>
                <a:gd name="connsiteY17" fmla="*/ 5891343 h 6746252"/>
                <a:gd name="connsiteX18" fmla="*/ 3518623 w 6819667"/>
                <a:gd name="connsiteY18" fmla="*/ 6210011 h 6746252"/>
                <a:gd name="connsiteX19" fmla="*/ 3518623 w 6819667"/>
                <a:gd name="connsiteY19" fmla="*/ 6210011 h 6746252"/>
                <a:gd name="connsiteX20" fmla="*/ 2678000 w 6819667"/>
                <a:gd name="connsiteY20" fmla="*/ 6731966 h 6746252"/>
                <a:gd name="connsiteX21" fmla="*/ 758207 w 6819667"/>
                <a:gd name="connsiteY21" fmla="*/ 5574343 h 6746252"/>
                <a:gd name="connsiteX22" fmla="*/ 728594 w 6819667"/>
                <a:gd name="connsiteY22" fmla="*/ 5424677 h 6746252"/>
                <a:gd name="connsiteX0" fmla="*/ 760499 w 6819667"/>
                <a:gd name="connsiteY0" fmla="*/ 5567181 h 6806035"/>
                <a:gd name="connsiteX1" fmla="*/ 848408 w 6819667"/>
                <a:gd name="connsiteY1" fmla="*/ 4567224 h 6806035"/>
                <a:gd name="connsiteX2" fmla="*/ 908845 w 6819667"/>
                <a:gd name="connsiteY2" fmla="*/ 3979336 h 6806035"/>
                <a:gd name="connsiteX3" fmla="*/ 584683 w 6819667"/>
                <a:gd name="connsiteY3" fmla="*/ 3473864 h 6806035"/>
                <a:gd name="connsiteX4" fmla="*/ 348495 w 6819667"/>
                <a:gd name="connsiteY4" fmla="*/ 1264211 h 6806035"/>
                <a:gd name="connsiteX5" fmla="*/ 2232964 w 6819667"/>
                <a:gd name="connsiteY5" fmla="*/ 825625 h 6806035"/>
                <a:gd name="connsiteX6" fmla="*/ 2820851 w 6819667"/>
                <a:gd name="connsiteY6" fmla="*/ 880568 h 6806035"/>
                <a:gd name="connsiteX7" fmla="*/ 3326324 w 6819667"/>
                <a:gd name="connsiteY7" fmla="*/ 561900 h 6806035"/>
                <a:gd name="connsiteX8" fmla="*/ 3326324 w 6819667"/>
                <a:gd name="connsiteY8" fmla="*/ 561900 h 6806035"/>
                <a:gd name="connsiteX9" fmla="*/ 4172442 w 6819667"/>
                <a:gd name="connsiteY9" fmla="*/ 45438 h 6806035"/>
                <a:gd name="connsiteX10" fmla="*/ 6060054 w 6819667"/>
                <a:gd name="connsiteY10" fmla="*/ 1188401 h 6806035"/>
                <a:gd name="connsiteX11" fmla="*/ 5963574 w 6819667"/>
                <a:gd name="connsiteY11" fmla="*/ 2210181 h 6806035"/>
                <a:gd name="connsiteX12" fmla="*/ 5908631 w 6819667"/>
                <a:gd name="connsiteY12" fmla="*/ 2798068 h 6806035"/>
                <a:gd name="connsiteX13" fmla="*/ 6227299 w 6819667"/>
                <a:gd name="connsiteY13" fmla="*/ 3303541 h 6806035"/>
                <a:gd name="connsiteX14" fmla="*/ 6776726 w 6819667"/>
                <a:gd name="connsiteY14" fmla="*/ 4155153 h 6806035"/>
                <a:gd name="connsiteX15" fmla="*/ 5616116 w 6819667"/>
                <a:gd name="connsiteY15" fmla="*/ 6041117 h 6806035"/>
                <a:gd name="connsiteX16" fmla="*/ 4611984 w 6819667"/>
                <a:gd name="connsiteY16" fmla="*/ 5946285 h 6806035"/>
                <a:gd name="connsiteX17" fmla="*/ 4024096 w 6819667"/>
                <a:gd name="connsiteY17" fmla="*/ 5891343 h 6806035"/>
                <a:gd name="connsiteX18" fmla="*/ 3518623 w 6819667"/>
                <a:gd name="connsiteY18" fmla="*/ 6210011 h 6806035"/>
                <a:gd name="connsiteX19" fmla="*/ 3518623 w 6819667"/>
                <a:gd name="connsiteY19" fmla="*/ 6210011 h 6806035"/>
                <a:gd name="connsiteX20" fmla="*/ 2602844 w 6819667"/>
                <a:gd name="connsiteY20" fmla="*/ 6794596 h 6806035"/>
                <a:gd name="connsiteX21" fmla="*/ 758207 w 6819667"/>
                <a:gd name="connsiteY21" fmla="*/ 5574343 h 6806035"/>
                <a:gd name="connsiteX22" fmla="*/ 728594 w 6819667"/>
                <a:gd name="connsiteY22" fmla="*/ 5424677 h 6806035"/>
                <a:gd name="connsiteX0" fmla="*/ 760499 w 6819667"/>
                <a:gd name="connsiteY0" fmla="*/ 5567181 h 6842324"/>
                <a:gd name="connsiteX1" fmla="*/ 848408 w 6819667"/>
                <a:gd name="connsiteY1" fmla="*/ 4567224 h 6842324"/>
                <a:gd name="connsiteX2" fmla="*/ 908845 w 6819667"/>
                <a:gd name="connsiteY2" fmla="*/ 3979336 h 6842324"/>
                <a:gd name="connsiteX3" fmla="*/ 584683 w 6819667"/>
                <a:gd name="connsiteY3" fmla="*/ 3473864 h 6842324"/>
                <a:gd name="connsiteX4" fmla="*/ 348495 w 6819667"/>
                <a:gd name="connsiteY4" fmla="*/ 1264211 h 6842324"/>
                <a:gd name="connsiteX5" fmla="*/ 2232964 w 6819667"/>
                <a:gd name="connsiteY5" fmla="*/ 825625 h 6842324"/>
                <a:gd name="connsiteX6" fmla="*/ 2820851 w 6819667"/>
                <a:gd name="connsiteY6" fmla="*/ 880568 h 6842324"/>
                <a:gd name="connsiteX7" fmla="*/ 3326324 w 6819667"/>
                <a:gd name="connsiteY7" fmla="*/ 561900 h 6842324"/>
                <a:gd name="connsiteX8" fmla="*/ 3326324 w 6819667"/>
                <a:gd name="connsiteY8" fmla="*/ 561900 h 6842324"/>
                <a:gd name="connsiteX9" fmla="*/ 4172442 w 6819667"/>
                <a:gd name="connsiteY9" fmla="*/ 45438 h 6842324"/>
                <a:gd name="connsiteX10" fmla="*/ 6060054 w 6819667"/>
                <a:gd name="connsiteY10" fmla="*/ 1188401 h 6842324"/>
                <a:gd name="connsiteX11" fmla="*/ 5963574 w 6819667"/>
                <a:gd name="connsiteY11" fmla="*/ 2210181 h 6842324"/>
                <a:gd name="connsiteX12" fmla="*/ 5908631 w 6819667"/>
                <a:gd name="connsiteY12" fmla="*/ 2798068 h 6842324"/>
                <a:gd name="connsiteX13" fmla="*/ 6227299 w 6819667"/>
                <a:gd name="connsiteY13" fmla="*/ 3303541 h 6842324"/>
                <a:gd name="connsiteX14" fmla="*/ 6776726 w 6819667"/>
                <a:gd name="connsiteY14" fmla="*/ 4155153 h 6842324"/>
                <a:gd name="connsiteX15" fmla="*/ 5616116 w 6819667"/>
                <a:gd name="connsiteY15" fmla="*/ 6041117 h 6842324"/>
                <a:gd name="connsiteX16" fmla="*/ 4611984 w 6819667"/>
                <a:gd name="connsiteY16" fmla="*/ 5946285 h 6842324"/>
                <a:gd name="connsiteX17" fmla="*/ 4024096 w 6819667"/>
                <a:gd name="connsiteY17" fmla="*/ 5891343 h 6842324"/>
                <a:gd name="connsiteX18" fmla="*/ 3518623 w 6819667"/>
                <a:gd name="connsiteY18" fmla="*/ 6210011 h 6842324"/>
                <a:gd name="connsiteX19" fmla="*/ 3518623 w 6819667"/>
                <a:gd name="connsiteY19" fmla="*/ 6210011 h 6842324"/>
                <a:gd name="connsiteX20" fmla="*/ 2540214 w 6819667"/>
                <a:gd name="connsiteY20" fmla="*/ 6832174 h 6842324"/>
                <a:gd name="connsiteX21" fmla="*/ 758207 w 6819667"/>
                <a:gd name="connsiteY21" fmla="*/ 5574343 h 6842324"/>
                <a:gd name="connsiteX22" fmla="*/ 728594 w 6819667"/>
                <a:gd name="connsiteY22" fmla="*/ 5424677 h 6842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819667" h="6842324">
                  <a:moveTo>
                    <a:pt x="760499" y="5567181"/>
                  </a:moveTo>
                  <a:cubicBezTo>
                    <a:pt x="682085" y="5233019"/>
                    <a:pt x="712897" y="4882556"/>
                    <a:pt x="848408" y="4567224"/>
                  </a:cubicBezTo>
                  <a:cubicBezTo>
                    <a:pt x="933657" y="4383511"/>
                    <a:pt x="954931" y="4176548"/>
                    <a:pt x="908845" y="3979336"/>
                  </a:cubicBezTo>
                  <a:cubicBezTo>
                    <a:pt x="862182" y="3778559"/>
                    <a:pt x="747687" y="3600029"/>
                    <a:pt x="584683" y="3473864"/>
                  </a:cubicBezTo>
                  <a:cubicBezTo>
                    <a:pt x="-90718" y="2928909"/>
                    <a:pt x="-196463" y="1939610"/>
                    <a:pt x="348495" y="1264211"/>
                  </a:cubicBezTo>
                  <a:cubicBezTo>
                    <a:pt x="801503" y="702767"/>
                    <a:pt x="1578602" y="521907"/>
                    <a:pt x="2232964" y="825625"/>
                  </a:cubicBezTo>
                  <a:cubicBezTo>
                    <a:pt x="2417192" y="909446"/>
                    <a:pt x="2624277" y="928802"/>
                    <a:pt x="2820851" y="880568"/>
                  </a:cubicBezTo>
                  <a:cubicBezTo>
                    <a:pt x="3021562" y="837064"/>
                    <a:pt x="3200527" y="724234"/>
                    <a:pt x="3326324" y="561900"/>
                  </a:cubicBezTo>
                  <a:lnTo>
                    <a:pt x="3326324" y="561900"/>
                  </a:lnTo>
                  <a:cubicBezTo>
                    <a:pt x="3543655" y="301103"/>
                    <a:pt x="3841143" y="119520"/>
                    <a:pt x="4172442" y="45438"/>
                  </a:cubicBezTo>
                  <a:cubicBezTo>
                    <a:pt x="5009318" y="-160196"/>
                    <a:pt x="5854458" y="351524"/>
                    <a:pt x="6060054" y="1188401"/>
                  </a:cubicBezTo>
                  <a:cubicBezTo>
                    <a:pt x="6144061" y="1530133"/>
                    <a:pt x="6110051" y="1890211"/>
                    <a:pt x="5963574" y="2210181"/>
                  </a:cubicBezTo>
                  <a:cubicBezTo>
                    <a:pt x="5882534" y="2395146"/>
                    <a:pt x="5863303" y="2601291"/>
                    <a:pt x="5908631" y="2798068"/>
                  </a:cubicBezTo>
                  <a:cubicBezTo>
                    <a:pt x="5955058" y="2997565"/>
                    <a:pt x="6067306" y="3175613"/>
                    <a:pt x="6227299" y="3303541"/>
                  </a:cubicBezTo>
                  <a:cubicBezTo>
                    <a:pt x="6501683" y="3516911"/>
                    <a:pt x="6695411" y="3817201"/>
                    <a:pt x="6776726" y="4155153"/>
                  </a:cubicBezTo>
                  <a:cubicBezTo>
                    <a:pt x="6977047" y="4996442"/>
                    <a:pt x="6457399" y="5840796"/>
                    <a:pt x="5616116" y="6041117"/>
                  </a:cubicBezTo>
                  <a:cubicBezTo>
                    <a:pt x="5280087" y="6121113"/>
                    <a:pt x="4927074" y="6087763"/>
                    <a:pt x="4611984" y="5946285"/>
                  </a:cubicBezTo>
                  <a:cubicBezTo>
                    <a:pt x="4427755" y="5862443"/>
                    <a:pt x="4220671" y="5843103"/>
                    <a:pt x="4024096" y="5891343"/>
                  </a:cubicBezTo>
                  <a:cubicBezTo>
                    <a:pt x="3822836" y="5933484"/>
                    <a:pt x="3643431" y="6046611"/>
                    <a:pt x="3518623" y="6210011"/>
                  </a:cubicBezTo>
                  <a:lnTo>
                    <a:pt x="3518623" y="6210011"/>
                  </a:lnTo>
                  <a:cubicBezTo>
                    <a:pt x="3302995" y="6471208"/>
                    <a:pt x="3038936" y="6771683"/>
                    <a:pt x="2540214" y="6832174"/>
                  </a:cubicBezTo>
                  <a:cubicBezTo>
                    <a:pt x="2031300" y="6893901"/>
                    <a:pt x="979851" y="6698113"/>
                    <a:pt x="758207" y="5574343"/>
                  </a:cubicBezTo>
                  <a:cubicBezTo>
                    <a:pt x="757586" y="5571705"/>
                    <a:pt x="729204" y="5427259"/>
                    <a:pt x="728594" y="5424677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/>
            </a:ln>
            <a:effectLst>
              <a:glow rad="130466">
                <a:schemeClr val="tx2">
                  <a:lumMod val="20000"/>
                  <a:lumOff val="80000"/>
                  <a:alpha val="14000"/>
                </a:schemeClr>
              </a:glow>
            </a:effectLst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Рисунок 6">
              <a:extLst>
                <a:ext uri="{FF2B5EF4-FFF2-40B4-BE49-F238E27FC236}">
                  <a16:creationId xmlns:a16="http://schemas.microsoft.com/office/drawing/2014/main" id="{37F2FE93-6789-5446-AE28-A1D98CC9E79A}"/>
                </a:ext>
              </a:extLst>
            </p:cNvPr>
            <p:cNvSpPr/>
            <p:nvPr/>
          </p:nvSpPr>
          <p:spPr>
            <a:xfrm rot="21073018">
              <a:off x="6773743" y="780203"/>
              <a:ext cx="6819667" cy="6842324"/>
            </a:xfrm>
            <a:custGeom>
              <a:avLst/>
              <a:gdLst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87971 w 6819667"/>
                <a:gd name="connsiteY22" fmla="*/ 5567181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52345 w 6819667"/>
                <a:gd name="connsiteY22" fmla="*/ 5567181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64220 w 6819667"/>
                <a:gd name="connsiteY22" fmla="*/ 5567181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64220 w 6819667"/>
                <a:gd name="connsiteY22" fmla="*/ 5519680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687031 w 6819667"/>
                <a:gd name="connsiteY22" fmla="*/ 5478116 h 6775603"/>
                <a:gd name="connsiteX0" fmla="*/ 760499 w 6819667"/>
                <a:gd name="connsiteY0" fmla="*/ 5567181 h 6775603"/>
                <a:gd name="connsiteX1" fmla="*/ 848408 w 6819667"/>
                <a:gd name="connsiteY1" fmla="*/ 4567224 h 6775603"/>
                <a:gd name="connsiteX2" fmla="*/ 908845 w 6819667"/>
                <a:gd name="connsiteY2" fmla="*/ 3979336 h 6775603"/>
                <a:gd name="connsiteX3" fmla="*/ 584683 w 6819667"/>
                <a:gd name="connsiteY3" fmla="*/ 3473864 h 6775603"/>
                <a:gd name="connsiteX4" fmla="*/ 348495 w 6819667"/>
                <a:gd name="connsiteY4" fmla="*/ 1264211 h 6775603"/>
                <a:gd name="connsiteX5" fmla="*/ 2232964 w 6819667"/>
                <a:gd name="connsiteY5" fmla="*/ 825625 h 6775603"/>
                <a:gd name="connsiteX6" fmla="*/ 2820851 w 6819667"/>
                <a:gd name="connsiteY6" fmla="*/ 880568 h 6775603"/>
                <a:gd name="connsiteX7" fmla="*/ 3326324 w 6819667"/>
                <a:gd name="connsiteY7" fmla="*/ 561900 h 6775603"/>
                <a:gd name="connsiteX8" fmla="*/ 3326324 w 6819667"/>
                <a:gd name="connsiteY8" fmla="*/ 561900 h 6775603"/>
                <a:gd name="connsiteX9" fmla="*/ 4172442 w 6819667"/>
                <a:gd name="connsiteY9" fmla="*/ 45438 h 6775603"/>
                <a:gd name="connsiteX10" fmla="*/ 6060054 w 6819667"/>
                <a:gd name="connsiteY10" fmla="*/ 1188401 h 6775603"/>
                <a:gd name="connsiteX11" fmla="*/ 5963574 w 6819667"/>
                <a:gd name="connsiteY11" fmla="*/ 2210181 h 6775603"/>
                <a:gd name="connsiteX12" fmla="*/ 5908631 w 6819667"/>
                <a:gd name="connsiteY12" fmla="*/ 2798068 h 6775603"/>
                <a:gd name="connsiteX13" fmla="*/ 6227299 w 6819667"/>
                <a:gd name="connsiteY13" fmla="*/ 3303541 h 6775603"/>
                <a:gd name="connsiteX14" fmla="*/ 6776726 w 6819667"/>
                <a:gd name="connsiteY14" fmla="*/ 4155153 h 6775603"/>
                <a:gd name="connsiteX15" fmla="*/ 5616116 w 6819667"/>
                <a:gd name="connsiteY15" fmla="*/ 6041117 h 6775603"/>
                <a:gd name="connsiteX16" fmla="*/ 4611984 w 6819667"/>
                <a:gd name="connsiteY16" fmla="*/ 5946285 h 6775603"/>
                <a:gd name="connsiteX17" fmla="*/ 4024096 w 6819667"/>
                <a:gd name="connsiteY17" fmla="*/ 5891343 h 6775603"/>
                <a:gd name="connsiteX18" fmla="*/ 3518623 w 6819667"/>
                <a:gd name="connsiteY18" fmla="*/ 6210011 h 6775603"/>
                <a:gd name="connsiteX19" fmla="*/ 3518623 w 6819667"/>
                <a:gd name="connsiteY19" fmla="*/ 6210011 h 6775603"/>
                <a:gd name="connsiteX20" fmla="*/ 2678000 w 6819667"/>
                <a:gd name="connsiteY20" fmla="*/ 6731966 h 6775603"/>
                <a:gd name="connsiteX21" fmla="*/ 789817 w 6819667"/>
                <a:gd name="connsiteY21" fmla="*/ 5574983 h 6775603"/>
                <a:gd name="connsiteX22" fmla="*/ 728594 w 6819667"/>
                <a:gd name="connsiteY22" fmla="*/ 5424677 h 6775603"/>
                <a:gd name="connsiteX0" fmla="*/ 760499 w 6819667"/>
                <a:gd name="connsiteY0" fmla="*/ 5567181 h 6750381"/>
                <a:gd name="connsiteX1" fmla="*/ 848408 w 6819667"/>
                <a:gd name="connsiteY1" fmla="*/ 4567224 h 6750381"/>
                <a:gd name="connsiteX2" fmla="*/ 908845 w 6819667"/>
                <a:gd name="connsiteY2" fmla="*/ 3979336 h 6750381"/>
                <a:gd name="connsiteX3" fmla="*/ 584683 w 6819667"/>
                <a:gd name="connsiteY3" fmla="*/ 3473864 h 6750381"/>
                <a:gd name="connsiteX4" fmla="*/ 348495 w 6819667"/>
                <a:gd name="connsiteY4" fmla="*/ 1264211 h 6750381"/>
                <a:gd name="connsiteX5" fmla="*/ 2232964 w 6819667"/>
                <a:gd name="connsiteY5" fmla="*/ 825625 h 6750381"/>
                <a:gd name="connsiteX6" fmla="*/ 2820851 w 6819667"/>
                <a:gd name="connsiteY6" fmla="*/ 880568 h 6750381"/>
                <a:gd name="connsiteX7" fmla="*/ 3326324 w 6819667"/>
                <a:gd name="connsiteY7" fmla="*/ 561900 h 6750381"/>
                <a:gd name="connsiteX8" fmla="*/ 3326324 w 6819667"/>
                <a:gd name="connsiteY8" fmla="*/ 561900 h 6750381"/>
                <a:gd name="connsiteX9" fmla="*/ 4172442 w 6819667"/>
                <a:gd name="connsiteY9" fmla="*/ 45438 h 6750381"/>
                <a:gd name="connsiteX10" fmla="*/ 6060054 w 6819667"/>
                <a:gd name="connsiteY10" fmla="*/ 1188401 h 6750381"/>
                <a:gd name="connsiteX11" fmla="*/ 5963574 w 6819667"/>
                <a:gd name="connsiteY11" fmla="*/ 2210181 h 6750381"/>
                <a:gd name="connsiteX12" fmla="*/ 5908631 w 6819667"/>
                <a:gd name="connsiteY12" fmla="*/ 2798068 h 6750381"/>
                <a:gd name="connsiteX13" fmla="*/ 6227299 w 6819667"/>
                <a:gd name="connsiteY13" fmla="*/ 3303541 h 6750381"/>
                <a:gd name="connsiteX14" fmla="*/ 6776726 w 6819667"/>
                <a:gd name="connsiteY14" fmla="*/ 4155153 h 6750381"/>
                <a:gd name="connsiteX15" fmla="*/ 5616116 w 6819667"/>
                <a:gd name="connsiteY15" fmla="*/ 6041117 h 6750381"/>
                <a:gd name="connsiteX16" fmla="*/ 4611984 w 6819667"/>
                <a:gd name="connsiteY16" fmla="*/ 5946285 h 6750381"/>
                <a:gd name="connsiteX17" fmla="*/ 4024096 w 6819667"/>
                <a:gd name="connsiteY17" fmla="*/ 5891343 h 6750381"/>
                <a:gd name="connsiteX18" fmla="*/ 3518623 w 6819667"/>
                <a:gd name="connsiteY18" fmla="*/ 6210011 h 6750381"/>
                <a:gd name="connsiteX19" fmla="*/ 3518623 w 6819667"/>
                <a:gd name="connsiteY19" fmla="*/ 6210011 h 6750381"/>
                <a:gd name="connsiteX20" fmla="*/ 2678000 w 6819667"/>
                <a:gd name="connsiteY20" fmla="*/ 6731966 h 6750381"/>
                <a:gd name="connsiteX21" fmla="*/ 777942 w 6819667"/>
                <a:gd name="connsiteY21" fmla="*/ 5580921 h 6750381"/>
                <a:gd name="connsiteX22" fmla="*/ 728594 w 6819667"/>
                <a:gd name="connsiteY22" fmla="*/ 5424677 h 6750381"/>
                <a:gd name="connsiteX0" fmla="*/ 760499 w 6819667"/>
                <a:gd name="connsiteY0" fmla="*/ 5567181 h 6732806"/>
                <a:gd name="connsiteX1" fmla="*/ 848408 w 6819667"/>
                <a:gd name="connsiteY1" fmla="*/ 4567224 h 6732806"/>
                <a:gd name="connsiteX2" fmla="*/ 908845 w 6819667"/>
                <a:gd name="connsiteY2" fmla="*/ 3979336 h 6732806"/>
                <a:gd name="connsiteX3" fmla="*/ 584683 w 6819667"/>
                <a:gd name="connsiteY3" fmla="*/ 3473864 h 6732806"/>
                <a:gd name="connsiteX4" fmla="*/ 348495 w 6819667"/>
                <a:gd name="connsiteY4" fmla="*/ 1264211 h 6732806"/>
                <a:gd name="connsiteX5" fmla="*/ 2232964 w 6819667"/>
                <a:gd name="connsiteY5" fmla="*/ 825625 h 6732806"/>
                <a:gd name="connsiteX6" fmla="*/ 2820851 w 6819667"/>
                <a:gd name="connsiteY6" fmla="*/ 880568 h 6732806"/>
                <a:gd name="connsiteX7" fmla="*/ 3326324 w 6819667"/>
                <a:gd name="connsiteY7" fmla="*/ 561900 h 6732806"/>
                <a:gd name="connsiteX8" fmla="*/ 3326324 w 6819667"/>
                <a:gd name="connsiteY8" fmla="*/ 561900 h 6732806"/>
                <a:gd name="connsiteX9" fmla="*/ 4172442 w 6819667"/>
                <a:gd name="connsiteY9" fmla="*/ 45438 h 6732806"/>
                <a:gd name="connsiteX10" fmla="*/ 6060054 w 6819667"/>
                <a:gd name="connsiteY10" fmla="*/ 1188401 h 6732806"/>
                <a:gd name="connsiteX11" fmla="*/ 5963574 w 6819667"/>
                <a:gd name="connsiteY11" fmla="*/ 2210181 h 6732806"/>
                <a:gd name="connsiteX12" fmla="*/ 5908631 w 6819667"/>
                <a:gd name="connsiteY12" fmla="*/ 2798068 h 6732806"/>
                <a:gd name="connsiteX13" fmla="*/ 6227299 w 6819667"/>
                <a:gd name="connsiteY13" fmla="*/ 3303541 h 6732806"/>
                <a:gd name="connsiteX14" fmla="*/ 6776726 w 6819667"/>
                <a:gd name="connsiteY14" fmla="*/ 4155153 h 6732806"/>
                <a:gd name="connsiteX15" fmla="*/ 5616116 w 6819667"/>
                <a:gd name="connsiteY15" fmla="*/ 6041117 h 6732806"/>
                <a:gd name="connsiteX16" fmla="*/ 4611984 w 6819667"/>
                <a:gd name="connsiteY16" fmla="*/ 5946285 h 6732806"/>
                <a:gd name="connsiteX17" fmla="*/ 4024096 w 6819667"/>
                <a:gd name="connsiteY17" fmla="*/ 5891343 h 6732806"/>
                <a:gd name="connsiteX18" fmla="*/ 3518623 w 6819667"/>
                <a:gd name="connsiteY18" fmla="*/ 6210011 h 6732806"/>
                <a:gd name="connsiteX19" fmla="*/ 3518623 w 6819667"/>
                <a:gd name="connsiteY19" fmla="*/ 6210011 h 6732806"/>
                <a:gd name="connsiteX20" fmla="*/ 2678000 w 6819667"/>
                <a:gd name="connsiteY20" fmla="*/ 6731966 h 6732806"/>
                <a:gd name="connsiteX21" fmla="*/ 777942 w 6819667"/>
                <a:gd name="connsiteY21" fmla="*/ 5580921 h 6732806"/>
                <a:gd name="connsiteX22" fmla="*/ 728594 w 6819667"/>
                <a:gd name="connsiteY22" fmla="*/ 5424677 h 6732806"/>
                <a:gd name="connsiteX0" fmla="*/ 760499 w 6819667"/>
                <a:gd name="connsiteY0" fmla="*/ 5567181 h 6732243"/>
                <a:gd name="connsiteX1" fmla="*/ 848408 w 6819667"/>
                <a:gd name="connsiteY1" fmla="*/ 4567224 h 6732243"/>
                <a:gd name="connsiteX2" fmla="*/ 908845 w 6819667"/>
                <a:gd name="connsiteY2" fmla="*/ 3979336 h 6732243"/>
                <a:gd name="connsiteX3" fmla="*/ 584683 w 6819667"/>
                <a:gd name="connsiteY3" fmla="*/ 3473864 h 6732243"/>
                <a:gd name="connsiteX4" fmla="*/ 348495 w 6819667"/>
                <a:gd name="connsiteY4" fmla="*/ 1264211 h 6732243"/>
                <a:gd name="connsiteX5" fmla="*/ 2232964 w 6819667"/>
                <a:gd name="connsiteY5" fmla="*/ 825625 h 6732243"/>
                <a:gd name="connsiteX6" fmla="*/ 2820851 w 6819667"/>
                <a:gd name="connsiteY6" fmla="*/ 880568 h 6732243"/>
                <a:gd name="connsiteX7" fmla="*/ 3326324 w 6819667"/>
                <a:gd name="connsiteY7" fmla="*/ 561900 h 6732243"/>
                <a:gd name="connsiteX8" fmla="*/ 3326324 w 6819667"/>
                <a:gd name="connsiteY8" fmla="*/ 561900 h 6732243"/>
                <a:gd name="connsiteX9" fmla="*/ 4172442 w 6819667"/>
                <a:gd name="connsiteY9" fmla="*/ 45438 h 6732243"/>
                <a:gd name="connsiteX10" fmla="*/ 6060054 w 6819667"/>
                <a:gd name="connsiteY10" fmla="*/ 1188401 h 6732243"/>
                <a:gd name="connsiteX11" fmla="*/ 5963574 w 6819667"/>
                <a:gd name="connsiteY11" fmla="*/ 2210181 h 6732243"/>
                <a:gd name="connsiteX12" fmla="*/ 5908631 w 6819667"/>
                <a:gd name="connsiteY12" fmla="*/ 2798068 h 6732243"/>
                <a:gd name="connsiteX13" fmla="*/ 6227299 w 6819667"/>
                <a:gd name="connsiteY13" fmla="*/ 3303541 h 6732243"/>
                <a:gd name="connsiteX14" fmla="*/ 6776726 w 6819667"/>
                <a:gd name="connsiteY14" fmla="*/ 4155153 h 6732243"/>
                <a:gd name="connsiteX15" fmla="*/ 5616116 w 6819667"/>
                <a:gd name="connsiteY15" fmla="*/ 6041117 h 6732243"/>
                <a:gd name="connsiteX16" fmla="*/ 4611984 w 6819667"/>
                <a:gd name="connsiteY16" fmla="*/ 5946285 h 6732243"/>
                <a:gd name="connsiteX17" fmla="*/ 4024096 w 6819667"/>
                <a:gd name="connsiteY17" fmla="*/ 5891343 h 6732243"/>
                <a:gd name="connsiteX18" fmla="*/ 3518623 w 6819667"/>
                <a:gd name="connsiteY18" fmla="*/ 6210011 h 6732243"/>
                <a:gd name="connsiteX19" fmla="*/ 3518623 w 6819667"/>
                <a:gd name="connsiteY19" fmla="*/ 6210011 h 6732243"/>
                <a:gd name="connsiteX20" fmla="*/ 2678000 w 6819667"/>
                <a:gd name="connsiteY20" fmla="*/ 6731966 h 6732243"/>
                <a:gd name="connsiteX21" fmla="*/ 777942 w 6819667"/>
                <a:gd name="connsiteY21" fmla="*/ 5580921 h 6732243"/>
                <a:gd name="connsiteX22" fmla="*/ 728594 w 6819667"/>
                <a:gd name="connsiteY22" fmla="*/ 5424677 h 6732243"/>
                <a:gd name="connsiteX0" fmla="*/ 760499 w 6819667"/>
                <a:gd name="connsiteY0" fmla="*/ 5567181 h 6750688"/>
                <a:gd name="connsiteX1" fmla="*/ 848408 w 6819667"/>
                <a:gd name="connsiteY1" fmla="*/ 4567224 h 6750688"/>
                <a:gd name="connsiteX2" fmla="*/ 908845 w 6819667"/>
                <a:gd name="connsiteY2" fmla="*/ 3979336 h 6750688"/>
                <a:gd name="connsiteX3" fmla="*/ 584683 w 6819667"/>
                <a:gd name="connsiteY3" fmla="*/ 3473864 h 6750688"/>
                <a:gd name="connsiteX4" fmla="*/ 348495 w 6819667"/>
                <a:gd name="connsiteY4" fmla="*/ 1264211 h 6750688"/>
                <a:gd name="connsiteX5" fmla="*/ 2232964 w 6819667"/>
                <a:gd name="connsiteY5" fmla="*/ 825625 h 6750688"/>
                <a:gd name="connsiteX6" fmla="*/ 2820851 w 6819667"/>
                <a:gd name="connsiteY6" fmla="*/ 880568 h 6750688"/>
                <a:gd name="connsiteX7" fmla="*/ 3326324 w 6819667"/>
                <a:gd name="connsiteY7" fmla="*/ 561900 h 6750688"/>
                <a:gd name="connsiteX8" fmla="*/ 3326324 w 6819667"/>
                <a:gd name="connsiteY8" fmla="*/ 561900 h 6750688"/>
                <a:gd name="connsiteX9" fmla="*/ 4172442 w 6819667"/>
                <a:gd name="connsiteY9" fmla="*/ 45438 h 6750688"/>
                <a:gd name="connsiteX10" fmla="*/ 6060054 w 6819667"/>
                <a:gd name="connsiteY10" fmla="*/ 1188401 h 6750688"/>
                <a:gd name="connsiteX11" fmla="*/ 5963574 w 6819667"/>
                <a:gd name="connsiteY11" fmla="*/ 2210181 h 6750688"/>
                <a:gd name="connsiteX12" fmla="*/ 5908631 w 6819667"/>
                <a:gd name="connsiteY12" fmla="*/ 2798068 h 6750688"/>
                <a:gd name="connsiteX13" fmla="*/ 6227299 w 6819667"/>
                <a:gd name="connsiteY13" fmla="*/ 3303541 h 6750688"/>
                <a:gd name="connsiteX14" fmla="*/ 6776726 w 6819667"/>
                <a:gd name="connsiteY14" fmla="*/ 4155153 h 6750688"/>
                <a:gd name="connsiteX15" fmla="*/ 5616116 w 6819667"/>
                <a:gd name="connsiteY15" fmla="*/ 6041117 h 6750688"/>
                <a:gd name="connsiteX16" fmla="*/ 4611984 w 6819667"/>
                <a:gd name="connsiteY16" fmla="*/ 5946285 h 6750688"/>
                <a:gd name="connsiteX17" fmla="*/ 4024096 w 6819667"/>
                <a:gd name="connsiteY17" fmla="*/ 5891343 h 6750688"/>
                <a:gd name="connsiteX18" fmla="*/ 3518623 w 6819667"/>
                <a:gd name="connsiteY18" fmla="*/ 6210011 h 6750688"/>
                <a:gd name="connsiteX19" fmla="*/ 3518623 w 6819667"/>
                <a:gd name="connsiteY19" fmla="*/ 6210011 h 6750688"/>
                <a:gd name="connsiteX20" fmla="*/ 2678000 w 6819667"/>
                <a:gd name="connsiteY20" fmla="*/ 6731966 h 6750688"/>
                <a:gd name="connsiteX21" fmla="*/ 758207 w 6819667"/>
                <a:gd name="connsiteY21" fmla="*/ 5574343 h 6750688"/>
                <a:gd name="connsiteX22" fmla="*/ 728594 w 6819667"/>
                <a:gd name="connsiteY22" fmla="*/ 5424677 h 6750688"/>
                <a:gd name="connsiteX0" fmla="*/ 760499 w 6819667"/>
                <a:gd name="connsiteY0" fmla="*/ 5567181 h 6750688"/>
                <a:gd name="connsiteX1" fmla="*/ 848408 w 6819667"/>
                <a:gd name="connsiteY1" fmla="*/ 4567224 h 6750688"/>
                <a:gd name="connsiteX2" fmla="*/ 908845 w 6819667"/>
                <a:gd name="connsiteY2" fmla="*/ 3979336 h 6750688"/>
                <a:gd name="connsiteX3" fmla="*/ 584683 w 6819667"/>
                <a:gd name="connsiteY3" fmla="*/ 3473864 h 6750688"/>
                <a:gd name="connsiteX4" fmla="*/ 348495 w 6819667"/>
                <a:gd name="connsiteY4" fmla="*/ 1264211 h 6750688"/>
                <a:gd name="connsiteX5" fmla="*/ 2232964 w 6819667"/>
                <a:gd name="connsiteY5" fmla="*/ 825625 h 6750688"/>
                <a:gd name="connsiteX6" fmla="*/ 2820851 w 6819667"/>
                <a:gd name="connsiteY6" fmla="*/ 880568 h 6750688"/>
                <a:gd name="connsiteX7" fmla="*/ 3326324 w 6819667"/>
                <a:gd name="connsiteY7" fmla="*/ 561900 h 6750688"/>
                <a:gd name="connsiteX8" fmla="*/ 3326324 w 6819667"/>
                <a:gd name="connsiteY8" fmla="*/ 561900 h 6750688"/>
                <a:gd name="connsiteX9" fmla="*/ 4172442 w 6819667"/>
                <a:gd name="connsiteY9" fmla="*/ 45438 h 6750688"/>
                <a:gd name="connsiteX10" fmla="*/ 6060054 w 6819667"/>
                <a:gd name="connsiteY10" fmla="*/ 1188401 h 6750688"/>
                <a:gd name="connsiteX11" fmla="*/ 5963574 w 6819667"/>
                <a:gd name="connsiteY11" fmla="*/ 2210181 h 6750688"/>
                <a:gd name="connsiteX12" fmla="*/ 5908631 w 6819667"/>
                <a:gd name="connsiteY12" fmla="*/ 2798068 h 6750688"/>
                <a:gd name="connsiteX13" fmla="*/ 6227299 w 6819667"/>
                <a:gd name="connsiteY13" fmla="*/ 3303541 h 6750688"/>
                <a:gd name="connsiteX14" fmla="*/ 6776726 w 6819667"/>
                <a:gd name="connsiteY14" fmla="*/ 4155153 h 6750688"/>
                <a:gd name="connsiteX15" fmla="*/ 5616116 w 6819667"/>
                <a:gd name="connsiteY15" fmla="*/ 6041117 h 6750688"/>
                <a:gd name="connsiteX16" fmla="*/ 4611984 w 6819667"/>
                <a:gd name="connsiteY16" fmla="*/ 5946285 h 6750688"/>
                <a:gd name="connsiteX17" fmla="*/ 4024096 w 6819667"/>
                <a:gd name="connsiteY17" fmla="*/ 5891343 h 6750688"/>
                <a:gd name="connsiteX18" fmla="*/ 3518623 w 6819667"/>
                <a:gd name="connsiteY18" fmla="*/ 6210011 h 6750688"/>
                <a:gd name="connsiteX19" fmla="*/ 3518623 w 6819667"/>
                <a:gd name="connsiteY19" fmla="*/ 6210011 h 6750688"/>
                <a:gd name="connsiteX20" fmla="*/ 2678000 w 6819667"/>
                <a:gd name="connsiteY20" fmla="*/ 6731966 h 6750688"/>
                <a:gd name="connsiteX21" fmla="*/ 758207 w 6819667"/>
                <a:gd name="connsiteY21" fmla="*/ 5574343 h 6750688"/>
                <a:gd name="connsiteX22" fmla="*/ 728594 w 6819667"/>
                <a:gd name="connsiteY22" fmla="*/ 5424677 h 6750688"/>
                <a:gd name="connsiteX0" fmla="*/ 760499 w 6819667"/>
                <a:gd name="connsiteY0" fmla="*/ 5567181 h 6737940"/>
                <a:gd name="connsiteX1" fmla="*/ 848408 w 6819667"/>
                <a:gd name="connsiteY1" fmla="*/ 4567224 h 6737940"/>
                <a:gd name="connsiteX2" fmla="*/ 908845 w 6819667"/>
                <a:gd name="connsiteY2" fmla="*/ 3979336 h 6737940"/>
                <a:gd name="connsiteX3" fmla="*/ 584683 w 6819667"/>
                <a:gd name="connsiteY3" fmla="*/ 3473864 h 6737940"/>
                <a:gd name="connsiteX4" fmla="*/ 348495 w 6819667"/>
                <a:gd name="connsiteY4" fmla="*/ 1264211 h 6737940"/>
                <a:gd name="connsiteX5" fmla="*/ 2232964 w 6819667"/>
                <a:gd name="connsiteY5" fmla="*/ 825625 h 6737940"/>
                <a:gd name="connsiteX6" fmla="*/ 2820851 w 6819667"/>
                <a:gd name="connsiteY6" fmla="*/ 880568 h 6737940"/>
                <a:gd name="connsiteX7" fmla="*/ 3326324 w 6819667"/>
                <a:gd name="connsiteY7" fmla="*/ 561900 h 6737940"/>
                <a:gd name="connsiteX8" fmla="*/ 3326324 w 6819667"/>
                <a:gd name="connsiteY8" fmla="*/ 561900 h 6737940"/>
                <a:gd name="connsiteX9" fmla="*/ 4172442 w 6819667"/>
                <a:gd name="connsiteY9" fmla="*/ 45438 h 6737940"/>
                <a:gd name="connsiteX10" fmla="*/ 6060054 w 6819667"/>
                <a:gd name="connsiteY10" fmla="*/ 1188401 h 6737940"/>
                <a:gd name="connsiteX11" fmla="*/ 5963574 w 6819667"/>
                <a:gd name="connsiteY11" fmla="*/ 2210181 h 6737940"/>
                <a:gd name="connsiteX12" fmla="*/ 5908631 w 6819667"/>
                <a:gd name="connsiteY12" fmla="*/ 2798068 h 6737940"/>
                <a:gd name="connsiteX13" fmla="*/ 6227299 w 6819667"/>
                <a:gd name="connsiteY13" fmla="*/ 3303541 h 6737940"/>
                <a:gd name="connsiteX14" fmla="*/ 6776726 w 6819667"/>
                <a:gd name="connsiteY14" fmla="*/ 4155153 h 6737940"/>
                <a:gd name="connsiteX15" fmla="*/ 5616116 w 6819667"/>
                <a:gd name="connsiteY15" fmla="*/ 6041117 h 6737940"/>
                <a:gd name="connsiteX16" fmla="*/ 4611984 w 6819667"/>
                <a:gd name="connsiteY16" fmla="*/ 5946285 h 6737940"/>
                <a:gd name="connsiteX17" fmla="*/ 4024096 w 6819667"/>
                <a:gd name="connsiteY17" fmla="*/ 5891343 h 6737940"/>
                <a:gd name="connsiteX18" fmla="*/ 3518623 w 6819667"/>
                <a:gd name="connsiteY18" fmla="*/ 6210011 h 6737940"/>
                <a:gd name="connsiteX19" fmla="*/ 3518623 w 6819667"/>
                <a:gd name="connsiteY19" fmla="*/ 6210011 h 6737940"/>
                <a:gd name="connsiteX20" fmla="*/ 2678000 w 6819667"/>
                <a:gd name="connsiteY20" fmla="*/ 6731966 h 6737940"/>
                <a:gd name="connsiteX21" fmla="*/ 758207 w 6819667"/>
                <a:gd name="connsiteY21" fmla="*/ 5574343 h 6737940"/>
                <a:gd name="connsiteX22" fmla="*/ 728594 w 6819667"/>
                <a:gd name="connsiteY22" fmla="*/ 5424677 h 6737940"/>
                <a:gd name="connsiteX0" fmla="*/ 760499 w 6819667"/>
                <a:gd name="connsiteY0" fmla="*/ 5567181 h 6732824"/>
                <a:gd name="connsiteX1" fmla="*/ 848408 w 6819667"/>
                <a:gd name="connsiteY1" fmla="*/ 4567224 h 6732824"/>
                <a:gd name="connsiteX2" fmla="*/ 908845 w 6819667"/>
                <a:gd name="connsiteY2" fmla="*/ 3979336 h 6732824"/>
                <a:gd name="connsiteX3" fmla="*/ 584683 w 6819667"/>
                <a:gd name="connsiteY3" fmla="*/ 3473864 h 6732824"/>
                <a:gd name="connsiteX4" fmla="*/ 348495 w 6819667"/>
                <a:gd name="connsiteY4" fmla="*/ 1264211 h 6732824"/>
                <a:gd name="connsiteX5" fmla="*/ 2232964 w 6819667"/>
                <a:gd name="connsiteY5" fmla="*/ 825625 h 6732824"/>
                <a:gd name="connsiteX6" fmla="*/ 2820851 w 6819667"/>
                <a:gd name="connsiteY6" fmla="*/ 880568 h 6732824"/>
                <a:gd name="connsiteX7" fmla="*/ 3326324 w 6819667"/>
                <a:gd name="connsiteY7" fmla="*/ 561900 h 6732824"/>
                <a:gd name="connsiteX8" fmla="*/ 3326324 w 6819667"/>
                <a:gd name="connsiteY8" fmla="*/ 561900 h 6732824"/>
                <a:gd name="connsiteX9" fmla="*/ 4172442 w 6819667"/>
                <a:gd name="connsiteY9" fmla="*/ 45438 h 6732824"/>
                <a:gd name="connsiteX10" fmla="*/ 6060054 w 6819667"/>
                <a:gd name="connsiteY10" fmla="*/ 1188401 h 6732824"/>
                <a:gd name="connsiteX11" fmla="*/ 5963574 w 6819667"/>
                <a:gd name="connsiteY11" fmla="*/ 2210181 h 6732824"/>
                <a:gd name="connsiteX12" fmla="*/ 5908631 w 6819667"/>
                <a:gd name="connsiteY12" fmla="*/ 2798068 h 6732824"/>
                <a:gd name="connsiteX13" fmla="*/ 6227299 w 6819667"/>
                <a:gd name="connsiteY13" fmla="*/ 3303541 h 6732824"/>
                <a:gd name="connsiteX14" fmla="*/ 6776726 w 6819667"/>
                <a:gd name="connsiteY14" fmla="*/ 4155153 h 6732824"/>
                <a:gd name="connsiteX15" fmla="*/ 5616116 w 6819667"/>
                <a:gd name="connsiteY15" fmla="*/ 6041117 h 6732824"/>
                <a:gd name="connsiteX16" fmla="*/ 4611984 w 6819667"/>
                <a:gd name="connsiteY16" fmla="*/ 5946285 h 6732824"/>
                <a:gd name="connsiteX17" fmla="*/ 4024096 w 6819667"/>
                <a:gd name="connsiteY17" fmla="*/ 5891343 h 6732824"/>
                <a:gd name="connsiteX18" fmla="*/ 3518623 w 6819667"/>
                <a:gd name="connsiteY18" fmla="*/ 6210011 h 6732824"/>
                <a:gd name="connsiteX19" fmla="*/ 3518623 w 6819667"/>
                <a:gd name="connsiteY19" fmla="*/ 6210011 h 6732824"/>
                <a:gd name="connsiteX20" fmla="*/ 2678000 w 6819667"/>
                <a:gd name="connsiteY20" fmla="*/ 6731966 h 6732824"/>
                <a:gd name="connsiteX21" fmla="*/ 758207 w 6819667"/>
                <a:gd name="connsiteY21" fmla="*/ 5574343 h 6732824"/>
                <a:gd name="connsiteX22" fmla="*/ 728594 w 6819667"/>
                <a:gd name="connsiteY22" fmla="*/ 5424677 h 6732824"/>
                <a:gd name="connsiteX0" fmla="*/ 760499 w 6819667"/>
                <a:gd name="connsiteY0" fmla="*/ 5567181 h 6746252"/>
                <a:gd name="connsiteX1" fmla="*/ 848408 w 6819667"/>
                <a:gd name="connsiteY1" fmla="*/ 4567224 h 6746252"/>
                <a:gd name="connsiteX2" fmla="*/ 908845 w 6819667"/>
                <a:gd name="connsiteY2" fmla="*/ 3979336 h 6746252"/>
                <a:gd name="connsiteX3" fmla="*/ 584683 w 6819667"/>
                <a:gd name="connsiteY3" fmla="*/ 3473864 h 6746252"/>
                <a:gd name="connsiteX4" fmla="*/ 348495 w 6819667"/>
                <a:gd name="connsiteY4" fmla="*/ 1264211 h 6746252"/>
                <a:gd name="connsiteX5" fmla="*/ 2232964 w 6819667"/>
                <a:gd name="connsiteY5" fmla="*/ 825625 h 6746252"/>
                <a:gd name="connsiteX6" fmla="*/ 2820851 w 6819667"/>
                <a:gd name="connsiteY6" fmla="*/ 880568 h 6746252"/>
                <a:gd name="connsiteX7" fmla="*/ 3326324 w 6819667"/>
                <a:gd name="connsiteY7" fmla="*/ 561900 h 6746252"/>
                <a:gd name="connsiteX8" fmla="*/ 3326324 w 6819667"/>
                <a:gd name="connsiteY8" fmla="*/ 561900 h 6746252"/>
                <a:gd name="connsiteX9" fmla="*/ 4172442 w 6819667"/>
                <a:gd name="connsiteY9" fmla="*/ 45438 h 6746252"/>
                <a:gd name="connsiteX10" fmla="*/ 6060054 w 6819667"/>
                <a:gd name="connsiteY10" fmla="*/ 1188401 h 6746252"/>
                <a:gd name="connsiteX11" fmla="*/ 5963574 w 6819667"/>
                <a:gd name="connsiteY11" fmla="*/ 2210181 h 6746252"/>
                <a:gd name="connsiteX12" fmla="*/ 5908631 w 6819667"/>
                <a:gd name="connsiteY12" fmla="*/ 2798068 h 6746252"/>
                <a:gd name="connsiteX13" fmla="*/ 6227299 w 6819667"/>
                <a:gd name="connsiteY13" fmla="*/ 3303541 h 6746252"/>
                <a:gd name="connsiteX14" fmla="*/ 6776726 w 6819667"/>
                <a:gd name="connsiteY14" fmla="*/ 4155153 h 6746252"/>
                <a:gd name="connsiteX15" fmla="*/ 5616116 w 6819667"/>
                <a:gd name="connsiteY15" fmla="*/ 6041117 h 6746252"/>
                <a:gd name="connsiteX16" fmla="*/ 4611984 w 6819667"/>
                <a:gd name="connsiteY16" fmla="*/ 5946285 h 6746252"/>
                <a:gd name="connsiteX17" fmla="*/ 4024096 w 6819667"/>
                <a:gd name="connsiteY17" fmla="*/ 5891343 h 6746252"/>
                <a:gd name="connsiteX18" fmla="*/ 3518623 w 6819667"/>
                <a:gd name="connsiteY18" fmla="*/ 6210011 h 6746252"/>
                <a:gd name="connsiteX19" fmla="*/ 3518623 w 6819667"/>
                <a:gd name="connsiteY19" fmla="*/ 6210011 h 6746252"/>
                <a:gd name="connsiteX20" fmla="*/ 2678000 w 6819667"/>
                <a:gd name="connsiteY20" fmla="*/ 6731966 h 6746252"/>
                <a:gd name="connsiteX21" fmla="*/ 758207 w 6819667"/>
                <a:gd name="connsiteY21" fmla="*/ 5574343 h 6746252"/>
                <a:gd name="connsiteX22" fmla="*/ 728594 w 6819667"/>
                <a:gd name="connsiteY22" fmla="*/ 5424677 h 6746252"/>
                <a:gd name="connsiteX0" fmla="*/ 760499 w 6819667"/>
                <a:gd name="connsiteY0" fmla="*/ 5567181 h 6806035"/>
                <a:gd name="connsiteX1" fmla="*/ 848408 w 6819667"/>
                <a:gd name="connsiteY1" fmla="*/ 4567224 h 6806035"/>
                <a:gd name="connsiteX2" fmla="*/ 908845 w 6819667"/>
                <a:gd name="connsiteY2" fmla="*/ 3979336 h 6806035"/>
                <a:gd name="connsiteX3" fmla="*/ 584683 w 6819667"/>
                <a:gd name="connsiteY3" fmla="*/ 3473864 h 6806035"/>
                <a:gd name="connsiteX4" fmla="*/ 348495 w 6819667"/>
                <a:gd name="connsiteY4" fmla="*/ 1264211 h 6806035"/>
                <a:gd name="connsiteX5" fmla="*/ 2232964 w 6819667"/>
                <a:gd name="connsiteY5" fmla="*/ 825625 h 6806035"/>
                <a:gd name="connsiteX6" fmla="*/ 2820851 w 6819667"/>
                <a:gd name="connsiteY6" fmla="*/ 880568 h 6806035"/>
                <a:gd name="connsiteX7" fmla="*/ 3326324 w 6819667"/>
                <a:gd name="connsiteY7" fmla="*/ 561900 h 6806035"/>
                <a:gd name="connsiteX8" fmla="*/ 3326324 w 6819667"/>
                <a:gd name="connsiteY8" fmla="*/ 561900 h 6806035"/>
                <a:gd name="connsiteX9" fmla="*/ 4172442 w 6819667"/>
                <a:gd name="connsiteY9" fmla="*/ 45438 h 6806035"/>
                <a:gd name="connsiteX10" fmla="*/ 6060054 w 6819667"/>
                <a:gd name="connsiteY10" fmla="*/ 1188401 h 6806035"/>
                <a:gd name="connsiteX11" fmla="*/ 5963574 w 6819667"/>
                <a:gd name="connsiteY11" fmla="*/ 2210181 h 6806035"/>
                <a:gd name="connsiteX12" fmla="*/ 5908631 w 6819667"/>
                <a:gd name="connsiteY12" fmla="*/ 2798068 h 6806035"/>
                <a:gd name="connsiteX13" fmla="*/ 6227299 w 6819667"/>
                <a:gd name="connsiteY13" fmla="*/ 3303541 h 6806035"/>
                <a:gd name="connsiteX14" fmla="*/ 6776726 w 6819667"/>
                <a:gd name="connsiteY14" fmla="*/ 4155153 h 6806035"/>
                <a:gd name="connsiteX15" fmla="*/ 5616116 w 6819667"/>
                <a:gd name="connsiteY15" fmla="*/ 6041117 h 6806035"/>
                <a:gd name="connsiteX16" fmla="*/ 4611984 w 6819667"/>
                <a:gd name="connsiteY16" fmla="*/ 5946285 h 6806035"/>
                <a:gd name="connsiteX17" fmla="*/ 4024096 w 6819667"/>
                <a:gd name="connsiteY17" fmla="*/ 5891343 h 6806035"/>
                <a:gd name="connsiteX18" fmla="*/ 3518623 w 6819667"/>
                <a:gd name="connsiteY18" fmla="*/ 6210011 h 6806035"/>
                <a:gd name="connsiteX19" fmla="*/ 3518623 w 6819667"/>
                <a:gd name="connsiteY19" fmla="*/ 6210011 h 6806035"/>
                <a:gd name="connsiteX20" fmla="*/ 2602844 w 6819667"/>
                <a:gd name="connsiteY20" fmla="*/ 6794596 h 6806035"/>
                <a:gd name="connsiteX21" fmla="*/ 758207 w 6819667"/>
                <a:gd name="connsiteY21" fmla="*/ 5574343 h 6806035"/>
                <a:gd name="connsiteX22" fmla="*/ 728594 w 6819667"/>
                <a:gd name="connsiteY22" fmla="*/ 5424677 h 6806035"/>
                <a:gd name="connsiteX0" fmla="*/ 760499 w 6819667"/>
                <a:gd name="connsiteY0" fmla="*/ 5567181 h 6842324"/>
                <a:gd name="connsiteX1" fmla="*/ 848408 w 6819667"/>
                <a:gd name="connsiteY1" fmla="*/ 4567224 h 6842324"/>
                <a:gd name="connsiteX2" fmla="*/ 908845 w 6819667"/>
                <a:gd name="connsiteY2" fmla="*/ 3979336 h 6842324"/>
                <a:gd name="connsiteX3" fmla="*/ 584683 w 6819667"/>
                <a:gd name="connsiteY3" fmla="*/ 3473864 h 6842324"/>
                <a:gd name="connsiteX4" fmla="*/ 348495 w 6819667"/>
                <a:gd name="connsiteY4" fmla="*/ 1264211 h 6842324"/>
                <a:gd name="connsiteX5" fmla="*/ 2232964 w 6819667"/>
                <a:gd name="connsiteY5" fmla="*/ 825625 h 6842324"/>
                <a:gd name="connsiteX6" fmla="*/ 2820851 w 6819667"/>
                <a:gd name="connsiteY6" fmla="*/ 880568 h 6842324"/>
                <a:gd name="connsiteX7" fmla="*/ 3326324 w 6819667"/>
                <a:gd name="connsiteY7" fmla="*/ 561900 h 6842324"/>
                <a:gd name="connsiteX8" fmla="*/ 3326324 w 6819667"/>
                <a:gd name="connsiteY8" fmla="*/ 561900 h 6842324"/>
                <a:gd name="connsiteX9" fmla="*/ 4172442 w 6819667"/>
                <a:gd name="connsiteY9" fmla="*/ 45438 h 6842324"/>
                <a:gd name="connsiteX10" fmla="*/ 6060054 w 6819667"/>
                <a:gd name="connsiteY10" fmla="*/ 1188401 h 6842324"/>
                <a:gd name="connsiteX11" fmla="*/ 5963574 w 6819667"/>
                <a:gd name="connsiteY11" fmla="*/ 2210181 h 6842324"/>
                <a:gd name="connsiteX12" fmla="*/ 5908631 w 6819667"/>
                <a:gd name="connsiteY12" fmla="*/ 2798068 h 6842324"/>
                <a:gd name="connsiteX13" fmla="*/ 6227299 w 6819667"/>
                <a:gd name="connsiteY13" fmla="*/ 3303541 h 6842324"/>
                <a:gd name="connsiteX14" fmla="*/ 6776726 w 6819667"/>
                <a:gd name="connsiteY14" fmla="*/ 4155153 h 6842324"/>
                <a:gd name="connsiteX15" fmla="*/ 5616116 w 6819667"/>
                <a:gd name="connsiteY15" fmla="*/ 6041117 h 6842324"/>
                <a:gd name="connsiteX16" fmla="*/ 4611984 w 6819667"/>
                <a:gd name="connsiteY16" fmla="*/ 5946285 h 6842324"/>
                <a:gd name="connsiteX17" fmla="*/ 4024096 w 6819667"/>
                <a:gd name="connsiteY17" fmla="*/ 5891343 h 6842324"/>
                <a:gd name="connsiteX18" fmla="*/ 3518623 w 6819667"/>
                <a:gd name="connsiteY18" fmla="*/ 6210011 h 6842324"/>
                <a:gd name="connsiteX19" fmla="*/ 3518623 w 6819667"/>
                <a:gd name="connsiteY19" fmla="*/ 6210011 h 6842324"/>
                <a:gd name="connsiteX20" fmla="*/ 2540214 w 6819667"/>
                <a:gd name="connsiteY20" fmla="*/ 6832174 h 6842324"/>
                <a:gd name="connsiteX21" fmla="*/ 758207 w 6819667"/>
                <a:gd name="connsiteY21" fmla="*/ 5574343 h 6842324"/>
                <a:gd name="connsiteX22" fmla="*/ 728594 w 6819667"/>
                <a:gd name="connsiteY22" fmla="*/ 5424677 h 6842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819667" h="6842324">
                  <a:moveTo>
                    <a:pt x="760499" y="5567181"/>
                  </a:moveTo>
                  <a:cubicBezTo>
                    <a:pt x="682085" y="5233019"/>
                    <a:pt x="712897" y="4882556"/>
                    <a:pt x="848408" y="4567224"/>
                  </a:cubicBezTo>
                  <a:cubicBezTo>
                    <a:pt x="933657" y="4383511"/>
                    <a:pt x="954931" y="4176548"/>
                    <a:pt x="908845" y="3979336"/>
                  </a:cubicBezTo>
                  <a:cubicBezTo>
                    <a:pt x="862182" y="3778559"/>
                    <a:pt x="747687" y="3600029"/>
                    <a:pt x="584683" y="3473864"/>
                  </a:cubicBezTo>
                  <a:cubicBezTo>
                    <a:pt x="-90718" y="2928909"/>
                    <a:pt x="-196463" y="1939610"/>
                    <a:pt x="348495" y="1264211"/>
                  </a:cubicBezTo>
                  <a:cubicBezTo>
                    <a:pt x="801503" y="702767"/>
                    <a:pt x="1578602" y="521907"/>
                    <a:pt x="2232964" y="825625"/>
                  </a:cubicBezTo>
                  <a:cubicBezTo>
                    <a:pt x="2417192" y="909446"/>
                    <a:pt x="2624277" y="928802"/>
                    <a:pt x="2820851" y="880568"/>
                  </a:cubicBezTo>
                  <a:cubicBezTo>
                    <a:pt x="3021562" y="837064"/>
                    <a:pt x="3200527" y="724234"/>
                    <a:pt x="3326324" y="561900"/>
                  </a:cubicBezTo>
                  <a:lnTo>
                    <a:pt x="3326324" y="561900"/>
                  </a:lnTo>
                  <a:cubicBezTo>
                    <a:pt x="3543655" y="301103"/>
                    <a:pt x="3841143" y="119520"/>
                    <a:pt x="4172442" y="45438"/>
                  </a:cubicBezTo>
                  <a:cubicBezTo>
                    <a:pt x="5009318" y="-160196"/>
                    <a:pt x="5854458" y="351524"/>
                    <a:pt x="6060054" y="1188401"/>
                  </a:cubicBezTo>
                  <a:cubicBezTo>
                    <a:pt x="6144061" y="1530133"/>
                    <a:pt x="6110051" y="1890211"/>
                    <a:pt x="5963574" y="2210181"/>
                  </a:cubicBezTo>
                  <a:cubicBezTo>
                    <a:pt x="5882534" y="2395146"/>
                    <a:pt x="5863303" y="2601291"/>
                    <a:pt x="5908631" y="2798068"/>
                  </a:cubicBezTo>
                  <a:cubicBezTo>
                    <a:pt x="5955058" y="2997565"/>
                    <a:pt x="6067306" y="3175613"/>
                    <a:pt x="6227299" y="3303541"/>
                  </a:cubicBezTo>
                  <a:cubicBezTo>
                    <a:pt x="6501683" y="3516911"/>
                    <a:pt x="6695411" y="3817201"/>
                    <a:pt x="6776726" y="4155153"/>
                  </a:cubicBezTo>
                  <a:cubicBezTo>
                    <a:pt x="6977047" y="4996442"/>
                    <a:pt x="6457399" y="5840796"/>
                    <a:pt x="5616116" y="6041117"/>
                  </a:cubicBezTo>
                  <a:cubicBezTo>
                    <a:pt x="5280087" y="6121113"/>
                    <a:pt x="4927074" y="6087763"/>
                    <a:pt x="4611984" y="5946285"/>
                  </a:cubicBezTo>
                  <a:cubicBezTo>
                    <a:pt x="4427755" y="5862443"/>
                    <a:pt x="4220671" y="5843103"/>
                    <a:pt x="4024096" y="5891343"/>
                  </a:cubicBezTo>
                  <a:cubicBezTo>
                    <a:pt x="3822836" y="5933484"/>
                    <a:pt x="3643431" y="6046611"/>
                    <a:pt x="3518623" y="6210011"/>
                  </a:cubicBezTo>
                  <a:lnTo>
                    <a:pt x="3518623" y="6210011"/>
                  </a:lnTo>
                  <a:cubicBezTo>
                    <a:pt x="3302995" y="6471208"/>
                    <a:pt x="3038936" y="6771683"/>
                    <a:pt x="2540214" y="6832174"/>
                  </a:cubicBezTo>
                  <a:cubicBezTo>
                    <a:pt x="2031300" y="6893901"/>
                    <a:pt x="979851" y="6698113"/>
                    <a:pt x="758207" y="5574343"/>
                  </a:cubicBezTo>
                  <a:cubicBezTo>
                    <a:pt x="757586" y="5571705"/>
                    <a:pt x="729204" y="5427259"/>
                    <a:pt x="728594" y="5424677"/>
                  </a:cubicBezTo>
                </a:path>
              </a:pathLst>
            </a:custGeom>
            <a:noFill/>
            <a:ln w="28575" cap="flat">
              <a:solidFill>
                <a:schemeClr val="bg1"/>
              </a:solidFill>
              <a:prstDash val="solid"/>
              <a:miter/>
            </a:ln>
            <a:effectLst>
              <a:glow rad="21434">
                <a:schemeClr val="bg1">
                  <a:alpha val="14000"/>
                </a:schemeClr>
              </a:glow>
            </a:effectLst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5" name="Скругленный прямоугольник 31">
            <a:extLst>
              <a:ext uri="{FF2B5EF4-FFF2-40B4-BE49-F238E27FC236}">
                <a16:creationId xmlns:a16="http://schemas.microsoft.com/office/drawing/2014/main" id="{D0ADDF38-BB2E-44DB-A67A-D77596AFED6B}"/>
              </a:ext>
            </a:extLst>
          </p:cNvPr>
          <p:cNvSpPr/>
          <p:nvPr/>
        </p:nvSpPr>
        <p:spPr>
          <a:xfrm>
            <a:off x="470447" y="10484636"/>
            <a:ext cx="11677857" cy="1191548"/>
          </a:xfrm>
          <a:prstGeom prst="roundRect">
            <a:avLst>
              <a:gd name="adj" fmla="val 3328"/>
            </a:avLst>
          </a:prstGeom>
          <a:solidFill>
            <a:srgbClr val="333F50">
              <a:alpha val="79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550388" cy="1449388"/>
          </a:xfrm>
        </p:spPr>
        <p:txBody>
          <a:bodyPr>
            <a:normAutofit/>
          </a:bodyPr>
          <a:lstStyle/>
          <a:p>
            <a:r>
              <a:rPr lang="ru-RU" sz="2400" dirty="0"/>
              <a:t>Основная проблема типового нефтеперерабатывающего/химического предприятия – отклонения от оптимального плана производства</a:t>
            </a:r>
          </a:p>
        </p:txBody>
      </p:sp>
      <p:sp>
        <p:nvSpPr>
          <p:cNvPr id="94" name="Нашивка 18">
            <a:extLst>
              <a:ext uri="{FF2B5EF4-FFF2-40B4-BE49-F238E27FC236}">
                <a16:creationId xmlns:a16="http://schemas.microsoft.com/office/drawing/2014/main" id="{26C31D04-17D7-4BB8-AC7F-4EB45B4CF65C}"/>
              </a:ext>
            </a:extLst>
          </p:cNvPr>
          <p:cNvSpPr/>
          <p:nvPr/>
        </p:nvSpPr>
        <p:spPr>
          <a:xfrm>
            <a:off x="4228366" y="2063575"/>
            <a:ext cx="308287" cy="351625"/>
          </a:xfrm>
          <a:prstGeom prst="chevron">
            <a:avLst/>
          </a:prstGeom>
          <a:solidFill>
            <a:schemeClr val="accent3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8DA16299-25E5-8E41-B3C3-0E4D34E555DB}"/>
              </a:ext>
            </a:extLst>
          </p:cNvPr>
          <p:cNvGrpSpPr/>
          <p:nvPr/>
        </p:nvGrpSpPr>
        <p:grpSpPr>
          <a:xfrm>
            <a:off x="5185373" y="1870070"/>
            <a:ext cx="1897452" cy="1897452"/>
            <a:chOff x="5226812" y="1769682"/>
            <a:chExt cx="1728000" cy="1728000"/>
          </a:xfrm>
          <a:solidFill>
            <a:schemeClr val="bg1"/>
          </a:solidFill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29BCF3B1-8371-DE4E-9A5A-6BCC30877F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58812" y="2201682"/>
              <a:ext cx="864000" cy="864000"/>
            </a:xfrm>
            <a:prstGeom prst="ellipse">
              <a:avLst/>
            </a:prstGeom>
            <a:solidFill>
              <a:srgbClr val="EDEEF4"/>
            </a:solidFill>
          </p:spPr>
          <p:txBody>
            <a:bodyPr wrap="square" rtlCol="0" anchor="ctr">
              <a:spAutoFit/>
            </a:bodyPr>
            <a:lstStyle/>
            <a:p>
              <a:pPr algn="l"/>
              <a:endParaRPr lang="ru-RU" sz="1400" b="0" i="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1" name="Donut 5">
              <a:extLst>
                <a:ext uri="{FF2B5EF4-FFF2-40B4-BE49-F238E27FC236}">
                  <a16:creationId xmlns:a16="http://schemas.microsoft.com/office/drawing/2014/main" id="{DDA2BCF3-4D3F-904D-9312-146909FD520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6812" y="1769682"/>
              <a:ext cx="1728000" cy="1728000"/>
            </a:xfrm>
            <a:prstGeom prst="donut">
              <a:avLst>
                <a:gd name="adj" fmla="val 12776"/>
              </a:avLst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Block Arc 9">
              <a:extLst>
                <a:ext uri="{FF2B5EF4-FFF2-40B4-BE49-F238E27FC236}">
                  <a16:creationId xmlns:a16="http://schemas.microsoft.com/office/drawing/2014/main" id="{7FEB589C-F609-2344-B8CE-3E63227C316A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226812" y="1769682"/>
              <a:ext cx="1728000" cy="1728000"/>
            </a:xfrm>
            <a:prstGeom prst="blockArc">
              <a:avLst>
                <a:gd name="adj1" fmla="val 17401039"/>
                <a:gd name="adj2" fmla="val 16205561"/>
                <a:gd name="adj3" fmla="val 1268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Прямая со стрелкой 53">
              <a:extLst>
                <a:ext uri="{FF2B5EF4-FFF2-40B4-BE49-F238E27FC236}">
                  <a16:creationId xmlns:a16="http://schemas.microsoft.com/office/drawing/2014/main" id="{6B2EB7CF-8DF8-D947-BB33-22F368A1011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08244" y="2108915"/>
              <a:ext cx="182568" cy="486006"/>
            </a:xfrm>
            <a:prstGeom prst="straightConnector1">
              <a:avLst/>
            </a:prstGeom>
            <a:grpFill/>
            <a:ln w="38100">
              <a:solidFill>
                <a:srgbClr val="EDEEF4"/>
              </a:solidFill>
              <a:headEnd type="oval" w="lg" len="lg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2941B532-B3AC-A64B-B29E-129645D363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96812" y="2039682"/>
              <a:ext cx="1188000" cy="1188000"/>
            </a:xfrm>
            <a:prstGeom prst="ellipse">
              <a:avLst/>
            </a:prstGeom>
            <a:noFill/>
            <a:ln w="28575" cap="rnd">
              <a:solidFill>
                <a:schemeClr val="bg1"/>
              </a:solidFill>
              <a:prstDash val="sysDot"/>
            </a:ln>
          </p:spPr>
          <p:txBody>
            <a:bodyPr wrap="square" rtlCol="0" anchor="ctr">
              <a:spAutoFit/>
            </a:bodyPr>
            <a:lstStyle/>
            <a:p>
              <a:pPr algn="l"/>
              <a:endParaRPr lang="ru-RU" sz="1400" b="0" i="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0B92E48-E435-C24B-9D22-0803F42BF274}"/>
                </a:ext>
              </a:extLst>
            </p:cNvPr>
            <p:cNvSpPr txBox="1"/>
            <p:nvPr/>
          </p:nvSpPr>
          <p:spPr>
            <a:xfrm>
              <a:off x="5696436" y="2410177"/>
              <a:ext cx="855221" cy="420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>
                  <a:solidFill>
                    <a:schemeClr val="accent4"/>
                  </a:solidFill>
                  <a:ea typeface="Open Sans Light" panose="020B0606030504020204" pitchFamily="34" charset="0"/>
                  <a:cs typeface="Open Sans Light" panose="020B0606030504020204" pitchFamily="34" charset="0"/>
                </a:rPr>
                <a:t>94</a:t>
              </a:r>
              <a:r>
                <a:rPr lang="en-US" sz="1400" b="1" dirty="0">
                  <a:solidFill>
                    <a:schemeClr val="accent4"/>
                  </a:solidFill>
                  <a:ea typeface="Open Sans Light" panose="020B0606030504020204" pitchFamily="34" charset="0"/>
                  <a:cs typeface="Open Sans Light" panose="020B0606030504020204" pitchFamily="34" charset="0"/>
                </a:rPr>
                <a:t>%</a:t>
              </a:r>
              <a:endParaRPr lang="id-ID" sz="2400" b="1" dirty="0">
                <a:solidFill>
                  <a:schemeClr val="accent4"/>
                </a:solidFill>
                <a:ea typeface="Open Sans ExtraBold" panose="020B0606030504020204" pitchFamily="34" charset="0"/>
                <a:cs typeface="Open Sans ExtraBold" panose="020B0606030504020204" pitchFamily="34" charset="0"/>
              </a:endParaRPr>
            </a:p>
          </p:txBody>
        </p:sp>
      </p:grp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40792785-B53B-A94D-84AC-4BCA9EEEA30F}"/>
              </a:ext>
            </a:extLst>
          </p:cNvPr>
          <p:cNvSpPr/>
          <p:nvPr/>
        </p:nvSpPr>
        <p:spPr>
          <a:xfrm>
            <a:off x="5044462" y="3801605"/>
            <a:ext cx="21663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Исполнимость оптимального плана</a:t>
            </a:r>
          </a:p>
        </p:txBody>
      </p:sp>
      <p:sp>
        <p:nvSpPr>
          <p:cNvPr id="63" name="Rounded Rectangle 3">
            <a:extLst>
              <a:ext uri="{FF2B5EF4-FFF2-40B4-BE49-F238E27FC236}">
                <a16:creationId xmlns:a16="http://schemas.microsoft.com/office/drawing/2014/main" id="{C734C139-C356-F64D-A5BC-50E7840F9FB6}"/>
              </a:ext>
            </a:extLst>
          </p:cNvPr>
          <p:cNvSpPr/>
          <p:nvPr/>
        </p:nvSpPr>
        <p:spPr>
          <a:xfrm>
            <a:off x="642556" y="1648705"/>
            <a:ext cx="3374002" cy="1139635"/>
          </a:xfrm>
          <a:prstGeom prst="roundRect">
            <a:avLst>
              <a:gd name="adj" fmla="val 1297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Rounded Rectangle 3">
            <a:extLst>
              <a:ext uri="{FF2B5EF4-FFF2-40B4-BE49-F238E27FC236}">
                <a16:creationId xmlns:a16="http://schemas.microsoft.com/office/drawing/2014/main" id="{BCA3627F-7F9D-3748-9529-66D1E4A1CAFD}"/>
              </a:ext>
            </a:extLst>
          </p:cNvPr>
          <p:cNvSpPr/>
          <p:nvPr/>
        </p:nvSpPr>
        <p:spPr>
          <a:xfrm>
            <a:off x="642556" y="3163894"/>
            <a:ext cx="3374002" cy="1139635"/>
          </a:xfrm>
          <a:prstGeom prst="roundRect">
            <a:avLst>
              <a:gd name="adj" fmla="val 1297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Rounded Rectangle 3">
            <a:extLst>
              <a:ext uri="{FF2B5EF4-FFF2-40B4-BE49-F238E27FC236}">
                <a16:creationId xmlns:a16="http://schemas.microsoft.com/office/drawing/2014/main" id="{304493C9-4271-AF4A-B132-B3C7B7A37AF0}"/>
              </a:ext>
            </a:extLst>
          </p:cNvPr>
          <p:cNvSpPr/>
          <p:nvPr/>
        </p:nvSpPr>
        <p:spPr>
          <a:xfrm>
            <a:off x="8211756" y="1648705"/>
            <a:ext cx="3374002" cy="1139635"/>
          </a:xfrm>
          <a:prstGeom prst="roundRect">
            <a:avLst>
              <a:gd name="adj" fmla="val 1297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6" name="Rounded Rectangle 3">
            <a:extLst>
              <a:ext uri="{FF2B5EF4-FFF2-40B4-BE49-F238E27FC236}">
                <a16:creationId xmlns:a16="http://schemas.microsoft.com/office/drawing/2014/main" id="{7430087D-3BA9-6E42-A30C-103067ADBADB}"/>
              </a:ext>
            </a:extLst>
          </p:cNvPr>
          <p:cNvSpPr/>
          <p:nvPr/>
        </p:nvSpPr>
        <p:spPr>
          <a:xfrm>
            <a:off x="8211756" y="3163894"/>
            <a:ext cx="3374002" cy="1139635"/>
          </a:xfrm>
          <a:prstGeom prst="roundRect">
            <a:avLst>
              <a:gd name="adj" fmla="val 1297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F6C89DB4-DA5F-4FC2-863B-2DF8FC0340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6899" y="1960089"/>
            <a:ext cx="477441" cy="477441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2CC5D1B7-A3F0-4413-B788-A7B37F1467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4331" y="3496689"/>
            <a:ext cx="477441" cy="477441"/>
          </a:xfrm>
          <a:prstGeom prst="rect">
            <a:avLst/>
          </a:prstGeom>
        </p:spPr>
      </p:pic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86A0BC71-2193-425B-B48C-E36418C54990}"/>
              </a:ext>
            </a:extLst>
          </p:cNvPr>
          <p:cNvSpPr/>
          <p:nvPr/>
        </p:nvSpPr>
        <p:spPr>
          <a:xfrm>
            <a:off x="875960" y="2018901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  <a:endParaRPr lang="ru-RU" dirty="0"/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ABC80A69-0ACF-4B96-B406-B9E5FA81CCF9}"/>
              </a:ext>
            </a:extLst>
          </p:cNvPr>
          <p:cNvSpPr/>
          <p:nvPr/>
        </p:nvSpPr>
        <p:spPr>
          <a:xfrm>
            <a:off x="878525" y="3546389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  <a:endParaRPr lang="ru-RU" dirty="0"/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62C164D2-9060-4E5C-880F-BBE6E8A1700A}"/>
              </a:ext>
            </a:extLst>
          </p:cNvPr>
          <p:cNvSpPr/>
          <p:nvPr/>
        </p:nvSpPr>
        <p:spPr>
          <a:xfrm>
            <a:off x="878525" y="2025769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  <a:endParaRPr lang="ru-RU" dirty="0"/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0FDB9142-FD93-D345-9118-DD2DDD0DED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49166" y="1960089"/>
            <a:ext cx="477441" cy="477441"/>
          </a:xfrm>
          <a:prstGeom prst="rect">
            <a:avLst/>
          </a:prstGeom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id="{424C20D8-BB90-604C-A16E-7911A093F0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56598" y="3496689"/>
            <a:ext cx="477441" cy="477441"/>
          </a:xfrm>
          <a:prstGeom prst="rect">
            <a:avLst/>
          </a:prstGeom>
        </p:spPr>
      </p:pic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AFAC2D03-293E-9443-89DA-7E11271ED621}"/>
              </a:ext>
            </a:extLst>
          </p:cNvPr>
          <p:cNvSpPr/>
          <p:nvPr/>
        </p:nvSpPr>
        <p:spPr>
          <a:xfrm>
            <a:off x="8428227" y="2018901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  <a:endParaRPr lang="ru-RU" dirty="0"/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F14EEB24-0731-014C-8DE8-6ED98542D058}"/>
              </a:ext>
            </a:extLst>
          </p:cNvPr>
          <p:cNvSpPr/>
          <p:nvPr/>
        </p:nvSpPr>
        <p:spPr>
          <a:xfrm>
            <a:off x="8430792" y="3546389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  <a:endParaRPr lang="ru-RU" dirty="0"/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7311FB6D-2CAC-4616-85F3-B44D61D58337}"/>
              </a:ext>
            </a:extLst>
          </p:cNvPr>
          <p:cNvSpPr/>
          <p:nvPr/>
        </p:nvSpPr>
        <p:spPr>
          <a:xfrm>
            <a:off x="1332688" y="1894112"/>
            <a:ext cx="224342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Задержка в обработке и решениях по отклонениям до 3-х суток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22CE4598-9234-4E3D-B0B8-FC2209922F89}"/>
              </a:ext>
            </a:extLst>
          </p:cNvPr>
          <p:cNvSpPr/>
          <p:nvPr/>
        </p:nvSpPr>
        <p:spPr>
          <a:xfrm>
            <a:off x="1304467" y="3498687"/>
            <a:ext cx="19751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Процесс принятия решений по иерархии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098933FD-9F27-46E4-8B0E-D342FEB8C418}"/>
              </a:ext>
            </a:extLst>
          </p:cNvPr>
          <p:cNvSpPr/>
          <p:nvPr/>
        </p:nvSpPr>
        <p:spPr>
          <a:xfrm>
            <a:off x="8909280" y="3315411"/>
            <a:ext cx="25273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Разрозненность и непрозрачность фактических данных для передачи заинтересованным лицам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F9CD6DE1-FD05-45DC-BBE9-8434DE779D20}"/>
              </a:ext>
            </a:extLst>
          </p:cNvPr>
          <p:cNvSpPr/>
          <p:nvPr/>
        </p:nvSpPr>
        <p:spPr>
          <a:xfrm>
            <a:off x="8905668" y="1977778"/>
            <a:ext cx="240016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Отсутствует процесс управления отклонениями</a:t>
            </a:r>
          </a:p>
        </p:txBody>
      </p:sp>
      <p:sp>
        <p:nvSpPr>
          <p:cNvPr id="91" name="Нашивка 18">
            <a:extLst>
              <a:ext uri="{FF2B5EF4-FFF2-40B4-BE49-F238E27FC236}">
                <a16:creationId xmlns:a16="http://schemas.microsoft.com/office/drawing/2014/main" id="{3EF985FB-EB1B-F74C-8D47-4FAB6383D457}"/>
              </a:ext>
            </a:extLst>
          </p:cNvPr>
          <p:cNvSpPr/>
          <p:nvPr/>
        </p:nvSpPr>
        <p:spPr>
          <a:xfrm>
            <a:off x="4228366" y="3553708"/>
            <a:ext cx="308287" cy="351625"/>
          </a:xfrm>
          <a:prstGeom prst="chevron">
            <a:avLst/>
          </a:prstGeom>
          <a:solidFill>
            <a:schemeClr val="accent3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DF30A1BE-90FF-6145-80D5-A9ECA0EAB0D3}"/>
              </a:ext>
            </a:extLst>
          </p:cNvPr>
          <p:cNvGrpSpPr/>
          <p:nvPr/>
        </p:nvGrpSpPr>
        <p:grpSpPr>
          <a:xfrm rot="10800000">
            <a:off x="7648724" y="2082827"/>
            <a:ext cx="308287" cy="1841758"/>
            <a:chOff x="5295166" y="4376289"/>
            <a:chExt cx="308287" cy="1841758"/>
          </a:xfrm>
          <a:solidFill>
            <a:schemeClr val="accent3">
              <a:lumMod val="10000"/>
              <a:lumOff val="90000"/>
            </a:schemeClr>
          </a:solidFill>
        </p:grpSpPr>
        <p:sp>
          <p:nvSpPr>
            <p:cNvPr id="93" name="Нашивка 18">
              <a:extLst>
                <a:ext uri="{FF2B5EF4-FFF2-40B4-BE49-F238E27FC236}">
                  <a16:creationId xmlns:a16="http://schemas.microsoft.com/office/drawing/2014/main" id="{C8E79B91-9EFE-4248-A4A8-FDFDC854BEDA}"/>
                </a:ext>
              </a:extLst>
            </p:cNvPr>
            <p:cNvSpPr/>
            <p:nvPr/>
          </p:nvSpPr>
          <p:spPr>
            <a:xfrm>
              <a:off x="5295166" y="4376289"/>
              <a:ext cx="308287" cy="351625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97" name="Нашивка 18">
              <a:extLst>
                <a:ext uri="{FF2B5EF4-FFF2-40B4-BE49-F238E27FC236}">
                  <a16:creationId xmlns:a16="http://schemas.microsoft.com/office/drawing/2014/main" id="{1B7E0BB4-890A-A94E-BE0C-CA776E05210E}"/>
                </a:ext>
              </a:extLst>
            </p:cNvPr>
            <p:cNvSpPr/>
            <p:nvPr/>
          </p:nvSpPr>
          <p:spPr>
            <a:xfrm>
              <a:off x="5295166" y="5866422"/>
              <a:ext cx="308287" cy="351625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98" name="Rounded Rectangle 3">
            <a:extLst>
              <a:ext uri="{FF2B5EF4-FFF2-40B4-BE49-F238E27FC236}">
                <a16:creationId xmlns:a16="http://schemas.microsoft.com/office/drawing/2014/main" id="{1E1A4C51-8D04-3440-84E4-C27FF7FEC1A6}"/>
              </a:ext>
            </a:extLst>
          </p:cNvPr>
          <p:cNvSpPr/>
          <p:nvPr/>
        </p:nvSpPr>
        <p:spPr>
          <a:xfrm>
            <a:off x="642556" y="4831676"/>
            <a:ext cx="10943202" cy="1101377"/>
          </a:xfrm>
          <a:prstGeom prst="roundRect">
            <a:avLst>
              <a:gd name="adj" fmla="val 12971"/>
            </a:avLst>
          </a:prstGeom>
          <a:solidFill>
            <a:srgbClr val="EDEEF4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7F1662A-6036-4DE2-9603-183A480AA85F}"/>
              </a:ext>
            </a:extLst>
          </p:cNvPr>
          <p:cNvSpPr/>
          <p:nvPr/>
        </p:nvSpPr>
        <p:spPr>
          <a:xfrm>
            <a:off x="892802" y="5059198"/>
            <a:ext cx="32402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Любой разрыв между оптимальным планом и фактом производства приводит компанию к финансовым потерям</a:t>
            </a: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598F6E7A-4D5F-0642-BE5D-3F80D498F78A}"/>
              </a:ext>
            </a:extLst>
          </p:cNvPr>
          <p:cNvSpPr/>
          <p:nvPr/>
        </p:nvSpPr>
        <p:spPr>
          <a:xfrm>
            <a:off x="7037713" y="5145493"/>
            <a:ext cx="35815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Финансовые потери компании от стоимости продукции при уровне исполнимости в 94%*</a:t>
            </a:r>
            <a:endParaRPr lang="ru-RU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3" name="Rectangle 68">
            <a:extLst>
              <a:ext uri="{FF2B5EF4-FFF2-40B4-BE49-F238E27FC236}">
                <a16:creationId xmlns:a16="http://schemas.microsoft.com/office/drawing/2014/main" id="{E5B864AE-7414-4D7F-876E-C837FBA85D92}"/>
              </a:ext>
            </a:extLst>
          </p:cNvPr>
          <p:cNvSpPr/>
          <p:nvPr/>
        </p:nvSpPr>
        <p:spPr>
          <a:xfrm>
            <a:off x="5393021" y="5096592"/>
            <a:ext cx="125195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1000"/>
              </a:spcBef>
            </a:pPr>
            <a:r>
              <a:rPr lang="ru-RU" b="1" dirty="0">
                <a:solidFill>
                  <a:srgbClr val="C00000"/>
                </a:solidFill>
                <a:latin typeface="Lato Black"/>
              </a:rPr>
              <a:t>от</a:t>
            </a:r>
            <a:r>
              <a:rPr lang="ru-RU" sz="2800" b="1" dirty="0">
                <a:solidFill>
                  <a:srgbClr val="C00000"/>
                </a:solidFill>
                <a:latin typeface="Lato Black"/>
              </a:rPr>
              <a:t> </a:t>
            </a:r>
            <a:r>
              <a:rPr lang="ru-RU" sz="3200" b="1" dirty="0">
                <a:solidFill>
                  <a:srgbClr val="C00000"/>
                </a:solidFill>
                <a:latin typeface="Lato Black"/>
              </a:rPr>
              <a:t>15%</a:t>
            </a:r>
            <a:endParaRPr lang="en-US" sz="2800" b="1" dirty="0">
              <a:solidFill>
                <a:srgbClr val="C00000"/>
              </a:solidFill>
              <a:latin typeface="Lato Black"/>
            </a:endParaRP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6A3DF77B-6F28-4972-94FD-4AA464434BA9}"/>
              </a:ext>
            </a:extLst>
          </p:cNvPr>
          <p:cNvSpPr/>
          <p:nvPr/>
        </p:nvSpPr>
        <p:spPr>
          <a:xfrm>
            <a:off x="8724034" y="5597681"/>
            <a:ext cx="29362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*Пример для НПЗ мощностью 10 млн т/год</a:t>
            </a:r>
          </a:p>
        </p:txBody>
      </p:sp>
      <p:cxnSp>
        <p:nvCxnSpPr>
          <p:cNvPr id="142" name="Прямая соединительная линия 141">
            <a:extLst>
              <a:ext uri="{FF2B5EF4-FFF2-40B4-BE49-F238E27FC236}">
                <a16:creationId xmlns:a16="http://schemas.microsoft.com/office/drawing/2014/main" id="{975FF1F1-E730-41B1-8B7F-D99271057C04}"/>
              </a:ext>
            </a:extLst>
          </p:cNvPr>
          <p:cNvCxnSpPr>
            <a:cxnSpLocks/>
          </p:cNvCxnSpPr>
          <p:nvPr/>
        </p:nvCxnSpPr>
        <p:spPr>
          <a:xfrm>
            <a:off x="4849475" y="4511408"/>
            <a:ext cx="0" cy="142164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29197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lass_00">
            <a:extLst>
              <a:ext uri="{FF2B5EF4-FFF2-40B4-BE49-F238E27FC236}">
                <a16:creationId xmlns:a16="http://schemas.microsoft.com/office/drawing/2014/main" id="{691AEAC3-47DB-CB43-81EA-3276D0267F55}"/>
              </a:ext>
            </a:extLst>
          </p:cNvPr>
          <p:cNvSpPr/>
          <p:nvPr/>
        </p:nvSpPr>
        <p:spPr>
          <a:xfrm>
            <a:off x="9071176" y="4866485"/>
            <a:ext cx="2589541" cy="1139868"/>
          </a:xfrm>
          <a:prstGeom prst="roundRect">
            <a:avLst>
              <a:gd name="adj" fmla="val 17805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11325658" cy="1449388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+mn-lt"/>
              </a:rPr>
              <a:t>Переход к событийному управлению по исполнимости, качеству, энергетике, и безопасности для повышения исполнимости плана производства</a:t>
            </a:r>
          </a:p>
        </p:txBody>
      </p:sp>
      <p:sp>
        <p:nvSpPr>
          <p:cNvPr id="34" name="Glass_00">
            <a:extLst>
              <a:ext uri="{FF2B5EF4-FFF2-40B4-BE49-F238E27FC236}">
                <a16:creationId xmlns:a16="http://schemas.microsoft.com/office/drawing/2014/main" id="{074EAFD2-08E2-6F4C-969F-735112141D7B}"/>
              </a:ext>
            </a:extLst>
          </p:cNvPr>
          <p:cNvSpPr/>
          <p:nvPr/>
        </p:nvSpPr>
        <p:spPr>
          <a:xfrm>
            <a:off x="572029" y="1477225"/>
            <a:ext cx="2589541" cy="4529128"/>
          </a:xfrm>
          <a:prstGeom prst="roundRect">
            <a:avLst>
              <a:gd name="adj" fmla="val 8944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7" name="Glass_00">
            <a:extLst>
              <a:ext uri="{FF2B5EF4-FFF2-40B4-BE49-F238E27FC236}">
                <a16:creationId xmlns:a16="http://schemas.microsoft.com/office/drawing/2014/main" id="{24C6D8DB-3A45-3640-BDEC-AA7B00E5B48D}"/>
              </a:ext>
            </a:extLst>
          </p:cNvPr>
          <p:cNvSpPr/>
          <p:nvPr/>
        </p:nvSpPr>
        <p:spPr>
          <a:xfrm>
            <a:off x="3405078" y="1477225"/>
            <a:ext cx="2589541" cy="4529128"/>
          </a:xfrm>
          <a:prstGeom prst="roundRect">
            <a:avLst>
              <a:gd name="adj" fmla="val 8944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8" name="Glass_00">
            <a:extLst>
              <a:ext uri="{FF2B5EF4-FFF2-40B4-BE49-F238E27FC236}">
                <a16:creationId xmlns:a16="http://schemas.microsoft.com/office/drawing/2014/main" id="{AF162725-25EF-3F4C-9AD4-AB9E12F67E0B}"/>
              </a:ext>
            </a:extLst>
          </p:cNvPr>
          <p:cNvSpPr/>
          <p:nvPr/>
        </p:nvSpPr>
        <p:spPr>
          <a:xfrm>
            <a:off x="6238127" y="1477225"/>
            <a:ext cx="2589541" cy="4529128"/>
          </a:xfrm>
          <a:prstGeom prst="roundRect">
            <a:avLst>
              <a:gd name="adj" fmla="val 8944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9" name="Glass_00">
            <a:extLst>
              <a:ext uri="{FF2B5EF4-FFF2-40B4-BE49-F238E27FC236}">
                <a16:creationId xmlns:a16="http://schemas.microsoft.com/office/drawing/2014/main" id="{499357CE-54C4-C741-B95B-DE0A9DA02A07}"/>
              </a:ext>
            </a:extLst>
          </p:cNvPr>
          <p:cNvSpPr/>
          <p:nvPr/>
        </p:nvSpPr>
        <p:spPr>
          <a:xfrm>
            <a:off x="9071176" y="1477225"/>
            <a:ext cx="2589541" cy="3245623"/>
          </a:xfrm>
          <a:prstGeom prst="roundRect">
            <a:avLst>
              <a:gd name="adj" fmla="val 8944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1" name="Rectangle: Rounded Corners 12">
            <a:extLst>
              <a:ext uri="{FF2B5EF4-FFF2-40B4-BE49-F238E27FC236}">
                <a16:creationId xmlns:a16="http://schemas.microsoft.com/office/drawing/2014/main" id="{B111094E-87D7-D543-807A-F48ED67C03CA}"/>
              </a:ext>
            </a:extLst>
          </p:cNvPr>
          <p:cNvSpPr/>
          <p:nvPr/>
        </p:nvSpPr>
        <p:spPr>
          <a:xfrm>
            <a:off x="691319" y="2092597"/>
            <a:ext cx="2182440" cy="307778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3E63599-A1D3-AC4E-B9B8-DD522198A507}"/>
              </a:ext>
            </a:extLst>
          </p:cNvPr>
          <p:cNvSpPr txBox="1"/>
          <p:nvPr/>
        </p:nvSpPr>
        <p:spPr>
          <a:xfrm>
            <a:off x="828706" y="2154153"/>
            <a:ext cx="1366838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cs typeface="Poppins SemiBold" panose="00000700000000000000" pitchFamily="2" charset="0"/>
              </a:rPr>
              <a:t>ПРОБЛЕМА</a:t>
            </a:r>
            <a:endParaRPr lang="en-ID" sz="1200" b="1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60" name="Rectangle: Rounded Corners 24">
            <a:extLst>
              <a:ext uri="{FF2B5EF4-FFF2-40B4-BE49-F238E27FC236}">
                <a16:creationId xmlns:a16="http://schemas.microsoft.com/office/drawing/2014/main" id="{9E59DB1B-EF54-184B-9DA0-8F2457867F85}"/>
              </a:ext>
            </a:extLst>
          </p:cNvPr>
          <p:cNvSpPr/>
          <p:nvPr/>
        </p:nvSpPr>
        <p:spPr>
          <a:xfrm>
            <a:off x="3544275" y="2092597"/>
            <a:ext cx="2197470" cy="307778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3300C67-77A3-1343-B2D8-30529B7036BC}"/>
              </a:ext>
            </a:extLst>
          </p:cNvPr>
          <p:cNvSpPr txBox="1"/>
          <p:nvPr/>
        </p:nvSpPr>
        <p:spPr>
          <a:xfrm>
            <a:off x="3682501" y="2154152"/>
            <a:ext cx="195236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cs typeface="Poppins SemiBold" panose="00000700000000000000" pitchFamily="2" charset="0"/>
              </a:rPr>
              <a:t>НАПРАВЛЕНИЕ РАБОТ</a:t>
            </a:r>
            <a:endParaRPr lang="en-ID" sz="1200" b="1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63" name="Rectangle: Rounded Corners 28">
            <a:extLst>
              <a:ext uri="{FF2B5EF4-FFF2-40B4-BE49-F238E27FC236}">
                <a16:creationId xmlns:a16="http://schemas.microsoft.com/office/drawing/2014/main" id="{95D8ECB8-D577-F944-B37F-733EF82135D7}"/>
              </a:ext>
            </a:extLst>
          </p:cNvPr>
          <p:cNvSpPr/>
          <p:nvPr/>
        </p:nvSpPr>
        <p:spPr>
          <a:xfrm>
            <a:off x="6378163" y="2092597"/>
            <a:ext cx="2182440" cy="307778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28742DA-2ED4-5D43-9DC1-55DECFFD6B1A}"/>
              </a:ext>
            </a:extLst>
          </p:cNvPr>
          <p:cNvSpPr txBox="1"/>
          <p:nvPr/>
        </p:nvSpPr>
        <p:spPr>
          <a:xfrm>
            <a:off x="6515550" y="2154153"/>
            <a:ext cx="1366838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cs typeface="Poppins SemiBold" panose="00000700000000000000" pitchFamily="2" charset="0"/>
              </a:rPr>
              <a:t>РЕШЕНИЕ</a:t>
            </a:r>
            <a:endParaRPr lang="en-ID" sz="1200" b="1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66" name="Rectangle: Rounded Corners 32">
            <a:extLst>
              <a:ext uri="{FF2B5EF4-FFF2-40B4-BE49-F238E27FC236}">
                <a16:creationId xmlns:a16="http://schemas.microsoft.com/office/drawing/2014/main" id="{F2A0E5A7-465B-E84A-9E17-B0C4E8F11FF0}"/>
              </a:ext>
            </a:extLst>
          </p:cNvPr>
          <p:cNvSpPr/>
          <p:nvPr/>
        </p:nvSpPr>
        <p:spPr>
          <a:xfrm>
            <a:off x="9211212" y="2092597"/>
            <a:ext cx="2182440" cy="307778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753797F-3891-AA4D-AB69-7AD963630D1D}"/>
              </a:ext>
            </a:extLst>
          </p:cNvPr>
          <p:cNvSpPr txBox="1"/>
          <p:nvPr/>
        </p:nvSpPr>
        <p:spPr>
          <a:xfrm>
            <a:off x="9348599" y="2154153"/>
            <a:ext cx="1366838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cs typeface="Poppins SemiBold" panose="00000700000000000000" pitchFamily="2" charset="0"/>
              </a:rPr>
              <a:t>РЕЗУЛЬТАТ</a:t>
            </a:r>
            <a:endParaRPr lang="en-ID" sz="1200" b="1" dirty="0">
              <a:solidFill>
                <a:schemeClr val="bg1"/>
              </a:solidFill>
              <a:cs typeface="Poppins SemiBold" panose="00000700000000000000" pitchFamily="2" charset="0"/>
            </a:endParaRPr>
          </a:p>
        </p:txBody>
      </p:sp>
      <p:sp>
        <p:nvSpPr>
          <p:cNvPr id="68" name="Нашивка 18">
            <a:extLst>
              <a:ext uri="{FF2B5EF4-FFF2-40B4-BE49-F238E27FC236}">
                <a16:creationId xmlns:a16="http://schemas.microsoft.com/office/drawing/2014/main" id="{60F38436-8C82-FE46-9170-DBA326B5E130}"/>
              </a:ext>
            </a:extLst>
          </p:cNvPr>
          <p:cNvSpPr/>
          <p:nvPr/>
        </p:nvSpPr>
        <p:spPr>
          <a:xfrm>
            <a:off x="3117267" y="2070672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9" name="Нашивка 18">
            <a:extLst>
              <a:ext uri="{FF2B5EF4-FFF2-40B4-BE49-F238E27FC236}">
                <a16:creationId xmlns:a16="http://schemas.microsoft.com/office/drawing/2014/main" id="{4FBF9744-1AE4-4D4E-BB2F-AA9D1FC8D48E}"/>
              </a:ext>
            </a:extLst>
          </p:cNvPr>
          <p:cNvSpPr/>
          <p:nvPr/>
        </p:nvSpPr>
        <p:spPr>
          <a:xfrm>
            <a:off x="5955060" y="2070672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0" name="Нашивка 18">
            <a:extLst>
              <a:ext uri="{FF2B5EF4-FFF2-40B4-BE49-F238E27FC236}">
                <a16:creationId xmlns:a16="http://schemas.microsoft.com/office/drawing/2014/main" id="{A574790D-01BB-0047-9BBE-28B1E6F47CDC}"/>
              </a:ext>
            </a:extLst>
          </p:cNvPr>
          <p:cNvSpPr/>
          <p:nvPr/>
        </p:nvSpPr>
        <p:spPr>
          <a:xfrm>
            <a:off x="8792853" y="2070672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7" name="Rectangle 68">
            <a:extLst>
              <a:ext uri="{FF2B5EF4-FFF2-40B4-BE49-F238E27FC236}">
                <a16:creationId xmlns:a16="http://schemas.microsoft.com/office/drawing/2014/main" id="{3D1DBE79-CFDF-45C7-A07C-12AFDEB33D8C}"/>
              </a:ext>
            </a:extLst>
          </p:cNvPr>
          <p:cNvSpPr/>
          <p:nvPr/>
        </p:nvSpPr>
        <p:spPr>
          <a:xfrm>
            <a:off x="856190" y="2614844"/>
            <a:ext cx="144623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000"/>
              </a:spcBef>
            </a:pPr>
            <a:r>
              <a:rPr lang="ru-RU" sz="3600" b="1" dirty="0">
                <a:solidFill>
                  <a:schemeClr val="accent1"/>
                </a:solidFill>
              </a:rPr>
              <a:t>94%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9991DFAE-2B62-435F-B4EC-14ED6527CCFF}"/>
              </a:ext>
            </a:extLst>
          </p:cNvPr>
          <p:cNvSpPr/>
          <p:nvPr/>
        </p:nvSpPr>
        <p:spPr>
          <a:xfrm>
            <a:off x="725619" y="3152478"/>
            <a:ext cx="22823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Исполнимость оптимального плана производства</a:t>
            </a:r>
            <a:endParaRPr lang="ru-RU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317B671E-D43F-4257-B8B5-0095062BE4B8}"/>
              </a:ext>
            </a:extLst>
          </p:cNvPr>
          <p:cNvSpPr/>
          <p:nvPr/>
        </p:nvSpPr>
        <p:spPr>
          <a:xfrm>
            <a:off x="725619" y="4246775"/>
            <a:ext cx="24063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Финансовые потери компании от стоимости продукции при уровне исполнимости в 94%</a:t>
            </a:r>
            <a:endParaRPr lang="ru-RU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Rectangle 68">
            <a:extLst>
              <a:ext uri="{FF2B5EF4-FFF2-40B4-BE49-F238E27FC236}">
                <a16:creationId xmlns:a16="http://schemas.microsoft.com/office/drawing/2014/main" id="{5FDB1353-015C-4E16-BC5E-174FF1DF487B}"/>
              </a:ext>
            </a:extLst>
          </p:cNvPr>
          <p:cNvSpPr/>
          <p:nvPr/>
        </p:nvSpPr>
        <p:spPr>
          <a:xfrm>
            <a:off x="838133" y="3840479"/>
            <a:ext cx="169012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000"/>
              </a:spcBef>
            </a:pPr>
            <a:r>
              <a:rPr lang="ru-RU" sz="2000" b="1" dirty="0">
                <a:solidFill>
                  <a:srgbClr val="FF0000"/>
                </a:solidFill>
              </a:rPr>
              <a:t>от </a:t>
            </a:r>
            <a:r>
              <a:rPr lang="ru-RU" sz="2400" b="1" dirty="0">
                <a:solidFill>
                  <a:srgbClr val="FF0000"/>
                </a:solidFill>
              </a:rPr>
              <a:t>15%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F2476349-7B85-4D69-8DF2-70DDAD778B35}"/>
              </a:ext>
            </a:extLst>
          </p:cNvPr>
          <p:cNvSpPr/>
          <p:nvPr/>
        </p:nvSpPr>
        <p:spPr>
          <a:xfrm>
            <a:off x="688797" y="5080196"/>
            <a:ext cx="22823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>
                    <a:lumMod val="75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*Пример для производства мощностью 10 млн т/год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FC6BF266-B1DC-4B7A-A03C-13E0A25A10E8}"/>
              </a:ext>
            </a:extLst>
          </p:cNvPr>
          <p:cNvSpPr/>
          <p:nvPr/>
        </p:nvSpPr>
        <p:spPr>
          <a:xfrm>
            <a:off x="3794960" y="2729552"/>
            <a:ext cx="143432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tx2">
                    <a:lumMod val="75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БЕЗОПАСНОСТЬ И НАДЕЖНОСТЬ</a:t>
            </a:r>
            <a:endParaRPr lang="ru-RU" sz="11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3C2EE61-D11F-4F0F-A9EB-1DD6E6B688A0}"/>
              </a:ext>
            </a:extLst>
          </p:cNvPr>
          <p:cNvSpPr/>
          <p:nvPr/>
        </p:nvSpPr>
        <p:spPr>
          <a:xfrm>
            <a:off x="3797561" y="3500561"/>
            <a:ext cx="219486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tx2">
                    <a:lumMod val="75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ЭНЕРГОЭФФЕКТИВНОСТЬ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E3E4B6F9-3E6C-4E12-AB96-52F983F00BC3}"/>
              </a:ext>
            </a:extLst>
          </p:cNvPr>
          <p:cNvSpPr/>
          <p:nvPr/>
        </p:nvSpPr>
        <p:spPr>
          <a:xfrm>
            <a:off x="3794960" y="4201998"/>
            <a:ext cx="14343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tx2">
                    <a:lumMod val="75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КАЧЕСТВО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AAB4565D-B9EA-4C02-8B94-DB93B6E39AA8}"/>
              </a:ext>
            </a:extLst>
          </p:cNvPr>
          <p:cNvSpPr/>
          <p:nvPr/>
        </p:nvSpPr>
        <p:spPr>
          <a:xfrm>
            <a:off x="3794960" y="4915627"/>
            <a:ext cx="14343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tx2">
                    <a:lumMod val="75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ИСПОЛНИМОСТЬ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34573C62-7C76-423E-8B4E-A922B8C541AA}"/>
              </a:ext>
            </a:extLst>
          </p:cNvPr>
          <p:cNvSpPr/>
          <p:nvPr/>
        </p:nvSpPr>
        <p:spPr>
          <a:xfrm>
            <a:off x="9526307" y="4927704"/>
            <a:ext cx="15887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7CB34A"/>
                </a:solidFill>
                <a:ea typeface="Lato" panose="020F0502020204030203" pitchFamily="34" charset="0"/>
                <a:cs typeface="Lato" panose="020F0502020204030203" pitchFamily="34" charset="0"/>
              </a:rPr>
              <a:t>0,1-1% </a:t>
            </a:r>
            <a:endParaRPr lang="ru-RU" sz="2400" b="1" dirty="0">
              <a:solidFill>
                <a:srgbClr val="7CB34A"/>
              </a:solidFill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DF4A5324-AD6F-8348-837F-F66BC4BE4175}"/>
              </a:ext>
            </a:extLst>
          </p:cNvPr>
          <p:cNvSpPr/>
          <p:nvPr/>
        </p:nvSpPr>
        <p:spPr>
          <a:xfrm>
            <a:off x="6238126" y="2571118"/>
            <a:ext cx="278192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Мониторинг КПЭ по направлениям исполнимости, безопасности, энергоэффективности, качеству</a:t>
            </a:r>
            <a:endParaRPr lang="ru-RU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D2A1EA99-C1C7-0E45-B54A-0505642629B0}"/>
              </a:ext>
            </a:extLst>
          </p:cNvPr>
          <p:cNvSpPr/>
          <p:nvPr/>
        </p:nvSpPr>
        <p:spPr>
          <a:xfrm>
            <a:off x="6238127" y="3303870"/>
            <a:ext cx="262483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Выявление отклонений, влияющих на выполнение оптимального плана производства </a:t>
            </a:r>
            <a:endParaRPr lang="ru-RU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A4A8F369-4370-1445-BB57-398C03FC7CBC}"/>
              </a:ext>
            </a:extLst>
          </p:cNvPr>
          <p:cNvSpPr/>
          <p:nvPr/>
        </p:nvSpPr>
        <p:spPr>
          <a:xfrm>
            <a:off x="6238127" y="4036622"/>
            <a:ext cx="218147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Сквозной процесс управления отклонениями </a:t>
            </a:r>
            <a:endParaRPr lang="ru-RU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9069F809-A85C-A04F-9941-B6B10C5B0CE1}"/>
              </a:ext>
            </a:extLst>
          </p:cNvPr>
          <p:cNvSpPr/>
          <p:nvPr/>
        </p:nvSpPr>
        <p:spPr>
          <a:xfrm>
            <a:off x="6238128" y="4600097"/>
            <a:ext cx="244349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Интеграция со смежными системами для оперативной передачи отклонений</a:t>
            </a:r>
            <a:endParaRPr lang="ru-RU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0173B85C-0670-8249-9B78-60A6B1BE9C9F}"/>
              </a:ext>
            </a:extLst>
          </p:cNvPr>
          <p:cNvSpPr/>
          <p:nvPr/>
        </p:nvSpPr>
        <p:spPr>
          <a:xfrm>
            <a:off x="6238128" y="5332849"/>
            <a:ext cx="255472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Единой окно сбора информации о текущем статусе производства</a:t>
            </a:r>
            <a:endParaRPr lang="ru-RU" sz="11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688D2345-17B3-994E-83B0-0B182334A7B7}"/>
              </a:ext>
            </a:extLst>
          </p:cNvPr>
          <p:cNvSpPr/>
          <p:nvPr/>
        </p:nvSpPr>
        <p:spPr>
          <a:xfrm>
            <a:off x="9055339" y="2571118"/>
            <a:ext cx="267057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Сокращение отклонения от оптимального плана производства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111AFA95-E805-3847-89F1-327A74A9D3BA}"/>
              </a:ext>
            </a:extLst>
          </p:cNvPr>
          <p:cNvSpPr/>
          <p:nvPr/>
        </p:nvSpPr>
        <p:spPr>
          <a:xfrm>
            <a:off x="9055340" y="3049125"/>
            <a:ext cx="247818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Ускорению принятия решений  и реагирования на отклонения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09236E8C-F6C4-C645-9E3D-CBE105D86E18}"/>
              </a:ext>
            </a:extLst>
          </p:cNvPr>
          <p:cNvSpPr/>
          <p:nvPr/>
        </p:nvSpPr>
        <p:spPr>
          <a:xfrm>
            <a:off x="9055339" y="3550953"/>
            <a:ext cx="262483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Усиление эффектов продуктов и приложений </a:t>
            </a:r>
            <a:r>
              <a:rPr lang="en-US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MES</a:t>
            </a:r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, разработанных в ЦИП или самостоятельно</a:t>
            </a:r>
          </a:p>
        </p:txBody>
      </p:sp>
      <p:sp>
        <p:nvSpPr>
          <p:cNvPr id="79" name="Rectangle: Rounded Corners 28">
            <a:extLst>
              <a:ext uri="{FF2B5EF4-FFF2-40B4-BE49-F238E27FC236}">
                <a16:creationId xmlns:a16="http://schemas.microsoft.com/office/drawing/2014/main" id="{9EA19447-CED3-F44A-8787-D33B2DAE984D}"/>
              </a:ext>
            </a:extLst>
          </p:cNvPr>
          <p:cNvSpPr>
            <a:spLocks noChangeAspect="1"/>
          </p:cNvSpPr>
          <p:nvPr/>
        </p:nvSpPr>
        <p:spPr>
          <a:xfrm>
            <a:off x="3550251" y="2833578"/>
            <a:ext cx="216000" cy="216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1</a:t>
            </a:r>
            <a:endParaRPr lang="en-ID" sz="1100" dirty="0"/>
          </a:p>
        </p:txBody>
      </p:sp>
      <p:sp>
        <p:nvSpPr>
          <p:cNvPr id="80" name="Rectangle: Rounded Corners 28">
            <a:extLst>
              <a:ext uri="{FF2B5EF4-FFF2-40B4-BE49-F238E27FC236}">
                <a16:creationId xmlns:a16="http://schemas.microsoft.com/office/drawing/2014/main" id="{09B80126-8E38-284F-BFC4-EBC4B743F0D2}"/>
              </a:ext>
            </a:extLst>
          </p:cNvPr>
          <p:cNvSpPr>
            <a:spLocks noChangeAspect="1"/>
          </p:cNvSpPr>
          <p:nvPr/>
        </p:nvSpPr>
        <p:spPr>
          <a:xfrm>
            <a:off x="3550251" y="3527260"/>
            <a:ext cx="216000" cy="216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2</a:t>
            </a:r>
            <a:endParaRPr lang="en-ID" sz="1100" dirty="0"/>
          </a:p>
        </p:txBody>
      </p:sp>
      <p:sp>
        <p:nvSpPr>
          <p:cNvPr id="81" name="Rectangle: Rounded Corners 28">
            <a:extLst>
              <a:ext uri="{FF2B5EF4-FFF2-40B4-BE49-F238E27FC236}">
                <a16:creationId xmlns:a16="http://schemas.microsoft.com/office/drawing/2014/main" id="{EDF3BF85-F951-F44E-91F2-CE2DD2DE4E32}"/>
              </a:ext>
            </a:extLst>
          </p:cNvPr>
          <p:cNvSpPr>
            <a:spLocks noChangeAspect="1"/>
          </p:cNvSpPr>
          <p:nvPr/>
        </p:nvSpPr>
        <p:spPr>
          <a:xfrm>
            <a:off x="3550251" y="4220943"/>
            <a:ext cx="216000" cy="216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3</a:t>
            </a:r>
            <a:endParaRPr lang="en-ID" sz="1100" dirty="0"/>
          </a:p>
        </p:txBody>
      </p:sp>
      <p:sp>
        <p:nvSpPr>
          <p:cNvPr id="82" name="Rectangle: Rounded Corners 28">
            <a:extLst>
              <a:ext uri="{FF2B5EF4-FFF2-40B4-BE49-F238E27FC236}">
                <a16:creationId xmlns:a16="http://schemas.microsoft.com/office/drawing/2014/main" id="{DA8A29BC-A2C5-4A40-892B-8CFB6AEF1C01}"/>
              </a:ext>
            </a:extLst>
          </p:cNvPr>
          <p:cNvSpPr>
            <a:spLocks noChangeAspect="1"/>
          </p:cNvSpPr>
          <p:nvPr/>
        </p:nvSpPr>
        <p:spPr>
          <a:xfrm>
            <a:off x="3550251" y="4946157"/>
            <a:ext cx="216000" cy="216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4</a:t>
            </a:r>
            <a:endParaRPr lang="en-ID" sz="1100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9E6C9D19-69FE-724A-91E9-ABEB68087475}"/>
              </a:ext>
            </a:extLst>
          </p:cNvPr>
          <p:cNvSpPr/>
          <p:nvPr/>
        </p:nvSpPr>
        <p:spPr>
          <a:xfrm>
            <a:off x="9127130" y="5332849"/>
            <a:ext cx="240639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Увеличение исполнимости оптимального плана производства</a:t>
            </a:r>
          </a:p>
        </p:txBody>
      </p:sp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2B086FE7-7DCC-B340-B72A-854EC6B94A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27324" y="1626246"/>
            <a:ext cx="307778" cy="307778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AAF45976-35BB-D34F-94FA-2B91BCCAB8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33928" y="1626246"/>
            <a:ext cx="307778" cy="307778"/>
          </a:xfrm>
          <a:prstGeom prst="rect">
            <a:avLst/>
          </a:prstGeom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id="{9AC72562-5C0D-8C44-99A7-5ABD863B58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98710" y="1626246"/>
            <a:ext cx="307778" cy="307778"/>
          </a:xfrm>
          <a:prstGeom prst="rect">
            <a:avLst/>
          </a:prstGeom>
        </p:spPr>
      </p:pic>
      <p:grpSp>
        <p:nvGrpSpPr>
          <p:cNvPr id="88" name="Рисунок 535">
            <a:extLst>
              <a:ext uri="{FF2B5EF4-FFF2-40B4-BE49-F238E27FC236}">
                <a16:creationId xmlns:a16="http://schemas.microsoft.com/office/drawing/2014/main" id="{042C0E78-5DB8-7440-9255-6EF5F87AB13F}"/>
              </a:ext>
            </a:extLst>
          </p:cNvPr>
          <p:cNvGrpSpPr/>
          <p:nvPr/>
        </p:nvGrpSpPr>
        <p:grpSpPr>
          <a:xfrm>
            <a:off x="753283" y="1628541"/>
            <a:ext cx="219709" cy="303188"/>
            <a:chOff x="4692819" y="3292016"/>
            <a:chExt cx="326374" cy="450381"/>
          </a:xfrm>
          <a:solidFill>
            <a:schemeClr val="tx2">
              <a:lumMod val="50000"/>
            </a:schemeClr>
          </a:solidFill>
        </p:grpSpPr>
        <p:sp>
          <p:nvSpPr>
            <p:cNvPr id="89" name="Полилиния 88">
              <a:extLst>
                <a:ext uri="{FF2B5EF4-FFF2-40B4-BE49-F238E27FC236}">
                  <a16:creationId xmlns:a16="http://schemas.microsoft.com/office/drawing/2014/main" id="{31944E25-805F-324D-8080-E4E4D9E6A465}"/>
                </a:ext>
              </a:extLst>
            </p:cNvPr>
            <p:cNvSpPr/>
            <p:nvPr/>
          </p:nvSpPr>
          <p:spPr>
            <a:xfrm>
              <a:off x="4692819" y="3292016"/>
              <a:ext cx="326374" cy="450381"/>
            </a:xfrm>
            <a:custGeom>
              <a:avLst/>
              <a:gdLst>
                <a:gd name="connsiteX0" fmla="*/ 304572 w 326374"/>
                <a:gd name="connsiteY0" fmla="*/ 34985 h 450381"/>
                <a:gd name="connsiteX1" fmla="*/ 205026 w 326374"/>
                <a:gd name="connsiteY1" fmla="*/ 34985 h 450381"/>
                <a:gd name="connsiteX2" fmla="*/ 205026 w 326374"/>
                <a:gd name="connsiteY2" fmla="*/ 14218 h 450381"/>
                <a:gd name="connsiteX3" fmla="*/ 190804 w 326374"/>
                <a:gd name="connsiteY3" fmla="*/ 0 h 450381"/>
                <a:gd name="connsiteX4" fmla="*/ 135570 w 326374"/>
                <a:gd name="connsiteY4" fmla="*/ 0 h 450381"/>
                <a:gd name="connsiteX5" fmla="*/ 121348 w 326374"/>
                <a:gd name="connsiteY5" fmla="*/ 14218 h 450381"/>
                <a:gd name="connsiteX6" fmla="*/ 121348 w 326374"/>
                <a:gd name="connsiteY6" fmla="*/ 34985 h 450381"/>
                <a:gd name="connsiteX7" fmla="*/ 21802 w 326374"/>
                <a:gd name="connsiteY7" fmla="*/ 34985 h 450381"/>
                <a:gd name="connsiteX8" fmla="*/ 0 w 326374"/>
                <a:gd name="connsiteY8" fmla="*/ 56787 h 450381"/>
                <a:gd name="connsiteX9" fmla="*/ 0 w 326374"/>
                <a:gd name="connsiteY9" fmla="*/ 428584 h 450381"/>
                <a:gd name="connsiteX10" fmla="*/ 21802 w 326374"/>
                <a:gd name="connsiteY10" fmla="*/ 450382 h 450381"/>
                <a:gd name="connsiteX11" fmla="*/ 304572 w 326374"/>
                <a:gd name="connsiteY11" fmla="*/ 450382 h 450381"/>
                <a:gd name="connsiteX12" fmla="*/ 326374 w 326374"/>
                <a:gd name="connsiteY12" fmla="*/ 428584 h 450381"/>
                <a:gd name="connsiteX13" fmla="*/ 326374 w 326374"/>
                <a:gd name="connsiteY13" fmla="*/ 56787 h 450381"/>
                <a:gd name="connsiteX14" fmla="*/ 304572 w 326374"/>
                <a:gd name="connsiteY14" fmla="*/ 34985 h 450381"/>
                <a:gd name="connsiteX15" fmla="*/ 98956 w 326374"/>
                <a:gd name="connsiteY15" fmla="*/ 80476 h 450381"/>
                <a:gd name="connsiteX16" fmla="*/ 113105 w 326374"/>
                <a:gd name="connsiteY16" fmla="*/ 93822 h 450381"/>
                <a:gd name="connsiteX17" fmla="*/ 213269 w 326374"/>
                <a:gd name="connsiteY17" fmla="*/ 93822 h 450381"/>
                <a:gd name="connsiteX18" fmla="*/ 227419 w 326374"/>
                <a:gd name="connsiteY18" fmla="*/ 80476 h 450381"/>
                <a:gd name="connsiteX19" fmla="*/ 280876 w 326374"/>
                <a:gd name="connsiteY19" fmla="*/ 80476 h 450381"/>
                <a:gd name="connsiteX20" fmla="*/ 280876 w 326374"/>
                <a:gd name="connsiteY20" fmla="*/ 404880 h 450381"/>
                <a:gd name="connsiteX21" fmla="*/ 45494 w 326374"/>
                <a:gd name="connsiteY21" fmla="*/ 404880 h 450381"/>
                <a:gd name="connsiteX22" fmla="*/ 45494 w 326374"/>
                <a:gd name="connsiteY22" fmla="*/ 80476 h 450381"/>
                <a:gd name="connsiteX23" fmla="*/ 214246 w 326374"/>
                <a:gd name="connsiteY23" fmla="*/ 79578 h 450381"/>
                <a:gd name="connsiteX24" fmla="*/ 213269 w 326374"/>
                <a:gd name="connsiteY24" fmla="*/ 80563 h 450381"/>
                <a:gd name="connsiteX25" fmla="*/ 213269 w 326374"/>
                <a:gd name="connsiteY25" fmla="*/ 80563 h 450381"/>
                <a:gd name="connsiteX26" fmla="*/ 113105 w 326374"/>
                <a:gd name="connsiteY26" fmla="*/ 80563 h 450381"/>
                <a:gd name="connsiteX27" fmla="*/ 112124 w 326374"/>
                <a:gd name="connsiteY27" fmla="*/ 79578 h 450381"/>
                <a:gd name="connsiteX28" fmla="*/ 112124 w 326374"/>
                <a:gd name="connsiteY28" fmla="*/ 48245 h 450381"/>
                <a:gd name="connsiteX29" fmla="*/ 214246 w 326374"/>
                <a:gd name="connsiteY29" fmla="*/ 48245 h 450381"/>
                <a:gd name="connsiteX30" fmla="*/ 134608 w 326374"/>
                <a:gd name="connsiteY30" fmla="*/ 14218 h 450381"/>
                <a:gd name="connsiteX31" fmla="*/ 135570 w 326374"/>
                <a:gd name="connsiteY31" fmla="*/ 13259 h 450381"/>
                <a:gd name="connsiteX32" fmla="*/ 190804 w 326374"/>
                <a:gd name="connsiteY32" fmla="*/ 13259 h 450381"/>
                <a:gd name="connsiteX33" fmla="*/ 191766 w 326374"/>
                <a:gd name="connsiteY33" fmla="*/ 14218 h 450381"/>
                <a:gd name="connsiteX34" fmla="*/ 191766 w 326374"/>
                <a:gd name="connsiteY34" fmla="*/ 34985 h 450381"/>
                <a:gd name="connsiteX35" fmla="*/ 134608 w 326374"/>
                <a:gd name="connsiteY35" fmla="*/ 34985 h 450381"/>
                <a:gd name="connsiteX36" fmla="*/ 313115 w 326374"/>
                <a:gd name="connsiteY36" fmla="*/ 428584 h 450381"/>
                <a:gd name="connsiteX37" fmla="*/ 304572 w 326374"/>
                <a:gd name="connsiteY37" fmla="*/ 437123 h 450381"/>
                <a:gd name="connsiteX38" fmla="*/ 21802 w 326374"/>
                <a:gd name="connsiteY38" fmla="*/ 437123 h 450381"/>
                <a:gd name="connsiteX39" fmla="*/ 13259 w 326374"/>
                <a:gd name="connsiteY39" fmla="*/ 428584 h 450381"/>
                <a:gd name="connsiteX40" fmla="*/ 13259 w 326374"/>
                <a:gd name="connsiteY40" fmla="*/ 56787 h 450381"/>
                <a:gd name="connsiteX41" fmla="*/ 21802 w 326374"/>
                <a:gd name="connsiteY41" fmla="*/ 48245 h 450381"/>
                <a:gd name="connsiteX42" fmla="*/ 98865 w 326374"/>
                <a:gd name="connsiteY42" fmla="*/ 48245 h 450381"/>
                <a:gd name="connsiteX43" fmla="*/ 98865 w 326374"/>
                <a:gd name="connsiteY43" fmla="*/ 67217 h 450381"/>
                <a:gd name="connsiteX44" fmla="*/ 38865 w 326374"/>
                <a:gd name="connsiteY44" fmla="*/ 67217 h 450381"/>
                <a:gd name="connsiteX45" fmla="*/ 32235 w 326374"/>
                <a:gd name="connsiteY45" fmla="*/ 73839 h 450381"/>
                <a:gd name="connsiteX46" fmla="*/ 32235 w 326374"/>
                <a:gd name="connsiteY46" fmla="*/ 73846 h 450381"/>
                <a:gd name="connsiteX47" fmla="*/ 32235 w 326374"/>
                <a:gd name="connsiteY47" fmla="*/ 411510 h 450381"/>
                <a:gd name="connsiteX48" fmla="*/ 38865 w 326374"/>
                <a:gd name="connsiteY48" fmla="*/ 418139 h 450381"/>
                <a:gd name="connsiteX49" fmla="*/ 287506 w 326374"/>
                <a:gd name="connsiteY49" fmla="*/ 418139 h 450381"/>
                <a:gd name="connsiteX50" fmla="*/ 294135 w 326374"/>
                <a:gd name="connsiteY50" fmla="*/ 411510 h 450381"/>
                <a:gd name="connsiteX51" fmla="*/ 294135 w 326374"/>
                <a:gd name="connsiteY51" fmla="*/ 73854 h 450381"/>
                <a:gd name="connsiteX52" fmla="*/ 287513 w 326374"/>
                <a:gd name="connsiteY52" fmla="*/ 67224 h 450381"/>
                <a:gd name="connsiteX53" fmla="*/ 287506 w 326374"/>
                <a:gd name="connsiteY53" fmla="*/ 67224 h 450381"/>
                <a:gd name="connsiteX54" fmla="*/ 227506 w 326374"/>
                <a:gd name="connsiteY54" fmla="*/ 67224 h 450381"/>
                <a:gd name="connsiteX55" fmla="*/ 227506 w 326374"/>
                <a:gd name="connsiteY55" fmla="*/ 48245 h 450381"/>
                <a:gd name="connsiteX56" fmla="*/ 304572 w 326374"/>
                <a:gd name="connsiteY56" fmla="*/ 48245 h 450381"/>
                <a:gd name="connsiteX57" fmla="*/ 313115 w 326374"/>
                <a:gd name="connsiteY57" fmla="*/ 56787 h 450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26374" h="450381">
                  <a:moveTo>
                    <a:pt x="304572" y="34985"/>
                  </a:moveTo>
                  <a:lnTo>
                    <a:pt x="205026" y="34985"/>
                  </a:lnTo>
                  <a:lnTo>
                    <a:pt x="205026" y="14218"/>
                  </a:lnTo>
                  <a:cubicBezTo>
                    <a:pt x="205017" y="6367"/>
                    <a:pt x="198654" y="6"/>
                    <a:pt x="190804" y="0"/>
                  </a:cubicBezTo>
                  <a:lnTo>
                    <a:pt x="135570" y="0"/>
                  </a:lnTo>
                  <a:cubicBezTo>
                    <a:pt x="127720" y="6"/>
                    <a:pt x="121357" y="6367"/>
                    <a:pt x="121348" y="14218"/>
                  </a:cubicBezTo>
                  <a:lnTo>
                    <a:pt x="121348" y="34985"/>
                  </a:lnTo>
                  <a:lnTo>
                    <a:pt x="21802" y="34985"/>
                  </a:lnTo>
                  <a:cubicBezTo>
                    <a:pt x="9767" y="35000"/>
                    <a:pt x="15" y="44753"/>
                    <a:pt x="0" y="56787"/>
                  </a:cubicBezTo>
                  <a:lnTo>
                    <a:pt x="0" y="428584"/>
                  </a:lnTo>
                  <a:cubicBezTo>
                    <a:pt x="17" y="440616"/>
                    <a:pt x="9769" y="450367"/>
                    <a:pt x="21802" y="450382"/>
                  </a:cubicBezTo>
                  <a:lnTo>
                    <a:pt x="304572" y="450382"/>
                  </a:lnTo>
                  <a:cubicBezTo>
                    <a:pt x="316604" y="450367"/>
                    <a:pt x="326359" y="440616"/>
                    <a:pt x="326374" y="428584"/>
                  </a:cubicBezTo>
                  <a:lnTo>
                    <a:pt x="326374" y="56787"/>
                  </a:lnTo>
                  <a:cubicBezTo>
                    <a:pt x="326359" y="44753"/>
                    <a:pt x="316608" y="35000"/>
                    <a:pt x="304572" y="34985"/>
                  </a:cubicBezTo>
                  <a:close/>
                  <a:moveTo>
                    <a:pt x="98956" y="80476"/>
                  </a:moveTo>
                  <a:cubicBezTo>
                    <a:pt x="99417" y="87959"/>
                    <a:pt x="105608" y="93798"/>
                    <a:pt x="113105" y="93822"/>
                  </a:cubicBezTo>
                  <a:lnTo>
                    <a:pt x="213269" y="93822"/>
                  </a:lnTo>
                  <a:cubicBezTo>
                    <a:pt x="220766" y="93798"/>
                    <a:pt x="226957" y="87959"/>
                    <a:pt x="227419" y="80476"/>
                  </a:cubicBezTo>
                  <a:lnTo>
                    <a:pt x="280876" y="80476"/>
                  </a:lnTo>
                  <a:lnTo>
                    <a:pt x="280876" y="404880"/>
                  </a:lnTo>
                  <a:lnTo>
                    <a:pt x="45494" y="404880"/>
                  </a:lnTo>
                  <a:lnTo>
                    <a:pt x="45494" y="80476"/>
                  </a:lnTo>
                  <a:close/>
                  <a:moveTo>
                    <a:pt x="214246" y="79578"/>
                  </a:moveTo>
                  <a:cubicBezTo>
                    <a:pt x="214249" y="80120"/>
                    <a:pt x="213811" y="80561"/>
                    <a:pt x="213269" y="80563"/>
                  </a:cubicBezTo>
                  <a:cubicBezTo>
                    <a:pt x="213269" y="80563"/>
                    <a:pt x="213269" y="80563"/>
                    <a:pt x="213269" y="80563"/>
                  </a:cubicBezTo>
                  <a:lnTo>
                    <a:pt x="113105" y="80563"/>
                  </a:lnTo>
                  <a:cubicBezTo>
                    <a:pt x="112563" y="80561"/>
                    <a:pt x="112124" y="80121"/>
                    <a:pt x="112124" y="79578"/>
                  </a:cubicBezTo>
                  <a:lnTo>
                    <a:pt x="112124" y="48245"/>
                  </a:lnTo>
                  <a:lnTo>
                    <a:pt x="214246" y="48245"/>
                  </a:lnTo>
                  <a:close/>
                  <a:moveTo>
                    <a:pt x="134608" y="14218"/>
                  </a:moveTo>
                  <a:cubicBezTo>
                    <a:pt x="134610" y="13688"/>
                    <a:pt x="135040" y="13259"/>
                    <a:pt x="135570" y="13259"/>
                  </a:cubicBezTo>
                  <a:lnTo>
                    <a:pt x="190804" y="13259"/>
                  </a:lnTo>
                  <a:cubicBezTo>
                    <a:pt x="191334" y="13259"/>
                    <a:pt x="191764" y="13688"/>
                    <a:pt x="191766" y="14218"/>
                  </a:cubicBezTo>
                  <a:lnTo>
                    <a:pt x="191766" y="34985"/>
                  </a:lnTo>
                  <a:lnTo>
                    <a:pt x="134608" y="34985"/>
                  </a:lnTo>
                  <a:close/>
                  <a:moveTo>
                    <a:pt x="313115" y="428584"/>
                  </a:moveTo>
                  <a:cubicBezTo>
                    <a:pt x="313107" y="433300"/>
                    <a:pt x="309289" y="437119"/>
                    <a:pt x="304572" y="437123"/>
                  </a:cubicBezTo>
                  <a:lnTo>
                    <a:pt x="21802" y="437123"/>
                  </a:lnTo>
                  <a:cubicBezTo>
                    <a:pt x="17087" y="437119"/>
                    <a:pt x="13266" y="433300"/>
                    <a:pt x="13259" y="428584"/>
                  </a:cubicBezTo>
                  <a:lnTo>
                    <a:pt x="13259" y="56787"/>
                  </a:lnTo>
                  <a:cubicBezTo>
                    <a:pt x="13263" y="52071"/>
                    <a:pt x="17086" y="48249"/>
                    <a:pt x="21802" y="48245"/>
                  </a:cubicBezTo>
                  <a:lnTo>
                    <a:pt x="98865" y="48245"/>
                  </a:lnTo>
                  <a:lnTo>
                    <a:pt x="98865" y="67217"/>
                  </a:lnTo>
                  <a:lnTo>
                    <a:pt x="38865" y="67217"/>
                  </a:lnTo>
                  <a:cubicBezTo>
                    <a:pt x="35206" y="67214"/>
                    <a:pt x="32237" y="70180"/>
                    <a:pt x="32235" y="73839"/>
                  </a:cubicBezTo>
                  <a:cubicBezTo>
                    <a:pt x="32235" y="73841"/>
                    <a:pt x="32235" y="73844"/>
                    <a:pt x="32235" y="73846"/>
                  </a:cubicBezTo>
                  <a:lnTo>
                    <a:pt x="32235" y="411510"/>
                  </a:lnTo>
                  <a:cubicBezTo>
                    <a:pt x="32235" y="415169"/>
                    <a:pt x="35203" y="418139"/>
                    <a:pt x="38865" y="418139"/>
                  </a:cubicBezTo>
                  <a:lnTo>
                    <a:pt x="287506" y="418139"/>
                  </a:lnTo>
                  <a:cubicBezTo>
                    <a:pt x="291167" y="418139"/>
                    <a:pt x="294135" y="415169"/>
                    <a:pt x="294135" y="411510"/>
                  </a:cubicBezTo>
                  <a:lnTo>
                    <a:pt x="294135" y="73854"/>
                  </a:lnTo>
                  <a:cubicBezTo>
                    <a:pt x="294137" y="70195"/>
                    <a:pt x="291173" y="67227"/>
                    <a:pt x="287513" y="67224"/>
                  </a:cubicBezTo>
                  <a:cubicBezTo>
                    <a:pt x="287511" y="67224"/>
                    <a:pt x="287508" y="67224"/>
                    <a:pt x="287506" y="67224"/>
                  </a:cubicBezTo>
                  <a:lnTo>
                    <a:pt x="227506" y="67224"/>
                  </a:lnTo>
                  <a:lnTo>
                    <a:pt x="227506" y="48245"/>
                  </a:lnTo>
                  <a:lnTo>
                    <a:pt x="304572" y="48245"/>
                  </a:lnTo>
                  <a:cubicBezTo>
                    <a:pt x="309289" y="48251"/>
                    <a:pt x="313107" y="52072"/>
                    <a:pt x="313115" y="56787"/>
                  </a:cubicBezTo>
                  <a:close/>
                </a:path>
              </a:pathLst>
            </a:custGeom>
            <a:grpFill/>
            <a:ln w="37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ES">
                <a:latin typeface="Tahoma" panose="020B0604030504040204" pitchFamily="34" charset="0"/>
              </a:endParaRPr>
            </a:p>
          </p:txBody>
        </p:sp>
        <p:sp>
          <p:nvSpPr>
            <p:cNvPr id="90" name="Полилиния 89">
              <a:extLst>
                <a:ext uri="{FF2B5EF4-FFF2-40B4-BE49-F238E27FC236}">
                  <a16:creationId xmlns:a16="http://schemas.microsoft.com/office/drawing/2014/main" id="{140574E5-ADC0-8546-A0B7-AF16F28214C9}"/>
                </a:ext>
              </a:extLst>
            </p:cNvPr>
            <p:cNvSpPr/>
            <p:nvPr/>
          </p:nvSpPr>
          <p:spPr>
            <a:xfrm>
              <a:off x="4770041" y="3608692"/>
              <a:ext cx="171930" cy="13259"/>
            </a:xfrm>
            <a:custGeom>
              <a:avLst/>
              <a:gdLst>
                <a:gd name="connsiteX0" fmla="*/ 6630 w 171930"/>
                <a:gd name="connsiteY0" fmla="*/ 13259 h 13259"/>
                <a:gd name="connsiteX1" fmla="*/ 165301 w 171930"/>
                <a:gd name="connsiteY1" fmla="*/ 13259 h 13259"/>
                <a:gd name="connsiteX2" fmla="*/ 171931 w 171930"/>
                <a:gd name="connsiteY2" fmla="*/ 6630 h 13259"/>
                <a:gd name="connsiteX3" fmla="*/ 165301 w 171930"/>
                <a:gd name="connsiteY3" fmla="*/ 0 h 13259"/>
                <a:gd name="connsiteX4" fmla="*/ 6630 w 171930"/>
                <a:gd name="connsiteY4" fmla="*/ 0 h 13259"/>
                <a:gd name="connsiteX5" fmla="*/ 0 w 171930"/>
                <a:gd name="connsiteY5" fmla="*/ 6630 h 13259"/>
                <a:gd name="connsiteX6" fmla="*/ 6630 w 171930"/>
                <a:gd name="connsiteY6" fmla="*/ 13259 h 1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930" h="13259">
                  <a:moveTo>
                    <a:pt x="6630" y="13259"/>
                  </a:moveTo>
                  <a:lnTo>
                    <a:pt x="165301" y="13259"/>
                  </a:lnTo>
                  <a:cubicBezTo>
                    <a:pt x="168962" y="13259"/>
                    <a:pt x="171931" y="10291"/>
                    <a:pt x="171931" y="6630"/>
                  </a:cubicBezTo>
                  <a:cubicBezTo>
                    <a:pt x="171931" y="2968"/>
                    <a:pt x="168962" y="0"/>
                    <a:pt x="165301" y="0"/>
                  </a:cubicBezTo>
                  <a:lnTo>
                    <a:pt x="6630" y="0"/>
                  </a:lnTo>
                  <a:cubicBezTo>
                    <a:pt x="2968" y="0"/>
                    <a:pt x="0" y="2968"/>
                    <a:pt x="0" y="6630"/>
                  </a:cubicBezTo>
                  <a:cubicBezTo>
                    <a:pt x="0" y="10291"/>
                    <a:pt x="2968" y="13259"/>
                    <a:pt x="6630" y="13259"/>
                  </a:cubicBezTo>
                  <a:close/>
                </a:path>
              </a:pathLst>
            </a:custGeom>
            <a:grpFill/>
            <a:ln w="37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ES">
                <a:latin typeface="Tahoma" panose="020B0604030504040204" pitchFamily="34" charset="0"/>
              </a:endParaRPr>
            </a:p>
          </p:txBody>
        </p:sp>
        <p:sp>
          <p:nvSpPr>
            <p:cNvPr id="91" name="Полилиния 90">
              <a:extLst>
                <a:ext uri="{FF2B5EF4-FFF2-40B4-BE49-F238E27FC236}">
                  <a16:creationId xmlns:a16="http://schemas.microsoft.com/office/drawing/2014/main" id="{DF49991B-FC3F-4A4D-BEC4-60CD912D8A54}"/>
                </a:ext>
              </a:extLst>
            </p:cNvPr>
            <p:cNvSpPr/>
            <p:nvPr/>
          </p:nvSpPr>
          <p:spPr>
            <a:xfrm>
              <a:off x="4770041" y="3565467"/>
              <a:ext cx="171930" cy="13259"/>
            </a:xfrm>
            <a:custGeom>
              <a:avLst/>
              <a:gdLst>
                <a:gd name="connsiteX0" fmla="*/ 6630 w 171930"/>
                <a:gd name="connsiteY0" fmla="*/ 13259 h 13259"/>
                <a:gd name="connsiteX1" fmla="*/ 165301 w 171930"/>
                <a:gd name="connsiteY1" fmla="*/ 13259 h 13259"/>
                <a:gd name="connsiteX2" fmla="*/ 171931 w 171930"/>
                <a:gd name="connsiteY2" fmla="*/ 6630 h 13259"/>
                <a:gd name="connsiteX3" fmla="*/ 165301 w 171930"/>
                <a:gd name="connsiteY3" fmla="*/ 0 h 13259"/>
                <a:gd name="connsiteX4" fmla="*/ 6630 w 171930"/>
                <a:gd name="connsiteY4" fmla="*/ 0 h 13259"/>
                <a:gd name="connsiteX5" fmla="*/ 0 w 171930"/>
                <a:gd name="connsiteY5" fmla="*/ 6630 h 13259"/>
                <a:gd name="connsiteX6" fmla="*/ 6630 w 171930"/>
                <a:gd name="connsiteY6" fmla="*/ 13259 h 1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930" h="13259">
                  <a:moveTo>
                    <a:pt x="6630" y="13259"/>
                  </a:moveTo>
                  <a:lnTo>
                    <a:pt x="165301" y="13259"/>
                  </a:lnTo>
                  <a:cubicBezTo>
                    <a:pt x="168962" y="13259"/>
                    <a:pt x="171931" y="10291"/>
                    <a:pt x="171931" y="6630"/>
                  </a:cubicBezTo>
                  <a:cubicBezTo>
                    <a:pt x="171931" y="2968"/>
                    <a:pt x="168962" y="0"/>
                    <a:pt x="165301" y="0"/>
                  </a:cubicBezTo>
                  <a:lnTo>
                    <a:pt x="6630" y="0"/>
                  </a:lnTo>
                  <a:cubicBezTo>
                    <a:pt x="2968" y="0"/>
                    <a:pt x="0" y="2968"/>
                    <a:pt x="0" y="6630"/>
                  </a:cubicBezTo>
                  <a:cubicBezTo>
                    <a:pt x="0" y="10291"/>
                    <a:pt x="2968" y="13259"/>
                    <a:pt x="6630" y="13259"/>
                  </a:cubicBezTo>
                  <a:close/>
                </a:path>
              </a:pathLst>
            </a:custGeom>
            <a:grpFill/>
            <a:ln w="37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ES">
                <a:latin typeface="Tahoma" panose="020B0604030504040204" pitchFamily="34" charset="0"/>
              </a:endParaRPr>
            </a:p>
          </p:txBody>
        </p:sp>
        <p:sp>
          <p:nvSpPr>
            <p:cNvPr id="92" name="Полилиния 91">
              <a:extLst>
                <a:ext uri="{FF2B5EF4-FFF2-40B4-BE49-F238E27FC236}">
                  <a16:creationId xmlns:a16="http://schemas.microsoft.com/office/drawing/2014/main" id="{A0FFB812-4EC3-9540-8C9A-1C38F644D32C}"/>
                </a:ext>
              </a:extLst>
            </p:cNvPr>
            <p:cNvSpPr/>
            <p:nvPr/>
          </p:nvSpPr>
          <p:spPr>
            <a:xfrm>
              <a:off x="4770041" y="3522242"/>
              <a:ext cx="171930" cy="13259"/>
            </a:xfrm>
            <a:custGeom>
              <a:avLst/>
              <a:gdLst>
                <a:gd name="connsiteX0" fmla="*/ 6630 w 171930"/>
                <a:gd name="connsiteY0" fmla="*/ 13259 h 13259"/>
                <a:gd name="connsiteX1" fmla="*/ 165301 w 171930"/>
                <a:gd name="connsiteY1" fmla="*/ 13259 h 13259"/>
                <a:gd name="connsiteX2" fmla="*/ 171931 w 171930"/>
                <a:gd name="connsiteY2" fmla="*/ 6630 h 13259"/>
                <a:gd name="connsiteX3" fmla="*/ 165301 w 171930"/>
                <a:gd name="connsiteY3" fmla="*/ 0 h 13259"/>
                <a:gd name="connsiteX4" fmla="*/ 6630 w 171930"/>
                <a:gd name="connsiteY4" fmla="*/ 0 h 13259"/>
                <a:gd name="connsiteX5" fmla="*/ 0 w 171930"/>
                <a:gd name="connsiteY5" fmla="*/ 6630 h 13259"/>
                <a:gd name="connsiteX6" fmla="*/ 6630 w 171930"/>
                <a:gd name="connsiteY6" fmla="*/ 13259 h 1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930" h="13259">
                  <a:moveTo>
                    <a:pt x="6630" y="13259"/>
                  </a:moveTo>
                  <a:lnTo>
                    <a:pt x="165301" y="13259"/>
                  </a:lnTo>
                  <a:cubicBezTo>
                    <a:pt x="168962" y="13259"/>
                    <a:pt x="171931" y="10291"/>
                    <a:pt x="171931" y="6630"/>
                  </a:cubicBezTo>
                  <a:cubicBezTo>
                    <a:pt x="171931" y="2968"/>
                    <a:pt x="168962" y="0"/>
                    <a:pt x="165301" y="0"/>
                  </a:cubicBezTo>
                  <a:lnTo>
                    <a:pt x="6630" y="0"/>
                  </a:lnTo>
                  <a:cubicBezTo>
                    <a:pt x="2968" y="0"/>
                    <a:pt x="0" y="2968"/>
                    <a:pt x="0" y="6630"/>
                  </a:cubicBezTo>
                  <a:cubicBezTo>
                    <a:pt x="0" y="10291"/>
                    <a:pt x="2968" y="13259"/>
                    <a:pt x="6630" y="13259"/>
                  </a:cubicBezTo>
                  <a:close/>
                </a:path>
              </a:pathLst>
            </a:custGeom>
            <a:grpFill/>
            <a:ln w="37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ES">
                <a:latin typeface="Tahoma" panose="020B0604030504040204" pitchFamily="34" charset="0"/>
              </a:endParaRPr>
            </a:p>
          </p:txBody>
        </p:sp>
        <p:sp>
          <p:nvSpPr>
            <p:cNvPr id="93" name="Полилиния 92">
              <a:extLst>
                <a:ext uri="{FF2B5EF4-FFF2-40B4-BE49-F238E27FC236}">
                  <a16:creationId xmlns:a16="http://schemas.microsoft.com/office/drawing/2014/main" id="{E723761A-0DA2-1442-AB11-56E22A569ADB}"/>
                </a:ext>
              </a:extLst>
            </p:cNvPr>
            <p:cNvSpPr/>
            <p:nvPr/>
          </p:nvSpPr>
          <p:spPr>
            <a:xfrm>
              <a:off x="4770041" y="3651921"/>
              <a:ext cx="171930" cy="13259"/>
            </a:xfrm>
            <a:custGeom>
              <a:avLst/>
              <a:gdLst>
                <a:gd name="connsiteX0" fmla="*/ 6630 w 171930"/>
                <a:gd name="connsiteY0" fmla="*/ 13259 h 13259"/>
                <a:gd name="connsiteX1" fmla="*/ 165301 w 171930"/>
                <a:gd name="connsiteY1" fmla="*/ 13259 h 13259"/>
                <a:gd name="connsiteX2" fmla="*/ 171931 w 171930"/>
                <a:gd name="connsiteY2" fmla="*/ 6630 h 13259"/>
                <a:gd name="connsiteX3" fmla="*/ 165301 w 171930"/>
                <a:gd name="connsiteY3" fmla="*/ 0 h 13259"/>
                <a:gd name="connsiteX4" fmla="*/ 6630 w 171930"/>
                <a:gd name="connsiteY4" fmla="*/ 0 h 13259"/>
                <a:gd name="connsiteX5" fmla="*/ 0 w 171930"/>
                <a:gd name="connsiteY5" fmla="*/ 6630 h 13259"/>
                <a:gd name="connsiteX6" fmla="*/ 6630 w 171930"/>
                <a:gd name="connsiteY6" fmla="*/ 13259 h 1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930" h="13259">
                  <a:moveTo>
                    <a:pt x="6630" y="13259"/>
                  </a:moveTo>
                  <a:lnTo>
                    <a:pt x="165301" y="13259"/>
                  </a:lnTo>
                  <a:cubicBezTo>
                    <a:pt x="168962" y="13259"/>
                    <a:pt x="171931" y="10289"/>
                    <a:pt x="171931" y="6630"/>
                  </a:cubicBezTo>
                  <a:cubicBezTo>
                    <a:pt x="171931" y="2966"/>
                    <a:pt x="168962" y="0"/>
                    <a:pt x="165301" y="0"/>
                  </a:cubicBezTo>
                  <a:lnTo>
                    <a:pt x="6630" y="0"/>
                  </a:lnTo>
                  <a:cubicBezTo>
                    <a:pt x="2968" y="0"/>
                    <a:pt x="0" y="2966"/>
                    <a:pt x="0" y="6630"/>
                  </a:cubicBezTo>
                  <a:cubicBezTo>
                    <a:pt x="0" y="10289"/>
                    <a:pt x="2968" y="13259"/>
                    <a:pt x="6630" y="13259"/>
                  </a:cubicBezTo>
                  <a:close/>
                </a:path>
              </a:pathLst>
            </a:custGeom>
            <a:grpFill/>
            <a:ln w="37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ES">
                <a:latin typeface="Tahoma" panose="020B0604030504040204" pitchFamily="34" charset="0"/>
              </a:endParaRPr>
            </a:p>
          </p:txBody>
        </p:sp>
        <p:sp>
          <p:nvSpPr>
            <p:cNvPr id="94" name="Полилиния 93">
              <a:extLst>
                <a:ext uri="{FF2B5EF4-FFF2-40B4-BE49-F238E27FC236}">
                  <a16:creationId xmlns:a16="http://schemas.microsoft.com/office/drawing/2014/main" id="{DD63E99B-CD35-D843-B9D9-83E47807832C}"/>
                </a:ext>
              </a:extLst>
            </p:cNvPr>
            <p:cNvSpPr/>
            <p:nvPr/>
          </p:nvSpPr>
          <p:spPr>
            <a:xfrm>
              <a:off x="4770041" y="3404221"/>
              <a:ext cx="171945" cy="88054"/>
            </a:xfrm>
            <a:custGeom>
              <a:avLst/>
              <a:gdLst>
                <a:gd name="connsiteX0" fmla="*/ 6630 w 171945"/>
                <a:gd name="connsiteY0" fmla="*/ 50656 h 88054"/>
                <a:gd name="connsiteX1" fmla="*/ 26772 w 171945"/>
                <a:gd name="connsiteY1" fmla="*/ 50656 h 88054"/>
                <a:gd name="connsiteX2" fmla="*/ 32966 w 171945"/>
                <a:gd name="connsiteY2" fmla="*/ 46394 h 88054"/>
                <a:gd name="connsiteX3" fmla="*/ 40247 w 171945"/>
                <a:gd name="connsiteY3" fmla="*/ 27347 h 88054"/>
                <a:gd name="connsiteX4" fmla="*/ 56693 w 171945"/>
                <a:gd name="connsiteY4" fmla="*/ 83293 h 88054"/>
                <a:gd name="connsiteX5" fmla="*/ 63053 w 171945"/>
                <a:gd name="connsiteY5" fmla="*/ 88055 h 88054"/>
                <a:gd name="connsiteX6" fmla="*/ 63084 w 171945"/>
                <a:gd name="connsiteY6" fmla="*/ 88055 h 88054"/>
                <a:gd name="connsiteX7" fmla="*/ 69433 w 171945"/>
                <a:gd name="connsiteY7" fmla="*/ 83236 h 88054"/>
                <a:gd name="connsiteX8" fmla="*/ 78676 w 171945"/>
                <a:gd name="connsiteY8" fmla="*/ 50656 h 88054"/>
                <a:gd name="connsiteX9" fmla="*/ 98262 w 171945"/>
                <a:gd name="connsiteY9" fmla="*/ 50656 h 88054"/>
                <a:gd name="connsiteX10" fmla="*/ 104642 w 171945"/>
                <a:gd name="connsiteY10" fmla="*/ 45834 h 88054"/>
                <a:gd name="connsiteX11" fmla="*/ 108987 w 171945"/>
                <a:gd name="connsiteY11" fmla="*/ 30517 h 88054"/>
                <a:gd name="connsiteX12" fmla="*/ 124519 w 171945"/>
                <a:gd name="connsiteY12" fmla="*/ 83293 h 88054"/>
                <a:gd name="connsiteX13" fmla="*/ 130615 w 171945"/>
                <a:gd name="connsiteY13" fmla="*/ 88051 h 88054"/>
                <a:gd name="connsiteX14" fmla="*/ 130880 w 171945"/>
                <a:gd name="connsiteY14" fmla="*/ 88051 h 88054"/>
                <a:gd name="connsiteX15" fmla="*/ 137070 w 171945"/>
                <a:gd name="connsiteY15" fmla="*/ 83789 h 88054"/>
                <a:gd name="connsiteX16" fmla="*/ 149735 w 171945"/>
                <a:gd name="connsiteY16" fmla="*/ 50653 h 88054"/>
                <a:gd name="connsiteX17" fmla="*/ 165316 w 171945"/>
                <a:gd name="connsiteY17" fmla="*/ 50653 h 88054"/>
                <a:gd name="connsiteX18" fmla="*/ 171946 w 171945"/>
                <a:gd name="connsiteY18" fmla="*/ 44023 h 88054"/>
                <a:gd name="connsiteX19" fmla="*/ 165316 w 171945"/>
                <a:gd name="connsiteY19" fmla="*/ 37393 h 88054"/>
                <a:gd name="connsiteX20" fmla="*/ 145158 w 171945"/>
                <a:gd name="connsiteY20" fmla="*/ 37393 h 88054"/>
                <a:gd name="connsiteX21" fmla="*/ 138964 w 171945"/>
                <a:gd name="connsiteY21" fmla="*/ 41655 h 88054"/>
                <a:gd name="connsiteX22" fmla="*/ 131683 w 171945"/>
                <a:gd name="connsiteY22" fmla="*/ 60707 h 88054"/>
                <a:gd name="connsiteX23" fmla="*/ 115238 w 171945"/>
                <a:gd name="connsiteY23" fmla="*/ 4764 h 88054"/>
                <a:gd name="connsiteX24" fmla="*/ 108877 w 171945"/>
                <a:gd name="connsiteY24" fmla="*/ 2 h 88054"/>
                <a:gd name="connsiteX25" fmla="*/ 108847 w 171945"/>
                <a:gd name="connsiteY25" fmla="*/ 2 h 88054"/>
                <a:gd name="connsiteX26" fmla="*/ 102498 w 171945"/>
                <a:gd name="connsiteY26" fmla="*/ 4821 h 88054"/>
                <a:gd name="connsiteX27" fmla="*/ 93254 w 171945"/>
                <a:gd name="connsiteY27" fmla="*/ 37401 h 88054"/>
                <a:gd name="connsiteX28" fmla="*/ 73668 w 171945"/>
                <a:gd name="connsiteY28" fmla="*/ 37401 h 88054"/>
                <a:gd name="connsiteX29" fmla="*/ 67289 w 171945"/>
                <a:gd name="connsiteY29" fmla="*/ 42220 h 88054"/>
                <a:gd name="connsiteX30" fmla="*/ 62943 w 171945"/>
                <a:gd name="connsiteY30" fmla="*/ 57540 h 88054"/>
                <a:gd name="connsiteX31" fmla="*/ 47411 w 171945"/>
                <a:gd name="connsiteY31" fmla="*/ 4768 h 88054"/>
                <a:gd name="connsiteX32" fmla="*/ 41316 w 171945"/>
                <a:gd name="connsiteY32" fmla="*/ 10 h 88054"/>
                <a:gd name="connsiteX33" fmla="*/ 34876 w 171945"/>
                <a:gd name="connsiteY33" fmla="*/ 4268 h 88054"/>
                <a:gd name="connsiteX34" fmla="*/ 22211 w 171945"/>
                <a:gd name="connsiteY34" fmla="*/ 37401 h 88054"/>
                <a:gd name="connsiteX35" fmla="*/ 6630 w 171945"/>
                <a:gd name="connsiteY35" fmla="*/ 37401 h 88054"/>
                <a:gd name="connsiteX36" fmla="*/ 0 w 171945"/>
                <a:gd name="connsiteY36" fmla="*/ 44031 h 88054"/>
                <a:gd name="connsiteX37" fmla="*/ 6630 w 171945"/>
                <a:gd name="connsiteY37" fmla="*/ 50660 h 88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71945" h="88054">
                  <a:moveTo>
                    <a:pt x="6630" y="50656"/>
                  </a:moveTo>
                  <a:lnTo>
                    <a:pt x="26772" y="50656"/>
                  </a:lnTo>
                  <a:cubicBezTo>
                    <a:pt x="29521" y="50658"/>
                    <a:pt x="31985" y="48962"/>
                    <a:pt x="32966" y="46394"/>
                  </a:cubicBezTo>
                  <a:lnTo>
                    <a:pt x="40247" y="27347"/>
                  </a:lnTo>
                  <a:lnTo>
                    <a:pt x="56693" y="83293"/>
                  </a:lnTo>
                  <a:cubicBezTo>
                    <a:pt x="57523" y="86115"/>
                    <a:pt x="60112" y="88053"/>
                    <a:pt x="63053" y="88055"/>
                  </a:cubicBezTo>
                  <a:lnTo>
                    <a:pt x="63084" y="88055"/>
                  </a:lnTo>
                  <a:cubicBezTo>
                    <a:pt x="66037" y="88041"/>
                    <a:pt x="68625" y="86077"/>
                    <a:pt x="69433" y="83236"/>
                  </a:cubicBezTo>
                  <a:lnTo>
                    <a:pt x="78676" y="50656"/>
                  </a:lnTo>
                  <a:lnTo>
                    <a:pt x="98262" y="50656"/>
                  </a:lnTo>
                  <a:cubicBezTo>
                    <a:pt x="101227" y="50654"/>
                    <a:pt x="103831" y="48686"/>
                    <a:pt x="104642" y="45834"/>
                  </a:cubicBezTo>
                  <a:lnTo>
                    <a:pt x="108987" y="30517"/>
                  </a:lnTo>
                  <a:lnTo>
                    <a:pt x="124519" y="83293"/>
                  </a:lnTo>
                  <a:cubicBezTo>
                    <a:pt x="125320" y="86023"/>
                    <a:pt x="127773" y="87937"/>
                    <a:pt x="130615" y="88051"/>
                  </a:cubicBezTo>
                  <a:lnTo>
                    <a:pt x="130880" y="88051"/>
                  </a:lnTo>
                  <a:cubicBezTo>
                    <a:pt x="133627" y="88051"/>
                    <a:pt x="136090" y="86356"/>
                    <a:pt x="137070" y="83789"/>
                  </a:cubicBezTo>
                  <a:lnTo>
                    <a:pt x="149735" y="50653"/>
                  </a:lnTo>
                  <a:lnTo>
                    <a:pt x="165316" y="50653"/>
                  </a:lnTo>
                  <a:cubicBezTo>
                    <a:pt x="168978" y="50653"/>
                    <a:pt x="171946" y="47684"/>
                    <a:pt x="171946" y="44023"/>
                  </a:cubicBezTo>
                  <a:cubicBezTo>
                    <a:pt x="171946" y="40362"/>
                    <a:pt x="168978" y="37393"/>
                    <a:pt x="165316" y="37393"/>
                  </a:cubicBezTo>
                  <a:lnTo>
                    <a:pt x="145158" y="37393"/>
                  </a:lnTo>
                  <a:cubicBezTo>
                    <a:pt x="142409" y="37391"/>
                    <a:pt x="139945" y="39087"/>
                    <a:pt x="138964" y="41655"/>
                  </a:cubicBezTo>
                  <a:lnTo>
                    <a:pt x="131683" y="60707"/>
                  </a:lnTo>
                  <a:lnTo>
                    <a:pt x="115238" y="4764"/>
                  </a:lnTo>
                  <a:cubicBezTo>
                    <a:pt x="114408" y="1942"/>
                    <a:pt x="111819" y="4"/>
                    <a:pt x="108877" y="2"/>
                  </a:cubicBezTo>
                  <a:lnTo>
                    <a:pt x="108847" y="2"/>
                  </a:lnTo>
                  <a:cubicBezTo>
                    <a:pt x="105894" y="16"/>
                    <a:pt x="103305" y="1981"/>
                    <a:pt x="102498" y="4821"/>
                  </a:cubicBezTo>
                  <a:lnTo>
                    <a:pt x="93254" y="37401"/>
                  </a:lnTo>
                  <a:lnTo>
                    <a:pt x="73668" y="37401"/>
                  </a:lnTo>
                  <a:cubicBezTo>
                    <a:pt x="70704" y="37401"/>
                    <a:pt x="68100" y="39369"/>
                    <a:pt x="67289" y="42220"/>
                  </a:cubicBezTo>
                  <a:lnTo>
                    <a:pt x="62943" y="57540"/>
                  </a:lnTo>
                  <a:lnTo>
                    <a:pt x="47411" y="4768"/>
                  </a:lnTo>
                  <a:cubicBezTo>
                    <a:pt x="46611" y="2039"/>
                    <a:pt x="44158" y="124"/>
                    <a:pt x="41316" y="10"/>
                  </a:cubicBezTo>
                  <a:cubicBezTo>
                    <a:pt x="38465" y="-147"/>
                    <a:pt x="35848" y="1583"/>
                    <a:pt x="34876" y="4268"/>
                  </a:cubicBezTo>
                  <a:lnTo>
                    <a:pt x="22211" y="37401"/>
                  </a:lnTo>
                  <a:lnTo>
                    <a:pt x="6630" y="37401"/>
                  </a:lnTo>
                  <a:cubicBezTo>
                    <a:pt x="2968" y="37401"/>
                    <a:pt x="0" y="40369"/>
                    <a:pt x="0" y="44031"/>
                  </a:cubicBezTo>
                  <a:cubicBezTo>
                    <a:pt x="0" y="47692"/>
                    <a:pt x="2968" y="50660"/>
                    <a:pt x="6630" y="50660"/>
                  </a:cubicBezTo>
                  <a:close/>
                </a:path>
              </a:pathLst>
            </a:custGeom>
            <a:grpFill/>
            <a:ln w="37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ES">
                <a:latin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1350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BD71997-26FC-F144-9547-33CA3795D7B7}"/>
              </a:ext>
            </a:extLst>
          </p:cNvPr>
          <p:cNvSpPr/>
          <p:nvPr/>
        </p:nvSpPr>
        <p:spPr>
          <a:xfrm>
            <a:off x="-1" y="0"/>
            <a:ext cx="12189397" cy="685800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rtlCol="0" anchor="ctr">
            <a:spAutoFit/>
          </a:bodyPr>
          <a:lstStyle/>
          <a:p>
            <a:pPr algn="l"/>
            <a:endParaRPr lang="ru-RU" sz="1400" b="0" i="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Прямоугольник: скругленные углы 71">
            <a:extLst>
              <a:ext uri="{FF2B5EF4-FFF2-40B4-BE49-F238E27FC236}">
                <a16:creationId xmlns:a16="http://schemas.microsoft.com/office/drawing/2014/main" id="{42FBEC18-F9FA-1A49-A6C3-E14AB62289D8}"/>
              </a:ext>
            </a:extLst>
          </p:cNvPr>
          <p:cNvSpPr/>
          <p:nvPr/>
        </p:nvSpPr>
        <p:spPr>
          <a:xfrm>
            <a:off x="1085829" y="1821284"/>
            <a:ext cx="10554523" cy="4147846"/>
          </a:xfrm>
          <a:prstGeom prst="roundRect">
            <a:avLst>
              <a:gd name="adj" fmla="val 5363"/>
            </a:avLst>
          </a:prstGeom>
          <a:solidFill>
            <a:srgbClr val="EDEE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42" y="29519"/>
            <a:ext cx="8548926" cy="1449388"/>
          </a:xfrm>
        </p:spPr>
        <p:txBody>
          <a:bodyPr>
            <a:norm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+mn-lt"/>
              </a:rPr>
              <a:t>Человек как драйвер достижения исполнимости оптимального плана производства</a:t>
            </a:r>
          </a:p>
        </p:txBody>
      </p:sp>
      <p:grpSp>
        <p:nvGrpSpPr>
          <p:cNvPr id="33" name="Рисунок 2239">
            <a:extLst>
              <a:ext uri="{FF2B5EF4-FFF2-40B4-BE49-F238E27FC236}">
                <a16:creationId xmlns:a16="http://schemas.microsoft.com/office/drawing/2014/main" id="{285D2C0E-1682-4BC8-AD32-51F1801E12D8}"/>
              </a:ext>
            </a:extLst>
          </p:cNvPr>
          <p:cNvGrpSpPr/>
          <p:nvPr/>
        </p:nvGrpSpPr>
        <p:grpSpPr>
          <a:xfrm>
            <a:off x="2603" y="2289277"/>
            <a:ext cx="2806199" cy="2482641"/>
            <a:chOff x="5876924" y="3209925"/>
            <a:chExt cx="438150" cy="438150"/>
          </a:xfrm>
          <a:noFill/>
        </p:grpSpPr>
        <p:sp>
          <p:nvSpPr>
            <p:cNvPr id="34" name="Полилиния 324">
              <a:extLst>
                <a:ext uri="{FF2B5EF4-FFF2-40B4-BE49-F238E27FC236}">
                  <a16:creationId xmlns:a16="http://schemas.microsoft.com/office/drawing/2014/main" id="{7DEA7070-CA7F-4C34-84D7-EB9497BFD9B3}"/>
                </a:ext>
              </a:extLst>
            </p:cNvPr>
            <p:cNvSpPr/>
            <p:nvPr/>
          </p:nvSpPr>
          <p:spPr>
            <a:xfrm>
              <a:off x="6153150" y="3469862"/>
              <a:ext cx="161925" cy="178212"/>
            </a:xfrm>
            <a:custGeom>
              <a:avLst/>
              <a:gdLst>
                <a:gd name="connsiteX0" fmla="*/ 0 w 161925"/>
                <a:gd name="connsiteY0" fmla="*/ 0 h 178212"/>
                <a:gd name="connsiteX1" fmla="*/ 0 w 161925"/>
                <a:gd name="connsiteY1" fmla="*/ 35338 h 178212"/>
                <a:gd name="connsiteX2" fmla="*/ 98393 w 161925"/>
                <a:gd name="connsiteY2" fmla="*/ 70104 h 178212"/>
                <a:gd name="connsiteX3" fmla="*/ 161925 w 161925"/>
                <a:gd name="connsiteY3" fmla="*/ 159925 h 178212"/>
                <a:gd name="connsiteX4" fmla="*/ 161925 w 161925"/>
                <a:gd name="connsiteY4" fmla="*/ 178213 h 17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78212">
                  <a:moveTo>
                    <a:pt x="0" y="0"/>
                  </a:moveTo>
                  <a:lnTo>
                    <a:pt x="0" y="35338"/>
                  </a:lnTo>
                  <a:lnTo>
                    <a:pt x="98393" y="70104"/>
                  </a:lnTo>
                  <a:cubicBezTo>
                    <a:pt x="136468" y="83550"/>
                    <a:pt x="161928" y="119544"/>
                    <a:pt x="161925" y="159925"/>
                  </a:cubicBezTo>
                  <a:lnTo>
                    <a:pt x="161925" y="178213"/>
                  </a:lnTo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Полилиния 325">
              <a:extLst>
                <a:ext uri="{FF2B5EF4-FFF2-40B4-BE49-F238E27FC236}">
                  <a16:creationId xmlns:a16="http://schemas.microsoft.com/office/drawing/2014/main" id="{8C8D2069-1425-447F-952C-7A301F8F33AF}"/>
                </a:ext>
              </a:extLst>
            </p:cNvPr>
            <p:cNvSpPr/>
            <p:nvPr/>
          </p:nvSpPr>
          <p:spPr>
            <a:xfrm>
              <a:off x="5876924" y="3469862"/>
              <a:ext cx="161925" cy="178212"/>
            </a:xfrm>
            <a:custGeom>
              <a:avLst/>
              <a:gdLst>
                <a:gd name="connsiteX0" fmla="*/ 161925 w 161925"/>
                <a:gd name="connsiteY0" fmla="*/ 0 h 178212"/>
                <a:gd name="connsiteX1" fmla="*/ 161925 w 161925"/>
                <a:gd name="connsiteY1" fmla="*/ 35338 h 178212"/>
                <a:gd name="connsiteX2" fmla="*/ 63532 w 161925"/>
                <a:gd name="connsiteY2" fmla="*/ 70104 h 178212"/>
                <a:gd name="connsiteX3" fmla="*/ 0 w 161925"/>
                <a:gd name="connsiteY3" fmla="*/ 159925 h 178212"/>
                <a:gd name="connsiteX4" fmla="*/ 0 w 161925"/>
                <a:gd name="connsiteY4" fmla="*/ 178213 h 17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78212">
                  <a:moveTo>
                    <a:pt x="161925" y="0"/>
                  </a:moveTo>
                  <a:lnTo>
                    <a:pt x="161925" y="35338"/>
                  </a:lnTo>
                  <a:lnTo>
                    <a:pt x="63532" y="70104"/>
                  </a:lnTo>
                  <a:cubicBezTo>
                    <a:pt x="25456" y="83550"/>
                    <a:pt x="-3" y="119544"/>
                    <a:pt x="0" y="159925"/>
                  </a:cubicBezTo>
                  <a:lnTo>
                    <a:pt x="0" y="178213"/>
                  </a:lnTo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Полилиния 326">
              <a:extLst>
                <a:ext uri="{FF2B5EF4-FFF2-40B4-BE49-F238E27FC236}">
                  <a16:creationId xmlns:a16="http://schemas.microsoft.com/office/drawing/2014/main" id="{8F64A279-6534-4747-8DA5-83206FDD8471}"/>
                </a:ext>
              </a:extLst>
            </p:cNvPr>
            <p:cNvSpPr/>
            <p:nvPr/>
          </p:nvSpPr>
          <p:spPr>
            <a:xfrm>
              <a:off x="6019800" y="3371850"/>
              <a:ext cx="152400" cy="123825"/>
            </a:xfrm>
            <a:custGeom>
              <a:avLst/>
              <a:gdLst>
                <a:gd name="connsiteX0" fmla="*/ 152400 w 152400"/>
                <a:gd name="connsiteY0" fmla="*/ 0 h 123825"/>
                <a:gd name="connsiteX1" fmla="*/ 152400 w 152400"/>
                <a:gd name="connsiteY1" fmla="*/ 47625 h 123825"/>
                <a:gd name="connsiteX2" fmla="*/ 76200 w 152400"/>
                <a:gd name="connsiteY2" fmla="*/ 123825 h 123825"/>
                <a:gd name="connsiteX3" fmla="*/ 76200 w 152400"/>
                <a:gd name="connsiteY3" fmla="*/ 123825 h 123825"/>
                <a:gd name="connsiteX4" fmla="*/ 0 w 152400"/>
                <a:gd name="connsiteY4" fmla="*/ 47625 h 123825"/>
                <a:gd name="connsiteX5" fmla="*/ 0 w 152400"/>
                <a:gd name="connsiteY5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123825">
                  <a:moveTo>
                    <a:pt x="152400" y="0"/>
                  </a:moveTo>
                  <a:lnTo>
                    <a:pt x="152400" y="47625"/>
                  </a:lnTo>
                  <a:cubicBezTo>
                    <a:pt x="152400" y="89709"/>
                    <a:pt x="118284" y="123825"/>
                    <a:pt x="76200" y="123825"/>
                  </a:cubicBezTo>
                  <a:lnTo>
                    <a:pt x="76200" y="123825"/>
                  </a:lnTo>
                  <a:cubicBezTo>
                    <a:pt x="34116" y="123825"/>
                    <a:pt x="0" y="89709"/>
                    <a:pt x="0" y="47625"/>
                  </a:cubicBezTo>
                  <a:lnTo>
                    <a:pt x="0" y="0"/>
                  </a:lnTo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Полилиния 327">
              <a:extLst>
                <a:ext uri="{FF2B5EF4-FFF2-40B4-BE49-F238E27FC236}">
                  <a16:creationId xmlns:a16="http://schemas.microsoft.com/office/drawing/2014/main" id="{62E6AEE1-9CE3-4C4F-A74D-80F2FF6E3AB2}"/>
                </a:ext>
              </a:extLst>
            </p:cNvPr>
            <p:cNvSpPr/>
            <p:nvPr/>
          </p:nvSpPr>
          <p:spPr>
            <a:xfrm>
              <a:off x="6172200" y="3371850"/>
              <a:ext cx="38100" cy="38100"/>
            </a:xfrm>
            <a:custGeom>
              <a:avLst/>
              <a:gdLst>
                <a:gd name="connsiteX0" fmla="*/ 19050 w 38100"/>
                <a:gd name="connsiteY0" fmla="*/ 38100 h 38100"/>
                <a:gd name="connsiteX1" fmla="*/ 0 w 38100"/>
                <a:gd name="connsiteY1" fmla="*/ 38100 h 38100"/>
                <a:gd name="connsiteX2" fmla="*/ 0 w 38100"/>
                <a:gd name="connsiteY2" fmla="*/ 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  <a:gd name="connsiteX5" fmla="*/ 38100 w 38100"/>
                <a:gd name="connsiteY5" fmla="*/ 19050 h 38100"/>
                <a:gd name="connsiteX6" fmla="*/ 19050 w 38100"/>
                <a:gd name="connsiteY6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9050" y="38100"/>
                  </a:moveTo>
                  <a:lnTo>
                    <a:pt x="0" y="38100"/>
                  </a:lnTo>
                  <a:lnTo>
                    <a:pt x="0" y="0"/>
                  </a:lnTo>
                  <a:lnTo>
                    <a:pt x="19050" y="0"/>
                  </a:lnTo>
                  <a:cubicBezTo>
                    <a:pt x="29571" y="0"/>
                    <a:pt x="38100" y="8529"/>
                    <a:pt x="38100" y="19050"/>
                  </a:cubicBezTo>
                  <a:lnTo>
                    <a:pt x="38100" y="19050"/>
                  </a:lnTo>
                  <a:cubicBezTo>
                    <a:pt x="38100" y="29571"/>
                    <a:pt x="29571" y="38100"/>
                    <a:pt x="19050" y="38100"/>
                  </a:cubicBezTo>
                  <a:close/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Полилиния 328">
              <a:extLst>
                <a:ext uri="{FF2B5EF4-FFF2-40B4-BE49-F238E27FC236}">
                  <a16:creationId xmlns:a16="http://schemas.microsoft.com/office/drawing/2014/main" id="{5B5D8226-9441-4889-8C68-66685B85277E}"/>
                </a:ext>
              </a:extLst>
            </p:cNvPr>
            <p:cNvSpPr/>
            <p:nvPr/>
          </p:nvSpPr>
          <p:spPr>
            <a:xfrm>
              <a:off x="5981700" y="3371850"/>
              <a:ext cx="38100" cy="38100"/>
            </a:xfrm>
            <a:custGeom>
              <a:avLst/>
              <a:gdLst>
                <a:gd name="connsiteX0" fmla="*/ 19050 w 38100"/>
                <a:gd name="connsiteY0" fmla="*/ 38100 h 38100"/>
                <a:gd name="connsiteX1" fmla="*/ 38100 w 38100"/>
                <a:gd name="connsiteY1" fmla="*/ 38100 h 38100"/>
                <a:gd name="connsiteX2" fmla="*/ 38100 w 38100"/>
                <a:gd name="connsiteY2" fmla="*/ 0 h 38100"/>
                <a:gd name="connsiteX3" fmla="*/ 19050 w 38100"/>
                <a:gd name="connsiteY3" fmla="*/ 0 h 38100"/>
                <a:gd name="connsiteX4" fmla="*/ 0 w 38100"/>
                <a:gd name="connsiteY4" fmla="*/ 19050 h 38100"/>
                <a:gd name="connsiteX5" fmla="*/ 0 w 38100"/>
                <a:gd name="connsiteY5" fmla="*/ 19050 h 38100"/>
                <a:gd name="connsiteX6" fmla="*/ 19050 w 38100"/>
                <a:gd name="connsiteY6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9050" y="38100"/>
                  </a:moveTo>
                  <a:lnTo>
                    <a:pt x="38100" y="38100"/>
                  </a:lnTo>
                  <a:lnTo>
                    <a:pt x="38100" y="0"/>
                  </a:lnTo>
                  <a:lnTo>
                    <a:pt x="19050" y="0"/>
                  </a:lnTo>
                  <a:cubicBezTo>
                    <a:pt x="8529" y="0"/>
                    <a:pt x="0" y="8529"/>
                    <a:pt x="0" y="19050"/>
                  </a:cubicBezTo>
                  <a:lnTo>
                    <a:pt x="0" y="19050"/>
                  </a:lnTo>
                  <a:cubicBezTo>
                    <a:pt x="0" y="29571"/>
                    <a:pt x="8529" y="38100"/>
                    <a:pt x="19050" y="38100"/>
                  </a:cubicBezTo>
                  <a:close/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Полилиния 329">
              <a:extLst>
                <a:ext uri="{FF2B5EF4-FFF2-40B4-BE49-F238E27FC236}">
                  <a16:creationId xmlns:a16="http://schemas.microsoft.com/office/drawing/2014/main" id="{B31AAA3F-FF49-4897-97D1-E4F9AF4C2B0A}"/>
                </a:ext>
              </a:extLst>
            </p:cNvPr>
            <p:cNvSpPr/>
            <p:nvPr/>
          </p:nvSpPr>
          <p:spPr>
            <a:xfrm>
              <a:off x="5991225" y="3333750"/>
              <a:ext cx="209550" cy="38100"/>
            </a:xfrm>
            <a:custGeom>
              <a:avLst/>
              <a:gdLst>
                <a:gd name="connsiteX0" fmla="*/ 200025 w 209550"/>
                <a:gd name="connsiteY0" fmla="*/ 0 h 38100"/>
                <a:gd name="connsiteX1" fmla="*/ 209550 w 209550"/>
                <a:gd name="connsiteY1" fmla="*/ 0 h 38100"/>
                <a:gd name="connsiteX2" fmla="*/ 209550 w 209550"/>
                <a:gd name="connsiteY2" fmla="*/ 38100 h 38100"/>
                <a:gd name="connsiteX3" fmla="*/ 200025 w 209550"/>
                <a:gd name="connsiteY3" fmla="*/ 38100 h 38100"/>
                <a:gd name="connsiteX4" fmla="*/ 9525 w 209550"/>
                <a:gd name="connsiteY4" fmla="*/ 38100 h 38100"/>
                <a:gd name="connsiteX5" fmla="*/ 0 w 209550"/>
                <a:gd name="connsiteY5" fmla="*/ 38100 h 38100"/>
                <a:gd name="connsiteX6" fmla="*/ 0 w 209550"/>
                <a:gd name="connsiteY6" fmla="*/ 0 h 38100"/>
                <a:gd name="connsiteX7" fmla="*/ 9525 w 209550"/>
                <a:gd name="connsiteY7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38100">
                  <a:moveTo>
                    <a:pt x="200025" y="0"/>
                  </a:moveTo>
                  <a:cubicBezTo>
                    <a:pt x="205286" y="0"/>
                    <a:pt x="209550" y="0"/>
                    <a:pt x="209550" y="0"/>
                  </a:cubicBezTo>
                  <a:lnTo>
                    <a:pt x="209550" y="38100"/>
                  </a:lnTo>
                  <a:cubicBezTo>
                    <a:pt x="209550" y="38100"/>
                    <a:pt x="205286" y="38100"/>
                    <a:pt x="200025" y="38100"/>
                  </a:cubicBezTo>
                  <a:lnTo>
                    <a:pt x="9525" y="38100"/>
                  </a:lnTo>
                  <a:cubicBezTo>
                    <a:pt x="4264" y="38100"/>
                    <a:pt x="0" y="38100"/>
                    <a:pt x="0" y="38100"/>
                  </a:cubicBezTo>
                  <a:lnTo>
                    <a:pt x="0" y="0"/>
                  </a:lnTo>
                  <a:cubicBezTo>
                    <a:pt x="0" y="0"/>
                    <a:pt x="4264" y="0"/>
                    <a:pt x="9525" y="0"/>
                  </a:cubicBezTo>
                  <a:close/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Полилиния 330">
              <a:extLst>
                <a:ext uri="{FF2B5EF4-FFF2-40B4-BE49-F238E27FC236}">
                  <a16:creationId xmlns:a16="http://schemas.microsoft.com/office/drawing/2014/main" id="{9E238B64-A31B-4D80-940D-BA0D2E01F066}"/>
                </a:ext>
              </a:extLst>
            </p:cNvPr>
            <p:cNvSpPr/>
            <p:nvPr/>
          </p:nvSpPr>
          <p:spPr>
            <a:xfrm>
              <a:off x="6000750" y="3238500"/>
              <a:ext cx="190500" cy="95250"/>
            </a:xfrm>
            <a:custGeom>
              <a:avLst/>
              <a:gdLst>
                <a:gd name="connsiteX0" fmla="*/ 114300 w 190500"/>
                <a:gd name="connsiteY0" fmla="*/ 0 h 95250"/>
                <a:gd name="connsiteX1" fmla="*/ 190500 w 190500"/>
                <a:gd name="connsiteY1" fmla="*/ 76200 h 95250"/>
                <a:gd name="connsiteX2" fmla="*/ 190500 w 190500"/>
                <a:gd name="connsiteY2" fmla="*/ 95250 h 95250"/>
                <a:gd name="connsiteX3" fmla="*/ 0 w 190500"/>
                <a:gd name="connsiteY3" fmla="*/ 95250 h 95250"/>
                <a:gd name="connsiteX4" fmla="*/ 0 w 190500"/>
                <a:gd name="connsiteY4" fmla="*/ 76200 h 95250"/>
                <a:gd name="connsiteX5" fmla="*/ 76200 w 190500"/>
                <a:gd name="connsiteY5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500" h="95250">
                  <a:moveTo>
                    <a:pt x="114300" y="0"/>
                  </a:moveTo>
                  <a:cubicBezTo>
                    <a:pt x="156384" y="0"/>
                    <a:pt x="190500" y="34116"/>
                    <a:pt x="190500" y="76200"/>
                  </a:cubicBezTo>
                  <a:lnTo>
                    <a:pt x="190500" y="95250"/>
                  </a:lnTo>
                  <a:lnTo>
                    <a:pt x="0" y="95250"/>
                  </a:lnTo>
                  <a:lnTo>
                    <a:pt x="0" y="76200"/>
                  </a:lnTo>
                  <a:cubicBezTo>
                    <a:pt x="0" y="34116"/>
                    <a:pt x="34116" y="0"/>
                    <a:pt x="76200" y="0"/>
                  </a:cubicBezTo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Полилиния 331">
              <a:extLst>
                <a:ext uri="{FF2B5EF4-FFF2-40B4-BE49-F238E27FC236}">
                  <a16:creationId xmlns:a16="http://schemas.microsoft.com/office/drawing/2014/main" id="{73B98045-7CA6-4050-B830-B731DC447889}"/>
                </a:ext>
              </a:extLst>
            </p:cNvPr>
            <p:cNvSpPr/>
            <p:nvPr/>
          </p:nvSpPr>
          <p:spPr>
            <a:xfrm>
              <a:off x="6076950" y="3209925"/>
              <a:ext cx="38100" cy="76200"/>
            </a:xfrm>
            <a:custGeom>
              <a:avLst/>
              <a:gdLst>
                <a:gd name="connsiteX0" fmla="*/ 0 w 38100"/>
                <a:gd name="connsiteY0" fmla="*/ 0 h 76200"/>
                <a:gd name="connsiteX1" fmla="*/ 38100 w 38100"/>
                <a:gd name="connsiteY1" fmla="*/ 0 h 76200"/>
                <a:gd name="connsiteX2" fmla="*/ 38100 w 38100"/>
                <a:gd name="connsiteY2" fmla="*/ 76200 h 76200"/>
                <a:gd name="connsiteX3" fmla="*/ 0 w 38100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76200">
                  <a:moveTo>
                    <a:pt x="0" y="0"/>
                  </a:moveTo>
                  <a:lnTo>
                    <a:pt x="38100" y="0"/>
                  </a:lnTo>
                  <a:lnTo>
                    <a:pt x="38100" y="76200"/>
                  </a:lnTo>
                  <a:lnTo>
                    <a:pt x="0" y="76200"/>
                  </a:lnTo>
                  <a:close/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Полилиния 332">
              <a:extLst>
                <a:ext uri="{FF2B5EF4-FFF2-40B4-BE49-F238E27FC236}">
                  <a16:creationId xmlns:a16="http://schemas.microsoft.com/office/drawing/2014/main" id="{2EC12AC7-9133-4971-8B89-6348AC33C303}"/>
                </a:ext>
              </a:extLst>
            </p:cNvPr>
            <p:cNvSpPr/>
            <p:nvPr/>
          </p:nvSpPr>
          <p:spPr>
            <a:xfrm>
              <a:off x="6038850" y="3314700"/>
              <a:ext cx="9525" cy="19050"/>
            </a:xfrm>
            <a:custGeom>
              <a:avLst/>
              <a:gdLst>
                <a:gd name="connsiteX0" fmla="*/ 0 w 9525"/>
                <a:gd name="connsiteY0" fmla="*/ 19050 h 19050"/>
                <a:gd name="connsiteX1" fmla="*/ 0 w 9525"/>
                <a:gd name="connsiteY1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19050"/>
                  </a:moveTo>
                  <a:lnTo>
                    <a:pt x="0" y="0"/>
                  </a:lnTo>
                </a:path>
              </a:pathLst>
            </a:custGeom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Полилиния 333">
              <a:extLst>
                <a:ext uri="{FF2B5EF4-FFF2-40B4-BE49-F238E27FC236}">
                  <a16:creationId xmlns:a16="http://schemas.microsoft.com/office/drawing/2014/main" id="{F07D3F67-5D5B-4665-AD80-17FD6EE77145}"/>
                </a:ext>
              </a:extLst>
            </p:cNvPr>
            <p:cNvSpPr/>
            <p:nvPr/>
          </p:nvSpPr>
          <p:spPr>
            <a:xfrm>
              <a:off x="6153150" y="3314700"/>
              <a:ext cx="9525" cy="19050"/>
            </a:xfrm>
            <a:custGeom>
              <a:avLst/>
              <a:gdLst>
                <a:gd name="connsiteX0" fmla="*/ 0 w 9525"/>
                <a:gd name="connsiteY0" fmla="*/ 19050 h 19050"/>
                <a:gd name="connsiteX1" fmla="*/ 0 w 9525"/>
                <a:gd name="connsiteY1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19050"/>
                  </a:moveTo>
                  <a:lnTo>
                    <a:pt x="0" y="0"/>
                  </a:lnTo>
                </a:path>
              </a:pathLst>
            </a:custGeom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Полилиния 334">
              <a:extLst>
                <a:ext uri="{FF2B5EF4-FFF2-40B4-BE49-F238E27FC236}">
                  <a16:creationId xmlns:a16="http://schemas.microsoft.com/office/drawing/2014/main" id="{0942081D-54DE-4360-B5B4-D29F9CA9A5A2}"/>
                </a:ext>
              </a:extLst>
            </p:cNvPr>
            <p:cNvSpPr/>
            <p:nvPr/>
          </p:nvSpPr>
          <p:spPr>
            <a:xfrm>
              <a:off x="5962650" y="3571875"/>
              <a:ext cx="266700" cy="76200"/>
            </a:xfrm>
            <a:custGeom>
              <a:avLst/>
              <a:gdLst>
                <a:gd name="connsiteX0" fmla="*/ 0 w 266700"/>
                <a:gd name="connsiteY0" fmla="*/ 76200 h 76200"/>
                <a:gd name="connsiteX1" fmla="*/ 0 w 266700"/>
                <a:gd name="connsiteY1" fmla="*/ 28575 h 76200"/>
                <a:gd name="connsiteX2" fmla="*/ 28575 w 266700"/>
                <a:gd name="connsiteY2" fmla="*/ 0 h 76200"/>
                <a:gd name="connsiteX3" fmla="*/ 238125 w 266700"/>
                <a:gd name="connsiteY3" fmla="*/ 0 h 76200"/>
                <a:gd name="connsiteX4" fmla="*/ 266700 w 266700"/>
                <a:gd name="connsiteY4" fmla="*/ 28575 h 76200"/>
                <a:gd name="connsiteX5" fmla="*/ 266700 w 266700"/>
                <a:gd name="connsiteY5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0" h="76200">
                  <a:moveTo>
                    <a:pt x="0" y="76200"/>
                  </a:moveTo>
                  <a:lnTo>
                    <a:pt x="0" y="28575"/>
                  </a:lnTo>
                  <a:cubicBezTo>
                    <a:pt x="0" y="12793"/>
                    <a:pt x="12793" y="0"/>
                    <a:pt x="28575" y="0"/>
                  </a:cubicBezTo>
                  <a:lnTo>
                    <a:pt x="238125" y="0"/>
                  </a:lnTo>
                  <a:cubicBezTo>
                    <a:pt x="253907" y="0"/>
                    <a:pt x="266700" y="12793"/>
                    <a:pt x="266700" y="28575"/>
                  </a:cubicBezTo>
                  <a:lnTo>
                    <a:pt x="266700" y="76200"/>
                  </a:lnTo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Полилиния 335">
              <a:extLst>
                <a:ext uri="{FF2B5EF4-FFF2-40B4-BE49-F238E27FC236}">
                  <a16:creationId xmlns:a16="http://schemas.microsoft.com/office/drawing/2014/main" id="{15F00046-E6E7-477F-A67D-FB4B80778151}"/>
                </a:ext>
              </a:extLst>
            </p:cNvPr>
            <p:cNvSpPr/>
            <p:nvPr/>
          </p:nvSpPr>
          <p:spPr>
            <a:xfrm>
              <a:off x="6019800" y="3511962"/>
              <a:ext cx="9525" cy="59912"/>
            </a:xfrm>
            <a:custGeom>
              <a:avLst/>
              <a:gdLst>
                <a:gd name="connsiteX0" fmla="*/ 0 w 9525"/>
                <a:gd name="connsiteY0" fmla="*/ 59912 h 59912"/>
                <a:gd name="connsiteX1" fmla="*/ 0 w 9525"/>
                <a:gd name="connsiteY1" fmla="*/ 0 h 5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9912">
                  <a:moveTo>
                    <a:pt x="0" y="59912"/>
                  </a:moveTo>
                  <a:lnTo>
                    <a:pt x="0" y="0"/>
                  </a:lnTo>
                </a:path>
              </a:pathLst>
            </a:custGeom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Полилиния 336">
              <a:extLst>
                <a:ext uri="{FF2B5EF4-FFF2-40B4-BE49-F238E27FC236}">
                  <a16:creationId xmlns:a16="http://schemas.microsoft.com/office/drawing/2014/main" id="{715A0775-2CEE-4AB4-9320-584A5474A9A2}"/>
                </a:ext>
              </a:extLst>
            </p:cNvPr>
            <p:cNvSpPr/>
            <p:nvPr/>
          </p:nvSpPr>
          <p:spPr>
            <a:xfrm>
              <a:off x="5981700" y="3525393"/>
              <a:ext cx="9525" cy="46482"/>
            </a:xfrm>
            <a:custGeom>
              <a:avLst/>
              <a:gdLst>
                <a:gd name="connsiteX0" fmla="*/ 0 w 9525"/>
                <a:gd name="connsiteY0" fmla="*/ 46482 h 46482"/>
                <a:gd name="connsiteX1" fmla="*/ 0 w 9525"/>
                <a:gd name="connsiteY1" fmla="*/ 0 h 4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482">
                  <a:moveTo>
                    <a:pt x="0" y="46482"/>
                  </a:moveTo>
                  <a:lnTo>
                    <a:pt x="0" y="0"/>
                  </a:lnTo>
                </a:path>
              </a:pathLst>
            </a:custGeom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Полилиния 337">
              <a:extLst>
                <a:ext uri="{FF2B5EF4-FFF2-40B4-BE49-F238E27FC236}">
                  <a16:creationId xmlns:a16="http://schemas.microsoft.com/office/drawing/2014/main" id="{8BA6F42A-C8C6-40B0-8E1A-D050E6175FED}"/>
                </a:ext>
              </a:extLst>
            </p:cNvPr>
            <p:cNvSpPr/>
            <p:nvPr/>
          </p:nvSpPr>
          <p:spPr>
            <a:xfrm>
              <a:off x="6210300" y="3525393"/>
              <a:ext cx="9525" cy="46482"/>
            </a:xfrm>
            <a:custGeom>
              <a:avLst/>
              <a:gdLst>
                <a:gd name="connsiteX0" fmla="*/ 0 w 9525"/>
                <a:gd name="connsiteY0" fmla="*/ 46482 h 46482"/>
                <a:gd name="connsiteX1" fmla="*/ 0 w 9525"/>
                <a:gd name="connsiteY1" fmla="*/ 0 h 4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482">
                  <a:moveTo>
                    <a:pt x="0" y="46482"/>
                  </a:moveTo>
                  <a:lnTo>
                    <a:pt x="0" y="0"/>
                  </a:lnTo>
                </a:path>
              </a:pathLst>
            </a:custGeom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Полилиния 338">
              <a:extLst>
                <a:ext uri="{FF2B5EF4-FFF2-40B4-BE49-F238E27FC236}">
                  <a16:creationId xmlns:a16="http://schemas.microsoft.com/office/drawing/2014/main" id="{1CC559E9-E43F-42B8-9FBB-3591958F6A42}"/>
                </a:ext>
              </a:extLst>
            </p:cNvPr>
            <p:cNvSpPr/>
            <p:nvPr/>
          </p:nvSpPr>
          <p:spPr>
            <a:xfrm>
              <a:off x="6172200" y="3511962"/>
              <a:ext cx="9525" cy="59912"/>
            </a:xfrm>
            <a:custGeom>
              <a:avLst/>
              <a:gdLst>
                <a:gd name="connsiteX0" fmla="*/ 0 w 9525"/>
                <a:gd name="connsiteY0" fmla="*/ 59912 h 59912"/>
                <a:gd name="connsiteX1" fmla="*/ 0 w 9525"/>
                <a:gd name="connsiteY1" fmla="*/ 0 h 5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9912">
                  <a:moveTo>
                    <a:pt x="0" y="59912"/>
                  </a:moveTo>
                  <a:lnTo>
                    <a:pt x="0" y="0"/>
                  </a:lnTo>
                </a:path>
              </a:pathLst>
            </a:custGeom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Полилиния 339">
              <a:extLst>
                <a:ext uri="{FF2B5EF4-FFF2-40B4-BE49-F238E27FC236}">
                  <a16:creationId xmlns:a16="http://schemas.microsoft.com/office/drawing/2014/main" id="{7AF0C08E-F345-466E-BB90-E42C798D1836}"/>
                </a:ext>
              </a:extLst>
            </p:cNvPr>
            <p:cNvSpPr/>
            <p:nvPr/>
          </p:nvSpPr>
          <p:spPr>
            <a:xfrm>
              <a:off x="6038850" y="3505200"/>
              <a:ext cx="114300" cy="66675"/>
            </a:xfrm>
            <a:custGeom>
              <a:avLst/>
              <a:gdLst>
                <a:gd name="connsiteX0" fmla="*/ 0 w 114300"/>
                <a:gd name="connsiteY0" fmla="*/ 0 h 66675"/>
                <a:gd name="connsiteX1" fmla="*/ 57150 w 114300"/>
                <a:gd name="connsiteY1" fmla="*/ 66675 h 66675"/>
                <a:gd name="connsiteX2" fmla="*/ 114300 w 11430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66675">
                  <a:moveTo>
                    <a:pt x="0" y="0"/>
                  </a:moveTo>
                  <a:lnTo>
                    <a:pt x="57150" y="66675"/>
                  </a:lnTo>
                  <a:lnTo>
                    <a:pt x="114300" y="0"/>
                  </a:lnTo>
                </a:path>
              </a:pathLst>
            </a:custGeom>
            <a:noFill/>
            <a:ln w="15240" cap="rnd">
              <a:solidFill>
                <a:srgbClr val="323E4F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2E88372-7627-2746-87C0-C52A6556710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97933" y="1713343"/>
            <a:ext cx="4436589" cy="4390096"/>
          </a:xfrm>
          <a:prstGeom prst="ellipse">
            <a:avLst/>
          </a:prstGeom>
        </p:spPr>
      </p:pic>
      <p:sp>
        <p:nvSpPr>
          <p:cNvPr id="5" name="Овал 4">
            <a:extLst>
              <a:ext uri="{FF2B5EF4-FFF2-40B4-BE49-F238E27FC236}">
                <a16:creationId xmlns:a16="http://schemas.microsoft.com/office/drawing/2014/main" id="{0E092A3A-7606-9C41-AD01-3627EBB84082}"/>
              </a:ext>
            </a:extLst>
          </p:cNvPr>
          <p:cNvSpPr/>
          <p:nvPr/>
        </p:nvSpPr>
        <p:spPr>
          <a:xfrm>
            <a:off x="-903816" y="1579436"/>
            <a:ext cx="4656587" cy="4656587"/>
          </a:xfrm>
          <a:prstGeom prst="ellipse">
            <a:avLst/>
          </a:prstGeom>
          <a:ln w="38100" cap="rnd">
            <a:solidFill>
              <a:schemeClr val="accent1"/>
            </a:solidFill>
            <a:prstDash val="sysDot"/>
          </a:ln>
        </p:spPr>
        <p:txBody>
          <a:bodyPr wrap="square" rtlCol="0" anchor="ctr">
            <a:spAutoFit/>
          </a:bodyPr>
          <a:lstStyle/>
          <a:p>
            <a:pPr algn="l"/>
            <a:endParaRPr lang="ru-RU" sz="1400" b="0" i="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3551A7FC-C347-664D-AF5A-60B41EA8FA38}"/>
              </a:ext>
            </a:extLst>
          </p:cNvPr>
          <p:cNvSpPr/>
          <p:nvPr/>
        </p:nvSpPr>
        <p:spPr>
          <a:xfrm>
            <a:off x="8510599" y="2165138"/>
            <a:ext cx="23782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Разная скорость реакции на события производства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7624215-5505-0A49-9A6E-2811334BD4AB}"/>
              </a:ext>
            </a:extLst>
          </p:cNvPr>
          <p:cNvSpPr/>
          <p:nvPr/>
        </p:nvSpPr>
        <p:spPr>
          <a:xfrm>
            <a:off x="8510600" y="2822086"/>
            <a:ext cx="23185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Пропуск событий при </a:t>
            </a:r>
            <a:r>
              <a:rPr lang="ru-RU" sz="1200" dirty="0" err="1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пересменке</a:t>
            </a:r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 на производстве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9FAD7FB5-8E76-8749-8564-1A5373FCDB33}"/>
              </a:ext>
            </a:extLst>
          </p:cNvPr>
          <p:cNvSpPr/>
          <p:nvPr/>
        </p:nvSpPr>
        <p:spPr>
          <a:xfrm>
            <a:off x="8510599" y="3450230"/>
            <a:ext cx="32877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Потеря событий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F39C19C-0FF7-7A45-938A-D9FABA093871}"/>
              </a:ext>
            </a:extLst>
          </p:cNvPr>
          <p:cNvSpPr/>
          <p:nvPr/>
        </p:nvSpPr>
        <p:spPr>
          <a:xfrm>
            <a:off x="8510598" y="3986700"/>
            <a:ext cx="3092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Отсутствие контроля результатов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905FF7C-BC5F-3745-A64F-D06A08B5086C}"/>
              </a:ext>
            </a:extLst>
          </p:cNvPr>
          <p:cNvSpPr/>
          <p:nvPr/>
        </p:nvSpPr>
        <p:spPr>
          <a:xfrm>
            <a:off x="8510599" y="4486080"/>
            <a:ext cx="30496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Влияние отвлекающих факторов</a:t>
            </a:r>
          </a:p>
        </p:txBody>
      </p:sp>
      <p:sp>
        <p:nvSpPr>
          <p:cNvPr id="49" name="Rectangle: Rounded Corners 28">
            <a:extLst>
              <a:ext uri="{FF2B5EF4-FFF2-40B4-BE49-F238E27FC236}">
                <a16:creationId xmlns:a16="http://schemas.microsoft.com/office/drawing/2014/main" id="{47BE1A99-EF13-E04F-B263-94376DD8499D}"/>
              </a:ext>
            </a:extLst>
          </p:cNvPr>
          <p:cNvSpPr>
            <a:spLocks noChangeAspect="1"/>
          </p:cNvSpPr>
          <p:nvPr/>
        </p:nvSpPr>
        <p:spPr>
          <a:xfrm>
            <a:off x="8054443" y="2282748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50" name="Rectangle: Rounded Corners 28">
            <a:extLst>
              <a:ext uri="{FF2B5EF4-FFF2-40B4-BE49-F238E27FC236}">
                <a16:creationId xmlns:a16="http://schemas.microsoft.com/office/drawing/2014/main" id="{EB689DDE-4C1E-D74B-90F3-49EE97B1B77F}"/>
              </a:ext>
            </a:extLst>
          </p:cNvPr>
          <p:cNvSpPr>
            <a:spLocks noChangeAspect="1"/>
          </p:cNvSpPr>
          <p:nvPr/>
        </p:nvSpPr>
        <p:spPr>
          <a:xfrm>
            <a:off x="8054443" y="2939601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51" name="Rectangle: Rounded Corners 28">
            <a:extLst>
              <a:ext uri="{FF2B5EF4-FFF2-40B4-BE49-F238E27FC236}">
                <a16:creationId xmlns:a16="http://schemas.microsoft.com/office/drawing/2014/main" id="{E6ECCCDD-30F2-4A43-A5B4-6DC8E1ED04C8}"/>
              </a:ext>
            </a:extLst>
          </p:cNvPr>
          <p:cNvSpPr>
            <a:spLocks noChangeAspect="1"/>
          </p:cNvSpPr>
          <p:nvPr/>
        </p:nvSpPr>
        <p:spPr>
          <a:xfrm>
            <a:off x="8054443" y="3452573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54" name="Rectangle: Rounded Corners 28">
            <a:extLst>
              <a:ext uri="{FF2B5EF4-FFF2-40B4-BE49-F238E27FC236}">
                <a16:creationId xmlns:a16="http://schemas.microsoft.com/office/drawing/2014/main" id="{1BDF3FE0-F925-CF4D-A3D9-12D0C3C20151}"/>
              </a:ext>
            </a:extLst>
          </p:cNvPr>
          <p:cNvSpPr>
            <a:spLocks noChangeAspect="1"/>
          </p:cNvSpPr>
          <p:nvPr/>
        </p:nvSpPr>
        <p:spPr>
          <a:xfrm>
            <a:off x="8054443" y="3981199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79" name="Rectangle: Rounded Corners 28">
            <a:extLst>
              <a:ext uri="{FF2B5EF4-FFF2-40B4-BE49-F238E27FC236}">
                <a16:creationId xmlns:a16="http://schemas.microsoft.com/office/drawing/2014/main" id="{BCFE0033-89DA-C040-A528-B739AE831D46}"/>
              </a:ext>
            </a:extLst>
          </p:cNvPr>
          <p:cNvSpPr>
            <a:spLocks noChangeAspect="1"/>
          </p:cNvSpPr>
          <p:nvPr/>
        </p:nvSpPr>
        <p:spPr>
          <a:xfrm>
            <a:off x="8054443" y="4499240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EFB6448B-B54A-438D-83B1-6A17D41398AE}"/>
              </a:ext>
            </a:extLst>
          </p:cNvPr>
          <p:cNvSpPr/>
          <p:nvPr/>
        </p:nvSpPr>
        <p:spPr>
          <a:xfrm>
            <a:off x="8054443" y="4966635"/>
            <a:ext cx="317438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ea typeface="Lato" panose="020F0502020204030203" pitchFamily="34" charset="0"/>
                <a:cs typeface="Lato" panose="020F0502020204030203" pitchFamily="34" charset="0"/>
              </a:rPr>
              <a:t>Микро отклонения</a:t>
            </a:r>
            <a:br>
              <a:rPr lang="ru-RU" sz="1400" b="1" dirty="0">
                <a:solidFill>
                  <a:srgbClr val="C00000"/>
                </a:solidFill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ru-RU" sz="1200" dirty="0">
                <a:ea typeface="Lato" panose="020F0502020204030203" pitchFamily="34" charset="0"/>
                <a:cs typeface="Lato" panose="020F0502020204030203" pitchFamily="34" charset="0"/>
              </a:rPr>
              <a:t>как барьер исполнимости оптимального плана производства</a:t>
            </a:r>
            <a:endParaRPr lang="ru-RU" sz="1100" dirty="0"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528C9F28-A0C9-E64E-94F8-CF99A73356B2}"/>
              </a:ext>
            </a:extLst>
          </p:cNvPr>
          <p:cNvSpPr/>
          <p:nvPr/>
        </p:nvSpPr>
        <p:spPr>
          <a:xfrm>
            <a:off x="4292475" y="2165276"/>
            <a:ext cx="30560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Отсутствие прозрачного контроля выполнения диспетчерских заданий, корректирующих мероприятий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5C070145-BAC5-2348-A823-88838BF8CE5C}"/>
              </a:ext>
            </a:extLst>
          </p:cNvPr>
          <p:cNvSpPr/>
          <p:nvPr/>
        </p:nvSpPr>
        <p:spPr>
          <a:xfrm>
            <a:off x="4296699" y="2979515"/>
            <a:ext cx="31028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Риск потери информации по отклонениям и исполнениям заданий во время приема-передачи смены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50BD4785-6B00-3947-8C5A-19ED82B7F2B4}"/>
              </a:ext>
            </a:extLst>
          </p:cNvPr>
          <p:cNvSpPr/>
          <p:nvPr/>
        </p:nvSpPr>
        <p:spPr>
          <a:xfrm>
            <a:off x="4289926" y="3832129"/>
            <a:ext cx="305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Распределение ключевой информации между несколькими источниками</a:t>
            </a: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CC1C1C7-6205-C34C-B585-A742924397B4}"/>
              </a:ext>
            </a:extLst>
          </p:cNvPr>
          <p:cNvSpPr/>
          <p:nvPr/>
        </p:nvSpPr>
        <p:spPr>
          <a:xfrm>
            <a:off x="4294641" y="4518323"/>
            <a:ext cx="29319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Разная скорость реакции на события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A3F168B9-13A7-3241-9F1D-42541DADCBC7}"/>
              </a:ext>
            </a:extLst>
          </p:cNvPr>
          <p:cNvSpPr/>
          <p:nvPr/>
        </p:nvSpPr>
        <p:spPr>
          <a:xfrm>
            <a:off x="4296699" y="4966635"/>
            <a:ext cx="30492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Большой неуправляемый поток диспетчерских заданий</a:t>
            </a: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6A1E41B8-7365-904B-927B-45B61DB9B248}"/>
              </a:ext>
            </a:extLst>
          </p:cNvPr>
          <p:cNvSpPr/>
          <p:nvPr/>
        </p:nvSpPr>
        <p:spPr>
          <a:xfrm>
            <a:off x="3989909" y="2345334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92A01B3D-677D-A44A-9988-F551B178B4FF}"/>
              </a:ext>
            </a:extLst>
          </p:cNvPr>
          <p:cNvSpPr/>
          <p:nvPr/>
        </p:nvSpPr>
        <p:spPr>
          <a:xfrm>
            <a:off x="3989909" y="3039601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CBC0FF98-5887-0C44-94B1-3DF077165F49}"/>
              </a:ext>
            </a:extLst>
          </p:cNvPr>
          <p:cNvSpPr/>
          <p:nvPr/>
        </p:nvSpPr>
        <p:spPr>
          <a:xfrm>
            <a:off x="3989909" y="3906536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ECF20DAA-4ECF-E143-92F1-F136F959C39C}"/>
              </a:ext>
            </a:extLst>
          </p:cNvPr>
          <p:cNvSpPr/>
          <p:nvPr/>
        </p:nvSpPr>
        <p:spPr>
          <a:xfrm>
            <a:off x="3989909" y="4482282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872233EB-CA39-9244-8376-0035B5A6D731}"/>
              </a:ext>
            </a:extLst>
          </p:cNvPr>
          <p:cNvSpPr/>
          <p:nvPr/>
        </p:nvSpPr>
        <p:spPr>
          <a:xfrm>
            <a:off x="3989909" y="5043580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213232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: скругленные углы 1">
            <a:extLst>
              <a:ext uri="{FF2B5EF4-FFF2-40B4-BE49-F238E27FC236}">
                <a16:creationId xmlns:a16="http://schemas.microsoft.com/office/drawing/2014/main" id="{6FF9BD07-09FE-1B4A-A97B-748DD8E5FD99}"/>
              </a:ext>
            </a:extLst>
          </p:cNvPr>
          <p:cNvSpPr/>
          <p:nvPr/>
        </p:nvSpPr>
        <p:spPr>
          <a:xfrm>
            <a:off x="626494" y="1690505"/>
            <a:ext cx="3646679" cy="4198430"/>
          </a:xfrm>
          <a:prstGeom prst="roundRect">
            <a:avLst>
              <a:gd name="adj" fmla="val 7793"/>
            </a:avLst>
          </a:prstGeom>
          <a:solidFill>
            <a:srgbClr val="80BC4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9DD0FFA-DF6D-3A43-A1C9-4D41490C65D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374"/>
          <a:stretch/>
        </p:blipFill>
        <p:spPr>
          <a:xfrm>
            <a:off x="6933504" y="-26076"/>
            <a:ext cx="5258496" cy="688407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2130406-CB85-0B47-984D-8EC927BB3159}"/>
              </a:ext>
            </a:extLst>
          </p:cNvPr>
          <p:cNvSpPr/>
          <p:nvPr/>
        </p:nvSpPr>
        <p:spPr>
          <a:xfrm>
            <a:off x="6920264" y="0"/>
            <a:ext cx="5257800" cy="6858000"/>
          </a:xfrm>
          <a:prstGeom prst="rect">
            <a:avLst/>
          </a:prstGeom>
          <a:solidFill>
            <a:srgbClr val="7FBB48">
              <a:alpha val="58039"/>
            </a:srgbClr>
          </a:solidFill>
        </p:spPr>
        <p:txBody>
          <a:bodyPr wrap="square" rtlCol="0" anchor="ctr">
            <a:spAutoFit/>
          </a:bodyPr>
          <a:lstStyle/>
          <a:p>
            <a:pPr algn="l"/>
            <a:endParaRPr lang="ru-RU" sz="1400" b="0" i="0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6306122" cy="1449388"/>
          </a:xfrm>
        </p:spPr>
        <p:txBody>
          <a:bodyPr>
            <a:normAutofit/>
          </a:bodyPr>
          <a:lstStyle/>
          <a:p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Обеспечение управляемости событий и реализации корректирующих мероприятий</a:t>
            </a: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id="{0AE4AE2D-2155-3F48-A2B0-D4919678CE51}"/>
              </a:ext>
            </a:extLst>
          </p:cNvPr>
          <p:cNvSpPr/>
          <p:nvPr/>
        </p:nvSpPr>
        <p:spPr>
          <a:xfrm>
            <a:off x="894193" y="1891025"/>
            <a:ext cx="293409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Автоматическое поступление событий по отклонениям на производстве с назначением ответственного</a:t>
            </a: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F65EA943-F2CD-DE4A-BF87-1047E6552666}"/>
              </a:ext>
            </a:extLst>
          </p:cNvPr>
          <p:cNvSpPr/>
          <p:nvPr/>
        </p:nvSpPr>
        <p:spPr>
          <a:xfrm>
            <a:off x="898418" y="2595881"/>
            <a:ext cx="263726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Эскалация событий при несоблюдении времени реакции</a:t>
            </a: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17A3BAAB-A340-624B-9560-A08BFD3FFD3C}"/>
              </a:ext>
            </a:extLst>
          </p:cNvPr>
          <p:cNvSpPr/>
          <p:nvPr/>
        </p:nvSpPr>
        <p:spPr>
          <a:xfrm>
            <a:off x="891644" y="3131460"/>
            <a:ext cx="30560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Автоматическая передача всех незакрытых событий при пересменке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639B28E2-5E80-014F-AF00-FAFCBE458858}"/>
              </a:ext>
            </a:extLst>
          </p:cNvPr>
          <p:cNvSpPr/>
          <p:nvPr/>
        </p:nvSpPr>
        <p:spPr>
          <a:xfrm>
            <a:off x="894001" y="3667039"/>
            <a:ext cx="35987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Фиксация истории событий от момента появления до момента закрытия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8EA41401-344D-BC46-A861-F105380CD02F}"/>
              </a:ext>
            </a:extLst>
          </p:cNvPr>
          <p:cNvSpPr/>
          <p:nvPr/>
        </p:nvSpPr>
        <p:spPr>
          <a:xfrm>
            <a:off x="898417" y="4202618"/>
            <a:ext cx="337475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Электронный вахтовый журнал</a:t>
            </a: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C10896BB-BB71-5546-A867-D7C8C58F215C}"/>
              </a:ext>
            </a:extLst>
          </p:cNvPr>
          <p:cNvSpPr/>
          <p:nvPr/>
        </p:nvSpPr>
        <p:spPr>
          <a:xfrm>
            <a:off x="896359" y="4568920"/>
            <a:ext cx="293192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Отображение КПЭ в режиме близкому к режиму реального времени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559B1AF4-6384-8D40-96DA-B472D2A57B7F}"/>
              </a:ext>
            </a:extLst>
          </p:cNvPr>
          <p:cNvSpPr/>
          <p:nvPr/>
        </p:nvSpPr>
        <p:spPr>
          <a:xfrm>
            <a:off x="898417" y="5104497"/>
            <a:ext cx="304924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Отображение всех событий и необходимой информации о производстве в едином интерфейсе</a:t>
            </a:r>
          </a:p>
        </p:txBody>
      </p:sp>
      <p:sp>
        <p:nvSpPr>
          <p:cNvPr id="24" name="Прямоугольник: скругленные углы 71">
            <a:extLst>
              <a:ext uri="{FF2B5EF4-FFF2-40B4-BE49-F238E27FC236}">
                <a16:creationId xmlns:a16="http://schemas.microsoft.com/office/drawing/2014/main" id="{B5FF53C4-BAC1-6540-9C83-27EC7634B19B}"/>
              </a:ext>
            </a:extLst>
          </p:cNvPr>
          <p:cNvSpPr/>
          <p:nvPr/>
        </p:nvSpPr>
        <p:spPr>
          <a:xfrm>
            <a:off x="4890309" y="1688623"/>
            <a:ext cx="3766014" cy="4280507"/>
          </a:xfrm>
          <a:prstGeom prst="roundRect">
            <a:avLst>
              <a:gd name="adj" fmla="val 8008"/>
            </a:avLst>
          </a:prstGeom>
          <a:solidFill>
            <a:srgbClr val="EDEE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Rectangle: Rounded Corners 28">
            <a:extLst>
              <a:ext uri="{FF2B5EF4-FFF2-40B4-BE49-F238E27FC236}">
                <a16:creationId xmlns:a16="http://schemas.microsoft.com/office/drawing/2014/main" id="{FFE7DC40-5E7F-944C-8FB5-06BBCA6F792D}"/>
              </a:ext>
            </a:extLst>
          </p:cNvPr>
          <p:cNvSpPr>
            <a:spLocks noChangeAspect="1"/>
          </p:cNvSpPr>
          <p:nvPr/>
        </p:nvSpPr>
        <p:spPr>
          <a:xfrm>
            <a:off x="4789404" y="2238669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31" name="Rectangle: Rounded Corners 28">
            <a:extLst>
              <a:ext uri="{FF2B5EF4-FFF2-40B4-BE49-F238E27FC236}">
                <a16:creationId xmlns:a16="http://schemas.microsoft.com/office/drawing/2014/main" id="{4447E2D0-C22C-874A-ACA3-C6F7568B90B8}"/>
              </a:ext>
            </a:extLst>
          </p:cNvPr>
          <p:cNvSpPr>
            <a:spLocks noChangeAspect="1"/>
          </p:cNvSpPr>
          <p:nvPr/>
        </p:nvSpPr>
        <p:spPr>
          <a:xfrm>
            <a:off x="4789404" y="3019200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32" name="Rectangle: Rounded Corners 28">
            <a:extLst>
              <a:ext uri="{FF2B5EF4-FFF2-40B4-BE49-F238E27FC236}">
                <a16:creationId xmlns:a16="http://schemas.microsoft.com/office/drawing/2014/main" id="{6B2B31D0-960D-7043-91C6-1E3F60A7BE08}"/>
              </a:ext>
            </a:extLst>
          </p:cNvPr>
          <p:cNvSpPr>
            <a:spLocks noChangeAspect="1"/>
          </p:cNvSpPr>
          <p:nvPr/>
        </p:nvSpPr>
        <p:spPr>
          <a:xfrm>
            <a:off x="4789404" y="3789281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33" name="Rectangle: Rounded Corners 28">
            <a:extLst>
              <a:ext uri="{FF2B5EF4-FFF2-40B4-BE49-F238E27FC236}">
                <a16:creationId xmlns:a16="http://schemas.microsoft.com/office/drawing/2014/main" id="{9D652797-1F38-7243-A90E-91AC5F3905F7}"/>
              </a:ext>
            </a:extLst>
          </p:cNvPr>
          <p:cNvSpPr>
            <a:spLocks noChangeAspect="1"/>
          </p:cNvSpPr>
          <p:nvPr/>
        </p:nvSpPr>
        <p:spPr>
          <a:xfrm>
            <a:off x="4789404" y="4449558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34" name="Rectangle: Rounded Corners 28">
            <a:extLst>
              <a:ext uri="{FF2B5EF4-FFF2-40B4-BE49-F238E27FC236}">
                <a16:creationId xmlns:a16="http://schemas.microsoft.com/office/drawing/2014/main" id="{CDF37918-30DC-0543-8783-12DA73308F5E}"/>
              </a:ext>
            </a:extLst>
          </p:cNvPr>
          <p:cNvSpPr>
            <a:spLocks noChangeAspect="1"/>
          </p:cNvSpPr>
          <p:nvPr/>
        </p:nvSpPr>
        <p:spPr>
          <a:xfrm>
            <a:off x="4789404" y="5139418"/>
            <a:ext cx="288000" cy="28800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rgbClr val="2E5BFF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/>
              <a:t>&gt;</a:t>
            </a:r>
            <a:endParaRPr lang="en-ID" sz="1100" dirty="0"/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C018A623-67AF-5347-9802-946316D72C63}"/>
              </a:ext>
            </a:extLst>
          </p:cNvPr>
          <p:cNvSpPr/>
          <p:nvPr/>
        </p:nvSpPr>
        <p:spPr>
          <a:xfrm>
            <a:off x="591627" y="1857441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8E24BEA-710D-EA42-954C-E20B9154344F}"/>
              </a:ext>
            </a:extLst>
          </p:cNvPr>
          <p:cNvSpPr/>
          <p:nvPr/>
        </p:nvSpPr>
        <p:spPr>
          <a:xfrm>
            <a:off x="591627" y="2551708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3D693ED1-56B0-F047-9E21-0E9230A4CB63}"/>
              </a:ext>
            </a:extLst>
          </p:cNvPr>
          <p:cNvSpPr/>
          <p:nvPr/>
        </p:nvSpPr>
        <p:spPr>
          <a:xfrm>
            <a:off x="591627" y="3147889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9A766ECD-D12D-A443-B9E9-C872B1DA8FF6}"/>
              </a:ext>
            </a:extLst>
          </p:cNvPr>
          <p:cNvSpPr/>
          <p:nvPr/>
        </p:nvSpPr>
        <p:spPr>
          <a:xfrm>
            <a:off x="591627" y="3723635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E827BFBE-B467-F347-80DD-35B6582BEB67}"/>
              </a:ext>
            </a:extLst>
          </p:cNvPr>
          <p:cNvSpPr/>
          <p:nvPr/>
        </p:nvSpPr>
        <p:spPr>
          <a:xfrm>
            <a:off x="591627" y="4199320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C220A9C5-A1FA-AD46-9C97-4B3971E4A397}"/>
              </a:ext>
            </a:extLst>
          </p:cNvPr>
          <p:cNvSpPr/>
          <p:nvPr/>
        </p:nvSpPr>
        <p:spPr>
          <a:xfrm>
            <a:off x="591627" y="4727708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6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F41806FD-099A-FF46-8893-65DEC58BBEFF}"/>
              </a:ext>
            </a:extLst>
          </p:cNvPr>
          <p:cNvSpPr/>
          <p:nvPr/>
        </p:nvSpPr>
        <p:spPr>
          <a:xfrm>
            <a:off x="591627" y="5421975"/>
            <a:ext cx="6144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7</a:t>
            </a:r>
          </a:p>
        </p:txBody>
      </p:sp>
      <p:sp>
        <p:nvSpPr>
          <p:cNvPr id="43" name="Скругленный прямоугольник 12">
            <a:extLst>
              <a:ext uri="{FF2B5EF4-FFF2-40B4-BE49-F238E27FC236}">
                <a16:creationId xmlns:a16="http://schemas.microsoft.com/office/drawing/2014/main" id="{D5E73745-00F6-714C-8906-A802804EFAB7}"/>
              </a:ext>
            </a:extLst>
          </p:cNvPr>
          <p:cNvSpPr/>
          <p:nvPr/>
        </p:nvSpPr>
        <p:spPr>
          <a:xfrm>
            <a:off x="5270396" y="2169172"/>
            <a:ext cx="2984604" cy="578465"/>
          </a:xfrm>
          <a:prstGeom prst="roundRect">
            <a:avLst>
              <a:gd name="adj" fmla="val 21408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Прозрачный контроль выполнения диспетчерских заданий, корректирующих мероприятий</a:t>
            </a:r>
          </a:p>
        </p:txBody>
      </p:sp>
      <p:sp>
        <p:nvSpPr>
          <p:cNvPr id="44" name="Скругленный прямоугольник 12">
            <a:extLst>
              <a:ext uri="{FF2B5EF4-FFF2-40B4-BE49-F238E27FC236}">
                <a16:creationId xmlns:a16="http://schemas.microsoft.com/office/drawing/2014/main" id="{EA009A17-78BB-754A-BE2A-5EBC982FC478}"/>
              </a:ext>
            </a:extLst>
          </p:cNvPr>
          <p:cNvSpPr/>
          <p:nvPr/>
        </p:nvSpPr>
        <p:spPr>
          <a:xfrm>
            <a:off x="5270396" y="2864387"/>
            <a:ext cx="2984604" cy="591275"/>
          </a:xfrm>
          <a:prstGeom prst="roundRect">
            <a:avLst>
              <a:gd name="adj" fmla="val 21408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Нет потери информации по отклонениям и исполнениям заданий во время приема-передачи смены</a:t>
            </a:r>
          </a:p>
        </p:txBody>
      </p:sp>
      <p:sp>
        <p:nvSpPr>
          <p:cNvPr id="45" name="Скругленный прямоугольник 12">
            <a:extLst>
              <a:ext uri="{FF2B5EF4-FFF2-40B4-BE49-F238E27FC236}">
                <a16:creationId xmlns:a16="http://schemas.microsoft.com/office/drawing/2014/main" id="{46F61343-EB4C-DE41-93B3-B58E6766647E}"/>
              </a:ext>
            </a:extLst>
          </p:cNvPr>
          <p:cNvSpPr/>
          <p:nvPr/>
        </p:nvSpPr>
        <p:spPr>
          <a:xfrm>
            <a:off x="5270396" y="3572412"/>
            <a:ext cx="2984604" cy="591275"/>
          </a:xfrm>
          <a:prstGeom prst="roundRect">
            <a:avLst>
              <a:gd name="adj" fmla="val 21408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Единый источников диспетчерских заданий и информации о производстве</a:t>
            </a:r>
          </a:p>
        </p:txBody>
      </p:sp>
      <p:sp>
        <p:nvSpPr>
          <p:cNvPr id="46" name="Скругленный прямоугольник 12">
            <a:extLst>
              <a:ext uri="{FF2B5EF4-FFF2-40B4-BE49-F238E27FC236}">
                <a16:creationId xmlns:a16="http://schemas.microsoft.com/office/drawing/2014/main" id="{FB92CE0E-CBAF-9444-B447-0BD685B851CD}"/>
              </a:ext>
            </a:extLst>
          </p:cNvPr>
          <p:cNvSpPr/>
          <p:nvPr/>
        </p:nvSpPr>
        <p:spPr>
          <a:xfrm>
            <a:off x="5270396" y="4280437"/>
            <a:ext cx="2984604" cy="591275"/>
          </a:xfrm>
          <a:prstGeom prst="roundRect">
            <a:avLst>
              <a:gd name="adj" fmla="val 21408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Достижение единой скорости </a:t>
            </a:r>
          </a:p>
          <a:p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реакции на события</a:t>
            </a:r>
          </a:p>
        </p:txBody>
      </p:sp>
      <p:sp>
        <p:nvSpPr>
          <p:cNvPr id="47" name="Скругленный прямоугольник 12">
            <a:extLst>
              <a:ext uri="{FF2B5EF4-FFF2-40B4-BE49-F238E27FC236}">
                <a16:creationId xmlns:a16="http://schemas.microsoft.com/office/drawing/2014/main" id="{7992DC89-1E82-5A4B-93D4-4E0BF0150AA2}"/>
              </a:ext>
            </a:extLst>
          </p:cNvPr>
          <p:cNvSpPr/>
          <p:nvPr/>
        </p:nvSpPr>
        <p:spPr>
          <a:xfrm>
            <a:off x="5270396" y="4988462"/>
            <a:ext cx="2984604" cy="591275"/>
          </a:xfrm>
          <a:prstGeom prst="roundRect">
            <a:avLst>
              <a:gd name="adj" fmla="val 21408"/>
            </a:avLst>
          </a:prstGeom>
          <a:solidFill>
            <a:schemeClr val="tx2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Управляемый поток диспетчерских заданий с фиксацией изменений и ответственных</a:t>
            </a:r>
          </a:p>
        </p:txBody>
      </p:sp>
    </p:spTree>
    <p:extLst>
      <p:ext uri="{BB962C8B-B14F-4D97-AF65-F5344CB8AC3E}">
        <p14:creationId xmlns:p14="http://schemas.microsoft.com/office/powerpoint/2010/main" val="4228892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lass_00">
            <a:extLst>
              <a:ext uri="{FF2B5EF4-FFF2-40B4-BE49-F238E27FC236}">
                <a16:creationId xmlns:a16="http://schemas.microsoft.com/office/drawing/2014/main" id="{E1789C0B-443A-5A49-85E3-C408FD793F8E}"/>
              </a:ext>
            </a:extLst>
          </p:cNvPr>
          <p:cNvSpPr/>
          <p:nvPr/>
        </p:nvSpPr>
        <p:spPr>
          <a:xfrm>
            <a:off x="4322762" y="2263362"/>
            <a:ext cx="3476989" cy="2734842"/>
          </a:xfrm>
          <a:prstGeom prst="roundRect">
            <a:avLst>
              <a:gd name="adj" fmla="val 6509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57" name="Rectangle: Rounded Corners 12">
            <a:extLst>
              <a:ext uri="{FF2B5EF4-FFF2-40B4-BE49-F238E27FC236}">
                <a16:creationId xmlns:a16="http://schemas.microsoft.com/office/drawing/2014/main" id="{1285AED2-EFE7-754E-899F-06053A73B640}"/>
              </a:ext>
            </a:extLst>
          </p:cNvPr>
          <p:cNvSpPr/>
          <p:nvPr/>
        </p:nvSpPr>
        <p:spPr>
          <a:xfrm>
            <a:off x="5339317" y="2459307"/>
            <a:ext cx="2184999" cy="671674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7268422" cy="1449388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+mn-lt"/>
              </a:rPr>
              <a:t>Эффективность любого управляющего воздействия необходимо регулярно отслеживать </a:t>
            </a:r>
          </a:p>
        </p:txBody>
      </p:sp>
      <p:sp>
        <p:nvSpPr>
          <p:cNvPr id="37" name="Glass_00">
            <a:extLst>
              <a:ext uri="{FF2B5EF4-FFF2-40B4-BE49-F238E27FC236}">
                <a16:creationId xmlns:a16="http://schemas.microsoft.com/office/drawing/2014/main" id="{DB0B3E43-65EA-0347-A279-E02B22D8D90C}"/>
              </a:ext>
            </a:extLst>
          </p:cNvPr>
          <p:cNvSpPr/>
          <p:nvPr/>
        </p:nvSpPr>
        <p:spPr>
          <a:xfrm>
            <a:off x="572029" y="2263361"/>
            <a:ext cx="3476989" cy="2734843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9" name="Glass_00">
            <a:extLst>
              <a:ext uri="{FF2B5EF4-FFF2-40B4-BE49-F238E27FC236}">
                <a16:creationId xmlns:a16="http://schemas.microsoft.com/office/drawing/2014/main" id="{24BD7FD5-F6C2-5441-82A5-5F1A61B6458D}"/>
              </a:ext>
            </a:extLst>
          </p:cNvPr>
          <p:cNvSpPr/>
          <p:nvPr/>
        </p:nvSpPr>
        <p:spPr>
          <a:xfrm>
            <a:off x="8073496" y="2263361"/>
            <a:ext cx="3476989" cy="2734843"/>
          </a:xfrm>
          <a:prstGeom prst="roundRect">
            <a:avLst>
              <a:gd name="adj" fmla="val 456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0" name="Rectangle: Rounded Corners 12">
            <a:extLst>
              <a:ext uri="{FF2B5EF4-FFF2-40B4-BE49-F238E27FC236}">
                <a16:creationId xmlns:a16="http://schemas.microsoft.com/office/drawing/2014/main" id="{A4228662-F46C-4348-A780-5DA1383E1D62}"/>
              </a:ext>
            </a:extLst>
          </p:cNvPr>
          <p:cNvSpPr/>
          <p:nvPr/>
        </p:nvSpPr>
        <p:spPr>
          <a:xfrm>
            <a:off x="815067" y="3293298"/>
            <a:ext cx="2990912" cy="1508998"/>
          </a:xfrm>
          <a:prstGeom prst="roundRect">
            <a:avLst>
              <a:gd name="adj" fmla="val 11056"/>
            </a:avLst>
          </a:prstGeom>
          <a:solidFill>
            <a:srgbClr val="EDEE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F6BE3F6-999F-7F47-A43A-69DE9A8F9E75}"/>
              </a:ext>
            </a:extLst>
          </p:cNvPr>
          <p:cNvSpPr txBox="1"/>
          <p:nvPr/>
        </p:nvSpPr>
        <p:spPr>
          <a:xfrm>
            <a:off x="952454" y="3509188"/>
            <a:ext cx="2596848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Производственный персонал переходит на событийное управление для обеспечения управляемости событий и корректирующих мероприятий</a:t>
            </a:r>
          </a:p>
        </p:txBody>
      </p:sp>
      <p:sp>
        <p:nvSpPr>
          <p:cNvPr id="42" name="Нашивка 18">
            <a:extLst>
              <a:ext uri="{FF2B5EF4-FFF2-40B4-BE49-F238E27FC236}">
                <a16:creationId xmlns:a16="http://schemas.microsoft.com/office/drawing/2014/main" id="{9BCFDD9E-6FF2-CD42-BFA6-E46DE6F35A78}"/>
              </a:ext>
            </a:extLst>
          </p:cNvPr>
          <p:cNvSpPr/>
          <p:nvPr/>
        </p:nvSpPr>
        <p:spPr>
          <a:xfrm>
            <a:off x="3991932" y="2639864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6" name="Rectangle: Rounded Corners 12">
            <a:extLst>
              <a:ext uri="{FF2B5EF4-FFF2-40B4-BE49-F238E27FC236}">
                <a16:creationId xmlns:a16="http://schemas.microsoft.com/office/drawing/2014/main" id="{BCEACA68-B4FA-104E-8D78-88FD3B2A9785}"/>
              </a:ext>
            </a:extLst>
          </p:cNvPr>
          <p:cNvSpPr/>
          <p:nvPr/>
        </p:nvSpPr>
        <p:spPr>
          <a:xfrm>
            <a:off x="4533404" y="3293298"/>
            <a:ext cx="2990912" cy="1508998"/>
          </a:xfrm>
          <a:prstGeom prst="roundRect">
            <a:avLst>
              <a:gd name="adj" fmla="val 11056"/>
            </a:avLst>
          </a:prstGeom>
          <a:solidFill>
            <a:srgbClr val="EDEE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A74D8A7-21B9-EF4A-B414-C0625D61E385}"/>
              </a:ext>
            </a:extLst>
          </p:cNvPr>
          <p:cNvSpPr txBox="1"/>
          <p:nvPr/>
        </p:nvSpPr>
        <p:spPr>
          <a:xfrm>
            <a:off x="4742139" y="3509188"/>
            <a:ext cx="2596848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Повышается исполнимость оптимального плана, ускоряется принятие решений</a:t>
            </a:r>
          </a:p>
        </p:txBody>
      </p:sp>
      <p:sp>
        <p:nvSpPr>
          <p:cNvPr id="48" name="Нашивка 18">
            <a:extLst>
              <a:ext uri="{FF2B5EF4-FFF2-40B4-BE49-F238E27FC236}">
                <a16:creationId xmlns:a16="http://schemas.microsoft.com/office/drawing/2014/main" id="{BAE3B57C-83BA-EF47-ACEE-1FFF8BEB2E51}"/>
              </a:ext>
            </a:extLst>
          </p:cNvPr>
          <p:cNvSpPr/>
          <p:nvPr/>
        </p:nvSpPr>
        <p:spPr>
          <a:xfrm>
            <a:off x="7752945" y="2639864"/>
            <a:ext cx="308287" cy="351625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ectangle: Rounded Corners 12">
            <a:extLst>
              <a:ext uri="{FF2B5EF4-FFF2-40B4-BE49-F238E27FC236}">
                <a16:creationId xmlns:a16="http://schemas.microsoft.com/office/drawing/2014/main" id="{B44B2785-664F-A946-9494-4A449FAD905E}"/>
              </a:ext>
            </a:extLst>
          </p:cNvPr>
          <p:cNvSpPr/>
          <p:nvPr/>
        </p:nvSpPr>
        <p:spPr>
          <a:xfrm>
            <a:off x="8299493" y="3293298"/>
            <a:ext cx="2990912" cy="1508998"/>
          </a:xfrm>
          <a:prstGeom prst="roundRect">
            <a:avLst>
              <a:gd name="adj" fmla="val 11056"/>
            </a:avLst>
          </a:prstGeom>
          <a:solidFill>
            <a:srgbClr val="EDEE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34CE4A6-F05D-9944-AF77-37F08EF07062}"/>
              </a:ext>
            </a:extLst>
          </p:cNvPr>
          <p:cNvSpPr txBox="1"/>
          <p:nvPr/>
        </p:nvSpPr>
        <p:spPr>
          <a:xfrm>
            <a:off x="8448813" y="3509188"/>
            <a:ext cx="2293791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Необходимость отследить и оценить эффективность и степень влияния мероприятий</a:t>
            </a:r>
          </a:p>
        </p:txBody>
      </p:sp>
      <p:sp>
        <p:nvSpPr>
          <p:cNvPr id="45" name="Rectangle: Rounded Corners 12">
            <a:extLst>
              <a:ext uri="{FF2B5EF4-FFF2-40B4-BE49-F238E27FC236}">
                <a16:creationId xmlns:a16="http://schemas.microsoft.com/office/drawing/2014/main" id="{20BADF99-0CDA-2D41-B073-97A7B1C74FE3}"/>
              </a:ext>
            </a:extLst>
          </p:cNvPr>
          <p:cNvSpPr/>
          <p:nvPr/>
        </p:nvSpPr>
        <p:spPr>
          <a:xfrm>
            <a:off x="4533405" y="2459307"/>
            <a:ext cx="696141" cy="671674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8768EDA-942C-E244-B536-F822F1543C16}"/>
              </a:ext>
            </a:extLst>
          </p:cNvPr>
          <p:cNvSpPr txBox="1"/>
          <p:nvPr/>
        </p:nvSpPr>
        <p:spPr>
          <a:xfrm>
            <a:off x="6028860" y="2694054"/>
            <a:ext cx="103874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ЭФФЕКТ</a:t>
            </a: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F556E1F6-E0CA-254A-BBFD-F5F6CF01FE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64649" y="2547459"/>
            <a:ext cx="465815" cy="465815"/>
          </a:xfrm>
          <a:prstGeom prst="rect">
            <a:avLst/>
          </a:prstGeom>
        </p:spPr>
      </p:pic>
      <p:sp>
        <p:nvSpPr>
          <p:cNvPr id="58" name="Rectangle: Rounded Corners 12">
            <a:extLst>
              <a:ext uri="{FF2B5EF4-FFF2-40B4-BE49-F238E27FC236}">
                <a16:creationId xmlns:a16="http://schemas.microsoft.com/office/drawing/2014/main" id="{6565E12E-921A-614A-9626-C37AA2257B08}"/>
              </a:ext>
            </a:extLst>
          </p:cNvPr>
          <p:cNvSpPr/>
          <p:nvPr/>
        </p:nvSpPr>
        <p:spPr>
          <a:xfrm>
            <a:off x="1604226" y="2459307"/>
            <a:ext cx="2184999" cy="671674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59" name="Rectangle: Rounded Corners 12">
            <a:extLst>
              <a:ext uri="{FF2B5EF4-FFF2-40B4-BE49-F238E27FC236}">
                <a16:creationId xmlns:a16="http://schemas.microsoft.com/office/drawing/2014/main" id="{61956C6C-D1C8-2E48-9CDD-DC989AD1B637}"/>
              </a:ext>
            </a:extLst>
          </p:cNvPr>
          <p:cNvSpPr/>
          <p:nvPr/>
        </p:nvSpPr>
        <p:spPr>
          <a:xfrm>
            <a:off x="798314" y="2459307"/>
            <a:ext cx="696141" cy="671674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31F3637-35E6-7E41-8D10-5B4E0268E128}"/>
              </a:ext>
            </a:extLst>
          </p:cNvPr>
          <p:cNvSpPr txBox="1"/>
          <p:nvPr/>
        </p:nvSpPr>
        <p:spPr>
          <a:xfrm>
            <a:off x="2167418" y="2694054"/>
            <a:ext cx="103874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ПЕРСОНАЛ</a:t>
            </a:r>
          </a:p>
        </p:txBody>
      </p:sp>
      <p:sp>
        <p:nvSpPr>
          <p:cNvPr id="62" name="Rectangle: Rounded Corners 12">
            <a:extLst>
              <a:ext uri="{FF2B5EF4-FFF2-40B4-BE49-F238E27FC236}">
                <a16:creationId xmlns:a16="http://schemas.microsoft.com/office/drawing/2014/main" id="{A01F1AA8-C705-564C-A0B1-37963EE38A4E}"/>
              </a:ext>
            </a:extLst>
          </p:cNvPr>
          <p:cNvSpPr/>
          <p:nvPr/>
        </p:nvSpPr>
        <p:spPr>
          <a:xfrm>
            <a:off x="9105405" y="2459307"/>
            <a:ext cx="2184999" cy="671674"/>
          </a:xfrm>
          <a:prstGeom prst="roundRect">
            <a:avLst>
              <a:gd name="adj" fmla="val 11056"/>
            </a:avLst>
          </a:prstGeom>
          <a:solidFill>
            <a:schemeClr val="accent5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3" name="Rectangle: Rounded Corners 12">
            <a:extLst>
              <a:ext uri="{FF2B5EF4-FFF2-40B4-BE49-F238E27FC236}">
                <a16:creationId xmlns:a16="http://schemas.microsoft.com/office/drawing/2014/main" id="{EB423505-A58A-F64F-A8E6-672C7AEEFDC1}"/>
              </a:ext>
            </a:extLst>
          </p:cNvPr>
          <p:cNvSpPr/>
          <p:nvPr/>
        </p:nvSpPr>
        <p:spPr>
          <a:xfrm>
            <a:off x="8299493" y="2459307"/>
            <a:ext cx="696141" cy="671674"/>
          </a:xfrm>
          <a:prstGeom prst="roundRect">
            <a:avLst>
              <a:gd name="adj" fmla="val 11056"/>
            </a:avLst>
          </a:prstGeom>
          <a:solidFill>
            <a:schemeClr val="accent5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68A6FCE-243F-1440-B1F5-A2BB5533BD5B}"/>
              </a:ext>
            </a:extLst>
          </p:cNvPr>
          <p:cNvSpPr txBox="1"/>
          <p:nvPr/>
        </p:nvSpPr>
        <p:spPr>
          <a:xfrm>
            <a:off x="9703863" y="2694054"/>
            <a:ext cx="103874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КОНТРОЛЬ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E96CF785-FE6C-4C41-8606-7D5A6B803926}"/>
              </a:ext>
            </a:extLst>
          </p:cNvPr>
          <p:cNvGrpSpPr/>
          <p:nvPr/>
        </p:nvGrpSpPr>
        <p:grpSpPr>
          <a:xfrm>
            <a:off x="936956" y="2575191"/>
            <a:ext cx="408684" cy="407477"/>
            <a:chOff x="2045401" y="1674071"/>
            <a:chExt cx="1670094" cy="1665163"/>
          </a:xfrm>
        </p:grpSpPr>
        <p:sp>
          <p:nvSpPr>
            <p:cNvPr id="193" name="Полилиния 324">
              <a:extLst>
                <a:ext uri="{FF2B5EF4-FFF2-40B4-BE49-F238E27FC236}">
                  <a16:creationId xmlns:a16="http://schemas.microsoft.com/office/drawing/2014/main" id="{D9BEDB8A-5059-4B5B-B8D4-E760AB5DCDA6}"/>
                </a:ext>
              </a:extLst>
            </p:cNvPr>
            <p:cNvSpPr/>
            <p:nvPr/>
          </p:nvSpPr>
          <p:spPr>
            <a:xfrm>
              <a:off x="3098288" y="2661947"/>
              <a:ext cx="617207" cy="677284"/>
            </a:xfrm>
            <a:custGeom>
              <a:avLst/>
              <a:gdLst>
                <a:gd name="connsiteX0" fmla="*/ 0 w 161925"/>
                <a:gd name="connsiteY0" fmla="*/ 0 h 178212"/>
                <a:gd name="connsiteX1" fmla="*/ 0 w 161925"/>
                <a:gd name="connsiteY1" fmla="*/ 35338 h 178212"/>
                <a:gd name="connsiteX2" fmla="*/ 98393 w 161925"/>
                <a:gd name="connsiteY2" fmla="*/ 70104 h 178212"/>
                <a:gd name="connsiteX3" fmla="*/ 161925 w 161925"/>
                <a:gd name="connsiteY3" fmla="*/ 159925 h 178212"/>
                <a:gd name="connsiteX4" fmla="*/ 161925 w 161925"/>
                <a:gd name="connsiteY4" fmla="*/ 178213 h 17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78212">
                  <a:moveTo>
                    <a:pt x="0" y="0"/>
                  </a:moveTo>
                  <a:lnTo>
                    <a:pt x="0" y="35338"/>
                  </a:lnTo>
                  <a:lnTo>
                    <a:pt x="98393" y="70104"/>
                  </a:lnTo>
                  <a:cubicBezTo>
                    <a:pt x="136468" y="83550"/>
                    <a:pt x="161928" y="119544"/>
                    <a:pt x="161925" y="159925"/>
                  </a:cubicBezTo>
                  <a:lnTo>
                    <a:pt x="161925" y="1782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Полилиния 325">
              <a:extLst>
                <a:ext uri="{FF2B5EF4-FFF2-40B4-BE49-F238E27FC236}">
                  <a16:creationId xmlns:a16="http://schemas.microsoft.com/office/drawing/2014/main" id="{C3B719D3-B442-447E-9897-3F43152C330C}"/>
                </a:ext>
              </a:extLst>
            </p:cNvPr>
            <p:cNvSpPr/>
            <p:nvPr/>
          </p:nvSpPr>
          <p:spPr>
            <a:xfrm>
              <a:off x="2045401" y="2661947"/>
              <a:ext cx="617207" cy="677284"/>
            </a:xfrm>
            <a:custGeom>
              <a:avLst/>
              <a:gdLst>
                <a:gd name="connsiteX0" fmla="*/ 161925 w 161925"/>
                <a:gd name="connsiteY0" fmla="*/ 0 h 178212"/>
                <a:gd name="connsiteX1" fmla="*/ 161925 w 161925"/>
                <a:gd name="connsiteY1" fmla="*/ 35338 h 178212"/>
                <a:gd name="connsiteX2" fmla="*/ 63532 w 161925"/>
                <a:gd name="connsiteY2" fmla="*/ 70104 h 178212"/>
                <a:gd name="connsiteX3" fmla="*/ 0 w 161925"/>
                <a:gd name="connsiteY3" fmla="*/ 159925 h 178212"/>
                <a:gd name="connsiteX4" fmla="*/ 0 w 161925"/>
                <a:gd name="connsiteY4" fmla="*/ 178213 h 17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78212">
                  <a:moveTo>
                    <a:pt x="161925" y="0"/>
                  </a:moveTo>
                  <a:lnTo>
                    <a:pt x="161925" y="35338"/>
                  </a:lnTo>
                  <a:lnTo>
                    <a:pt x="63532" y="70104"/>
                  </a:lnTo>
                  <a:cubicBezTo>
                    <a:pt x="25456" y="83550"/>
                    <a:pt x="-3" y="119544"/>
                    <a:pt x="0" y="159925"/>
                  </a:cubicBezTo>
                  <a:lnTo>
                    <a:pt x="0" y="1782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Полилиния 326">
              <a:extLst>
                <a:ext uri="{FF2B5EF4-FFF2-40B4-BE49-F238E27FC236}">
                  <a16:creationId xmlns:a16="http://schemas.microsoft.com/office/drawing/2014/main" id="{7AFE803D-4799-44BC-8FC4-10DE723C9BBF}"/>
                </a:ext>
              </a:extLst>
            </p:cNvPr>
            <p:cNvSpPr/>
            <p:nvPr/>
          </p:nvSpPr>
          <p:spPr>
            <a:xfrm>
              <a:off x="2589999" y="2289457"/>
              <a:ext cx="580901" cy="470589"/>
            </a:xfrm>
            <a:custGeom>
              <a:avLst/>
              <a:gdLst>
                <a:gd name="connsiteX0" fmla="*/ 152400 w 152400"/>
                <a:gd name="connsiteY0" fmla="*/ 0 h 123825"/>
                <a:gd name="connsiteX1" fmla="*/ 152400 w 152400"/>
                <a:gd name="connsiteY1" fmla="*/ 47625 h 123825"/>
                <a:gd name="connsiteX2" fmla="*/ 76200 w 152400"/>
                <a:gd name="connsiteY2" fmla="*/ 123825 h 123825"/>
                <a:gd name="connsiteX3" fmla="*/ 76200 w 152400"/>
                <a:gd name="connsiteY3" fmla="*/ 123825 h 123825"/>
                <a:gd name="connsiteX4" fmla="*/ 0 w 152400"/>
                <a:gd name="connsiteY4" fmla="*/ 47625 h 123825"/>
                <a:gd name="connsiteX5" fmla="*/ 0 w 152400"/>
                <a:gd name="connsiteY5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123825">
                  <a:moveTo>
                    <a:pt x="152400" y="0"/>
                  </a:moveTo>
                  <a:lnTo>
                    <a:pt x="152400" y="47625"/>
                  </a:lnTo>
                  <a:cubicBezTo>
                    <a:pt x="152400" y="89709"/>
                    <a:pt x="118284" y="123825"/>
                    <a:pt x="76200" y="123825"/>
                  </a:cubicBezTo>
                  <a:lnTo>
                    <a:pt x="76200" y="123825"/>
                  </a:lnTo>
                  <a:cubicBezTo>
                    <a:pt x="34116" y="123825"/>
                    <a:pt x="0" y="89709"/>
                    <a:pt x="0" y="47625"/>
                  </a:cubicBez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Полилиния 327">
              <a:extLst>
                <a:ext uri="{FF2B5EF4-FFF2-40B4-BE49-F238E27FC236}">
                  <a16:creationId xmlns:a16="http://schemas.microsoft.com/office/drawing/2014/main" id="{91FC401A-CA34-4824-B192-487EBB4408A7}"/>
                </a:ext>
              </a:extLst>
            </p:cNvPr>
            <p:cNvSpPr/>
            <p:nvPr/>
          </p:nvSpPr>
          <p:spPr>
            <a:xfrm>
              <a:off x="3170901" y="2289457"/>
              <a:ext cx="145225" cy="144797"/>
            </a:xfrm>
            <a:custGeom>
              <a:avLst/>
              <a:gdLst>
                <a:gd name="connsiteX0" fmla="*/ 19050 w 38100"/>
                <a:gd name="connsiteY0" fmla="*/ 38100 h 38100"/>
                <a:gd name="connsiteX1" fmla="*/ 0 w 38100"/>
                <a:gd name="connsiteY1" fmla="*/ 38100 h 38100"/>
                <a:gd name="connsiteX2" fmla="*/ 0 w 38100"/>
                <a:gd name="connsiteY2" fmla="*/ 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  <a:gd name="connsiteX5" fmla="*/ 38100 w 38100"/>
                <a:gd name="connsiteY5" fmla="*/ 19050 h 38100"/>
                <a:gd name="connsiteX6" fmla="*/ 19050 w 38100"/>
                <a:gd name="connsiteY6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9050" y="38100"/>
                  </a:moveTo>
                  <a:lnTo>
                    <a:pt x="0" y="38100"/>
                  </a:lnTo>
                  <a:lnTo>
                    <a:pt x="0" y="0"/>
                  </a:lnTo>
                  <a:lnTo>
                    <a:pt x="19050" y="0"/>
                  </a:lnTo>
                  <a:cubicBezTo>
                    <a:pt x="29571" y="0"/>
                    <a:pt x="38100" y="8529"/>
                    <a:pt x="38100" y="19050"/>
                  </a:cubicBezTo>
                  <a:lnTo>
                    <a:pt x="38100" y="19050"/>
                  </a:lnTo>
                  <a:cubicBezTo>
                    <a:pt x="38100" y="29571"/>
                    <a:pt x="29571" y="38100"/>
                    <a:pt x="19050" y="3810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Полилиния 328">
              <a:extLst>
                <a:ext uri="{FF2B5EF4-FFF2-40B4-BE49-F238E27FC236}">
                  <a16:creationId xmlns:a16="http://schemas.microsoft.com/office/drawing/2014/main" id="{4B66BD27-B510-4B25-BC53-469F2F3BA7EE}"/>
                </a:ext>
              </a:extLst>
            </p:cNvPr>
            <p:cNvSpPr/>
            <p:nvPr/>
          </p:nvSpPr>
          <p:spPr>
            <a:xfrm>
              <a:off x="2444774" y="2289457"/>
              <a:ext cx="145225" cy="144797"/>
            </a:xfrm>
            <a:custGeom>
              <a:avLst/>
              <a:gdLst>
                <a:gd name="connsiteX0" fmla="*/ 19050 w 38100"/>
                <a:gd name="connsiteY0" fmla="*/ 38100 h 38100"/>
                <a:gd name="connsiteX1" fmla="*/ 38100 w 38100"/>
                <a:gd name="connsiteY1" fmla="*/ 38100 h 38100"/>
                <a:gd name="connsiteX2" fmla="*/ 38100 w 38100"/>
                <a:gd name="connsiteY2" fmla="*/ 0 h 38100"/>
                <a:gd name="connsiteX3" fmla="*/ 19050 w 38100"/>
                <a:gd name="connsiteY3" fmla="*/ 0 h 38100"/>
                <a:gd name="connsiteX4" fmla="*/ 0 w 38100"/>
                <a:gd name="connsiteY4" fmla="*/ 19050 h 38100"/>
                <a:gd name="connsiteX5" fmla="*/ 0 w 38100"/>
                <a:gd name="connsiteY5" fmla="*/ 19050 h 38100"/>
                <a:gd name="connsiteX6" fmla="*/ 19050 w 38100"/>
                <a:gd name="connsiteY6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9050" y="38100"/>
                  </a:moveTo>
                  <a:lnTo>
                    <a:pt x="38100" y="38100"/>
                  </a:lnTo>
                  <a:lnTo>
                    <a:pt x="38100" y="0"/>
                  </a:lnTo>
                  <a:lnTo>
                    <a:pt x="19050" y="0"/>
                  </a:lnTo>
                  <a:cubicBezTo>
                    <a:pt x="8529" y="0"/>
                    <a:pt x="0" y="8529"/>
                    <a:pt x="0" y="19050"/>
                  </a:cubicBezTo>
                  <a:lnTo>
                    <a:pt x="0" y="19050"/>
                  </a:lnTo>
                  <a:cubicBezTo>
                    <a:pt x="0" y="29571"/>
                    <a:pt x="8529" y="38100"/>
                    <a:pt x="19050" y="3810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Полилиния 329">
              <a:extLst>
                <a:ext uri="{FF2B5EF4-FFF2-40B4-BE49-F238E27FC236}">
                  <a16:creationId xmlns:a16="http://schemas.microsoft.com/office/drawing/2014/main" id="{BBFB10CC-F8CE-41FF-AFB9-213FF7CDC921}"/>
                </a:ext>
              </a:extLst>
            </p:cNvPr>
            <p:cNvSpPr/>
            <p:nvPr/>
          </p:nvSpPr>
          <p:spPr>
            <a:xfrm>
              <a:off x="2481081" y="2144661"/>
              <a:ext cx="798739" cy="144797"/>
            </a:xfrm>
            <a:custGeom>
              <a:avLst/>
              <a:gdLst>
                <a:gd name="connsiteX0" fmla="*/ 200025 w 209550"/>
                <a:gd name="connsiteY0" fmla="*/ 0 h 38100"/>
                <a:gd name="connsiteX1" fmla="*/ 209550 w 209550"/>
                <a:gd name="connsiteY1" fmla="*/ 0 h 38100"/>
                <a:gd name="connsiteX2" fmla="*/ 209550 w 209550"/>
                <a:gd name="connsiteY2" fmla="*/ 38100 h 38100"/>
                <a:gd name="connsiteX3" fmla="*/ 200025 w 209550"/>
                <a:gd name="connsiteY3" fmla="*/ 38100 h 38100"/>
                <a:gd name="connsiteX4" fmla="*/ 9525 w 209550"/>
                <a:gd name="connsiteY4" fmla="*/ 38100 h 38100"/>
                <a:gd name="connsiteX5" fmla="*/ 0 w 209550"/>
                <a:gd name="connsiteY5" fmla="*/ 38100 h 38100"/>
                <a:gd name="connsiteX6" fmla="*/ 0 w 209550"/>
                <a:gd name="connsiteY6" fmla="*/ 0 h 38100"/>
                <a:gd name="connsiteX7" fmla="*/ 9525 w 209550"/>
                <a:gd name="connsiteY7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38100">
                  <a:moveTo>
                    <a:pt x="200025" y="0"/>
                  </a:moveTo>
                  <a:cubicBezTo>
                    <a:pt x="205286" y="0"/>
                    <a:pt x="209550" y="0"/>
                    <a:pt x="209550" y="0"/>
                  </a:cubicBezTo>
                  <a:lnTo>
                    <a:pt x="209550" y="38100"/>
                  </a:lnTo>
                  <a:cubicBezTo>
                    <a:pt x="209550" y="38100"/>
                    <a:pt x="205286" y="38100"/>
                    <a:pt x="200025" y="38100"/>
                  </a:cubicBezTo>
                  <a:lnTo>
                    <a:pt x="9525" y="38100"/>
                  </a:lnTo>
                  <a:cubicBezTo>
                    <a:pt x="4264" y="38100"/>
                    <a:pt x="0" y="38100"/>
                    <a:pt x="0" y="38100"/>
                  </a:cubicBezTo>
                  <a:lnTo>
                    <a:pt x="0" y="0"/>
                  </a:lnTo>
                  <a:cubicBezTo>
                    <a:pt x="0" y="0"/>
                    <a:pt x="4264" y="0"/>
                    <a:pt x="9525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Полилиния 330">
              <a:extLst>
                <a:ext uri="{FF2B5EF4-FFF2-40B4-BE49-F238E27FC236}">
                  <a16:creationId xmlns:a16="http://schemas.microsoft.com/office/drawing/2014/main" id="{D2E2795B-C873-41EE-93EF-38BFC3CB6214}"/>
                </a:ext>
              </a:extLst>
            </p:cNvPr>
            <p:cNvSpPr/>
            <p:nvPr/>
          </p:nvSpPr>
          <p:spPr>
            <a:xfrm>
              <a:off x="2517387" y="1782669"/>
              <a:ext cx="726127" cy="361992"/>
            </a:xfrm>
            <a:custGeom>
              <a:avLst/>
              <a:gdLst>
                <a:gd name="connsiteX0" fmla="*/ 114300 w 190500"/>
                <a:gd name="connsiteY0" fmla="*/ 0 h 95250"/>
                <a:gd name="connsiteX1" fmla="*/ 190500 w 190500"/>
                <a:gd name="connsiteY1" fmla="*/ 76200 h 95250"/>
                <a:gd name="connsiteX2" fmla="*/ 190500 w 190500"/>
                <a:gd name="connsiteY2" fmla="*/ 95250 h 95250"/>
                <a:gd name="connsiteX3" fmla="*/ 0 w 190500"/>
                <a:gd name="connsiteY3" fmla="*/ 95250 h 95250"/>
                <a:gd name="connsiteX4" fmla="*/ 0 w 190500"/>
                <a:gd name="connsiteY4" fmla="*/ 76200 h 95250"/>
                <a:gd name="connsiteX5" fmla="*/ 76200 w 190500"/>
                <a:gd name="connsiteY5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500" h="95250">
                  <a:moveTo>
                    <a:pt x="114300" y="0"/>
                  </a:moveTo>
                  <a:cubicBezTo>
                    <a:pt x="156384" y="0"/>
                    <a:pt x="190500" y="34116"/>
                    <a:pt x="190500" y="76200"/>
                  </a:cubicBezTo>
                  <a:lnTo>
                    <a:pt x="190500" y="95250"/>
                  </a:lnTo>
                  <a:lnTo>
                    <a:pt x="0" y="95250"/>
                  </a:lnTo>
                  <a:lnTo>
                    <a:pt x="0" y="76200"/>
                  </a:lnTo>
                  <a:cubicBezTo>
                    <a:pt x="0" y="34116"/>
                    <a:pt x="34116" y="0"/>
                    <a:pt x="7620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Полилиния 331">
              <a:extLst>
                <a:ext uri="{FF2B5EF4-FFF2-40B4-BE49-F238E27FC236}">
                  <a16:creationId xmlns:a16="http://schemas.microsoft.com/office/drawing/2014/main" id="{E15A84F2-5BBC-457C-B74E-EEF3DC283D1D}"/>
                </a:ext>
              </a:extLst>
            </p:cNvPr>
            <p:cNvSpPr/>
            <p:nvPr/>
          </p:nvSpPr>
          <p:spPr>
            <a:xfrm>
              <a:off x="2807837" y="1674071"/>
              <a:ext cx="145225" cy="289593"/>
            </a:xfrm>
            <a:custGeom>
              <a:avLst/>
              <a:gdLst>
                <a:gd name="connsiteX0" fmla="*/ 0 w 38100"/>
                <a:gd name="connsiteY0" fmla="*/ 0 h 76200"/>
                <a:gd name="connsiteX1" fmla="*/ 38100 w 38100"/>
                <a:gd name="connsiteY1" fmla="*/ 0 h 76200"/>
                <a:gd name="connsiteX2" fmla="*/ 38100 w 38100"/>
                <a:gd name="connsiteY2" fmla="*/ 76200 h 76200"/>
                <a:gd name="connsiteX3" fmla="*/ 0 w 38100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76200">
                  <a:moveTo>
                    <a:pt x="0" y="0"/>
                  </a:moveTo>
                  <a:lnTo>
                    <a:pt x="38100" y="0"/>
                  </a:lnTo>
                  <a:lnTo>
                    <a:pt x="38100" y="76200"/>
                  </a:lnTo>
                  <a:lnTo>
                    <a:pt x="0" y="7620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Полилиния 332">
              <a:extLst>
                <a:ext uri="{FF2B5EF4-FFF2-40B4-BE49-F238E27FC236}">
                  <a16:creationId xmlns:a16="http://schemas.microsoft.com/office/drawing/2014/main" id="{CFA8C1E0-AAF2-4F83-98EA-B26D924C167E}"/>
                </a:ext>
              </a:extLst>
            </p:cNvPr>
            <p:cNvSpPr/>
            <p:nvPr/>
          </p:nvSpPr>
          <p:spPr>
            <a:xfrm>
              <a:off x="2662612" y="2072263"/>
              <a:ext cx="36306" cy="72399"/>
            </a:xfrm>
            <a:custGeom>
              <a:avLst/>
              <a:gdLst>
                <a:gd name="connsiteX0" fmla="*/ 0 w 9525"/>
                <a:gd name="connsiteY0" fmla="*/ 19050 h 19050"/>
                <a:gd name="connsiteX1" fmla="*/ 0 w 9525"/>
                <a:gd name="connsiteY1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1905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Полилиния 333">
              <a:extLst>
                <a:ext uri="{FF2B5EF4-FFF2-40B4-BE49-F238E27FC236}">
                  <a16:creationId xmlns:a16="http://schemas.microsoft.com/office/drawing/2014/main" id="{5ECBA347-0FDA-4BEE-B5D8-8355C129616E}"/>
                </a:ext>
              </a:extLst>
            </p:cNvPr>
            <p:cNvSpPr/>
            <p:nvPr/>
          </p:nvSpPr>
          <p:spPr>
            <a:xfrm>
              <a:off x="3098288" y="2072263"/>
              <a:ext cx="36306" cy="72399"/>
            </a:xfrm>
            <a:custGeom>
              <a:avLst/>
              <a:gdLst>
                <a:gd name="connsiteX0" fmla="*/ 0 w 9525"/>
                <a:gd name="connsiteY0" fmla="*/ 19050 h 19050"/>
                <a:gd name="connsiteX1" fmla="*/ 0 w 9525"/>
                <a:gd name="connsiteY1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1905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Полилиния 334">
              <a:extLst>
                <a:ext uri="{FF2B5EF4-FFF2-40B4-BE49-F238E27FC236}">
                  <a16:creationId xmlns:a16="http://schemas.microsoft.com/office/drawing/2014/main" id="{E5D80055-9D9D-4874-ADF8-B934D5E94163}"/>
                </a:ext>
              </a:extLst>
            </p:cNvPr>
            <p:cNvSpPr/>
            <p:nvPr/>
          </p:nvSpPr>
          <p:spPr>
            <a:xfrm>
              <a:off x="2372162" y="3049641"/>
              <a:ext cx="1016577" cy="289593"/>
            </a:xfrm>
            <a:custGeom>
              <a:avLst/>
              <a:gdLst>
                <a:gd name="connsiteX0" fmla="*/ 0 w 266700"/>
                <a:gd name="connsiteY0" fmla="*/ 76200 h 76200"/>
                <a:gd name="connsiteX1" fmla="*/ 0 w 266700"/>
                <a:gd name="connsiteY1" fmla="*/ 28575 h 76200"/>
                <a:gd name="connsiteX2" fmla="*/ 28575 w 266700"/>
                <a:gd name="connsiteY2" fmla="*/ 0 h 76200"/>
                <a:gd name="connsiteX3" fmla="*/ 238125 w 266700"/>
                <a:gd name="connsiteY3" fmla="*/ 0 h 76200"/>
                <a:gd name="connsiteX4" fmla="*/ 266700 w 266700"/>
                <a:gd name="connsiteY4" fmla="*/ 28575 h 76200"/>
                <a:gd name="connsiteX5" fmla="*/ 266700 w 266700"/>
                <a:gd name="connsiteY5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0" h="76200">
                  <a:moveTo>
                    <a:pt x="0" y="76200"/>
                  </a:moveTo>
                  <a:lnTo>
                    <a:pt x="0" y="28575"/>
                  </a:lnTo>
                  <a:cubicBezTo>
                    <a:pt x="0" y="12793"/>
                    <a:pt x="12793" y="0"/>
                    <a:pt x="28575" y="0"/>
                  </a:cubicBezTo>
                  <a:lnTo>
                    <a:pt x="238125" y="0"/>
                  </a:lnTo>
                  <a:cubicBezTo>
                    <a:pt x="253907" y="0"/>
                    <a:pt x="266700" y="12793"/>
                    <a:pt x="266700" y="28575"/>
                  </a:cubicBezTo>
                  <a:lnTo>
                    <a:pt x="266700" y="7620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Полилиния 335">
              <a:extLst>
                <a:ext uri="{FF2B5EF4-FFF2-40B4-BE49-F238E27FC236}">
                  <a16:creationId xmlns:a16="http://schemas.microsoft.com/office/drawing/2014/main" id="{66B5C808-6AA6-446C-98FA-F8B6F64DE9E5}"/>
                </a:ext>
              </a:extLst>
            </p:cNvPr>
            <p:cNvSpPr/>
            <p:nvPr/>
          </p:nvSpPr>
          <p:spPr>
            <a:xfrm>
              <a:off x="2589999" y="2821945"/>
              <a:ext cx="36306" cy="227692"/>
            </a:xfrm>
            <a:custGeom>
              <a:avLst/>
              <a:gdLst>
                <a:gd name="connsiteX0" fmla="*/ 0 w 9525"/>
                <a:gd name="connsiteY0" fmla="*/ 59912 h 59912"/>
                <a:gd name="connsiteX1" fmla="*/ 0 w 9525"/>
                <a:gd name="connsiteY1" fmla="*/ 0 h 5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9912">
                  <a:moveTo>
                    <a:pt x="0" y="5991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Полилиния 336">
              <a:extLst>
                <a:ext uri="{FF2B5EF4-FFF2-40B4-BE49-F238E27FC236}">
                  <a16:creationId xmlns:a16="http://schemas.microsoft.com/office/drawing/2014/main" id="{403DE055-DECA-4280-8770-D68EBDEBDF0E}"/>
                </a:ext>
              </a:extLst>
            </p:cNvPr>
            <p:cNvSpPr/>
            <p:nvPr/>
          </p:nvSpPr>
          <p:spPr>
            <a:xfrm>
              <a:off x="2444774" y="2872988"/>
              <a:ext cx="36306" cy="176652"/>
            </a:xfrm>
            <a:custGeom>
              <a:avLst/>
              <a:gdLst>
                <a:gd name="connsiteX0" fmla="*/ 0 w 9525"/>
                <a:gd name="connsiteY0" fmla="*/ 46482 h 46482"/>
                <a:gd name="connsiteX1" fmla="*/ 0 w 9525"/>
                <a:gd name="connsiteY1" fmla="*/ 0 h 4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482">
                  <a:moveTo>
                    <a:pt x="0" y="4648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Полилиния 337">
              <a:extLst>
                <a:ext uri="{FF2B5EF4-FFF2-40B4-BE49-F238E27FC236}">
                  <a16:creationId xmlns:a16="http://schemas.microsoft.com/office/drawing/2014/main" id="{FA6F1FE0-F164-44D3-B549-BE483502DC6D}"/>
                </a:ext>
              </a:extLst>
            </p:cNvPr>
            <p:cNvSpPr/>
            <p:nvPr/>
          </p:nvSpPr>
          <p:spPr>
            <a:xfrm>
              <a:off x="3316126" y="2872988"/>
              <a:ext cx="36306" cy="176652"/>
            </a:xfrm>
            <a:custGeom>
              <a:avLst/>
              <a:gdLst>
                <a:gd name="connsiteX0" fmla="*/ 0 w 9525"/>
                <a:gd name="connsiteY0" fmla="*/ 46482 h 46482"/>
                <a:gd name="connsiteX1" fmla="*/ 0 w 9525"/>
                <a:gd name="connsiteY1" fmla="*/ 0 h 4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482">
                  <a:moveTo>
                    <a:pt x="0" y="4648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Полилиния 338">
              <a:extLst>
                <a:ext uri="{FF2B5EF4-FFF2-40B4-BE49-F238E27FC236}">
                  <a16:creationId xmlns:a16="http://schemas.microsoft.com/office/drawing/2014/main" id="{8E5BC760-C01A-4EF2-81B9-FC5EB3A56671}"/>
                </a:ext>
              </a:extLst>
            </p:cNvPr>
            <p:cNvSpPr/>
            <p:nvPr/>
          </p:nvSpPr>
          <p:spPr>
            <a:xfrm>
              <a:off x="3170901" y="2821945"/>
              <a:ext cx="36306" cy="227692"/>
            </a:xfrm>
            <a:custGeom>
              <a:avLst/>
              <a:gdLst>
                <a:gd name="connsiteX0" fmla="*/ 0 w 9525"/>
                <a:gd name="connsiteY0" fmla="*/ 59912 h 59912"/>
                <a:gd name="connsiteX1" fmla="*/ 0 w 9525"/>
                <a:gd name="connsiteY1" fmla="*/ 0 h 5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9912">
                  <a:moveTo>
                    <a:pt x="0" y="5991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Полилиния 339">
              <a:extLst>
                <a:ext uri="{FF2B5EF4-FFF2-40B4-BE49-F238E27FC236}">
                  <a16:creationId xmlns:a16="http://schemas.microsoft.com/office/drawing/2014/main" id="{A56FA497-4997-4682-B512-F204177F3848}"/>
                </a:ext>
              </a:extLst>
            </p:cNvPr>
            <p:cNvSpPr/>
            <p:nvPr/>
          </p:nvSpPr>
          <p:spPr>
            <a:xfrm>
              <a:off x="2662612" y="2796246"/>
              <a:ext cx="435675" cy="253394"/>
            </a:xfrm>
            <a:custGeom>
              <a:avLst/>
              <a:gdLst>
                <a:gd name="connsiteX0" fmla="*/ 0 w 114300"/>
                <a:gd name="connsiteY0" fmla="*/ 0 h 66675"/>
                <a:gd name="connsiteX1" fmla="*/ 57150 w 114300"/>
                <a:gd name="connsiteY1" fmla="*/ 66675 h 66675"/>
                <a:gd name="connsiteX2" fmla="*/ 114300 w 11430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66675">
                  <a:moveTo>
                    <a:pt x="0" y="0"/>
                  </a:moveTo>
                  <a:lnTo>
                    <a:pt x="57150" y="66675"/>
                  </a:lnTo>
                  <a:lnTo>
                    <a:pt x="11430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11" name="Рисунок 210">
            <a:extLst>
              <a:ext uri="{FF2B5EF4-FFF2-40B4-BE49-F238E27FC236}">
                <a16:creationId xmlns:a16="http://schemas.microsoft.com/office/drawing/2014/main" id="{289FB18D-683E-478B-B86F-E6D022C02C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48813" y="2570189"/>
            <a:ext cx="451241" cy="44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384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lass_00">
            <a:extLst>
              <a:ext uri="{FF2B5EF4-FFF2-40B4-BE49-F238E27FC236}">
                <a16:creationId xmlns:a16="http://schemas.microsoft.com/office/drawing/2014/main" id="{4B3C5A2A-3EE1-444E-87C7-CE818141537D}"/>
              </a:ext>
            </a:extLst>
          </p:cNvPr>
          <p:cNvSpPr/>
          <p:nvPr/>
        </p:nvSpPr>
        <p:spPr>
          <a:xfrm>
            <a:off x="606241" y="1363609"/>
            <a:ext cx="10929006" cy="2440179"/>
          </a:xfrm>
          <a:prstGeom prst="roundRect">
            <a:avLst>
              <a:gd name="adj" fmla="val 4438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0" name="Rectangle: Rounded Corners 12">
            <a:extLst>
              <a:ext uri="{FF2B5EF4-FFF2-40B4-BE49-F238E27FC236}">
                <a16:creationId xmlns:a16="http://schemas.microsoft.com/office/drawing/2014/main" id="{8385D597-725F-E146-A0F3-23931B2C22C9}"/>
              </a:ext>
            </a:extLst>
          </p:cNvPr>
          <p:cNvSpPr/>
          <p:nvPr/>
        </p:nvSpPr>
        <p:spPr>
          <a:xfrm>
            <a:off x="4211411" y="1844981"/>
            <a:ext cx="3175766" cy="330144"/>
          </a:xfrm>
          <a:prstGeom prst="roundRect">
            <a:avLst>
              <a:gd name="adj" fmla="val 11056"/>
            </a:avLst>
          </a:prstGeom>
          <a:solidFill>
            <a:srgbClr val="EDEE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89" name="Rectangle: Rounded Corners 12">
            <a:extLst>
              <a:ext uri="{FF2B5EF4-FFF2-40B4-BE49-F238E27FC236}">
                <a16:creationId xmlns:a16="http://schemas.microsoft.com/office/drawing/2014/main" id="{43EB1E2B-A432-E54F-A35F-8E1E321BD279}"/>
              </a:ext>
            </a:extLst>
          </p:cNvPr>
          <p:cNvSpPr/>
          <p:nvPr/>
        </p:nvSpPr>
        <p:spPr>
          <a:xfrm>
            <a:off x="847725" y="1844981"/>
            <a:ext cx="2268000" cy="330144"/>
          </a:xfrm>
          <a:prstGeom prst="roundRect">
            <a:avLst>
              <a:gd name="adj" fmla="val 11056"/>
            </a:avLst>
          </a:prstGeom>
          <a:solidFill>
            <a:srgbClr val="EDEE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8" y="1"/>
            <a:ext cx="7790023" cy="1449388"/>
          </a:xfrm>
        </p:spPr>
        <p:txBody>
          <a:bodyPr>
            <a:normAutofit/>
          </a:bodyPr>
          <a:lstStyle/>
          <a:p>
            <a:r>
              <a:rPr lang="ru-RU" sz="2400" dirty="0"/>
              <a:t>Отслеживание эффективности событийного управления на основе расчета КПЭ</a:t>
            </a:r>
          </a:p>
        </p:txBody>
      </p:sp>
      <p:sp>
        <p:nvSpPr>
          <p:cNvPr id="213" name="Прямоугольник: скругленные углы 212">
            <a:extLst>
              <a:ext uri="{FF2B5EF4-FFF2-40B4-BE49-F238E27FC236}">
                <a16:creationId xmlns:a16="http://schemas.microsoft.com/office/drawing/2014/main" id="{92D06EA7-1400-431B-A604-FEEBB1235DAA}"/>
              </a:ext>
            </a:extLst>
          </p:cNvPr>
          <p:cNvSpPr/>
          <p:nvPr/>
        </p:nvSpPr>
        <p:spPr>
          <a:xfrm>
            <a:off x="825931" y="10328480"/>
            <a:ext cx="11366069" cy="1894226"/>
          </a:xfrm>
          <a:prstGeom prst="roundRect">
            <a:avLst/>
          </a:prstGeom>
          <a:solidFill>
            <a:srgbClr val="EDEE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766DE0D-ABF1-4573-BDD1-E605B20D2A60}"/>
              </a:ext>
            </a:extLst>
          </p:cNvPr>
          <p:cNvGrpSpPr/>
          <p:nvPr/>
        </p:nvGrpSpPr>
        <p:grpSpPr>
          <a:xfrm>
            <a:off x="1052373" y="2204351"/>
            <a:ext cx="2446504" cy="1020850"/>
            <a:chOff x="526478" y="2182192"/>
            <a:chExt cx="2446504" cy="1020850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2B3230D9-FB1E-408E-9B8E-E2DAFB83EDAB}"/>
                </a:ext>
              </a:extLst>
            </p:cNvPr>
            <p:cNvSpPr/>
            <p:nvPr/>
          </p:nvSpPr>
          <p:spPr>
            <a:xfrm>
              <a:off x="526478" y="2431289"/>
              <a:ext cx="244650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>
                <a:buClr>
                  <a:srgbClr val="76AF3E"/>
                </a:buClr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зопасность и надежность</a:t>
              </a: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5F5BC210-7238-4483-A923-79F53EA7E6DB}"/>
                </a:ext>
              </a:extLst>
            </p:cNvPr>
            <p:cNvSpPr/>
            <p:nvPr/>
          </p:nvSpPr>
          <p:spPr>
            <a:xfrm>
              <a:off x="526478" y="2684951"/>
              <a:ext cx="206017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>
                <a:buClr>
                  <a:srgbClr val="76AF3E"/>
                </a:buClr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Энергоэффективность</a:t>
              </a: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15B0EA86-7D8C-459E-83DA-C5E72BE545A4}"/>
                </a:ext>
              </a:extLst>
            </p:cNvPr>
            <p:cNvSpPr/>
            <p:nvPr/>
          </p:nvSpPr>
          <p:spPr>
            <a:xfrm>
              <a:off x="526478" y="2926043"/>
              <a:ext cx="111761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>
                <a:buClr>
                  <a:srgbClr val="76AF3E"/>
                </a:buClr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ачество</a:t>
              </a: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EF61BDC3-53C7-4BFD-8308-BCBCE55DB237}"/>
                </a:ext>
              </a:extLst>
            </p:cNvPr>
            <p:cNvSpPr/>
            <p:nvPr/>
          </p:nvSpPr>
          <p:spPr>
            <a:xfrm>
              <a:off x="526478" y="2182192"/>
              <a:ext cx="147508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285750" indent="-285750">
                <a:buClr>
                  <a:srgbClr val="76AF3E"/>
                </a:buClr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сполнимость</a:t>
              </a: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FA7FC330-209E-F24D-83D3-D0DF09F46C59}"/>
              </a:ext>
            </a:extLst>
          </p:cNvPr>
          <p:cNvSpPr txBox="1"/>
          <p:nvPr/>
        </p:nvSpPr>
        <p:spPr>
          <a:xfrm>
            <a:off x="1109194" y="1917720"/>
            <a:ext cx="240545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РУППЫ</a:t>
            </a:r>
            <a:r>
              <a:rPr lang="ru-RU" sz="11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ЧЕТА</a:t>
            </a:r>
            <a:r>
              <a:rPr lang="ru-RU" sz="11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ПЭ</a:t>
            </a:r>
            <a:endParaRPr lang="ru-RU" sz="1100" b="1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DF1E82D-2949-6143-8B09-64BBE9E2366D}"/>
              </a:ext>
            </a:extLst>
          </p:cNvPr>
          <p:cNvSpPr txBox="1"/>
          <p:nvPr/>
        </p:nvSpPr>
        <p:spPr>
          <a:xfrm>
            <a:off x="4283560" y="1917720"/>
            <a:ext cx="301598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ОНАЛЬНЫЕ ВОЗМОЖНОСТИ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FD2AB7E-EEB5-421A-850F-60B1659AEA86}"/>
              </a:ext>
            </a:extLst>
          </p:cNvPr>
          <p:cNvGrpSpPr/>
          <p:nvPr/>
        </p:nvGrpSpPr>
        <p:grpSpPr>
          <a:xfrm>
            <a:off x="4193563" y="2204351"/>
            <a:ext cx="4944500" cy="1205230"/>
            <a:chOff x="8493364" y="2207893"/>
            <a:chExt cx="3285670" cy="1205230"/>
          </a:xfrm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D52724FE-0A06-4E25-901C-87685C3A3D2C}"/>
                </a:ext>
              </a:extLst>
            </p:cNvPr>
            <p:cNvSpPr/>
            <p:nvPr/>
          </p:nvSpPr>
          <p:spPr>
            <a:xfrm>
              <a:off x="8493364" y="2207893"/>
              <a:ext cx="309690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rgbClr val="76AF3E"/>
                </a:buClr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счет показателей эффективности по исполнимости, безопасности, энергоэффективности и качеству</a:t>
              </a: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D3E184A5-E9F4-42E2-848F-0B18AB7CB850}"/>
                </a:ext>
              </a:extLst>
            </p:cNvPr>
            <p:cNvSpPr/>
            <p:nvPr/>
          </p:nvSpPr>
          <p:spPr>
            <a:xfrm>
              <a:off x="8493364" y="2675963"/>
              <a:ext cx="294386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rgbClr val="76AF3E"/>
                </a:buClr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счет отклонений параметров по загрузке  мощностей, производству и качеству</a:t>
              </a: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731F7E5A-1D70-4C40-82C2-06475703E4EE}"/>
                </a:ext>
              </a:extLst>
            </p:cNvPr>
            <p:cNvSpPr/>
            <p:nvPr/>
          </p:nvSpPr>
          <p:spPr>
            <a:xfrm>
              <a:off x="8493364" y="3136124"/>
              <a:ext cx="32856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Clr>
                  <a:srgbClr val="76AF3E"/>
                </a:buClr>
                <a:buFont typeface="Wingdings" panose="05000000000000000000" pitchFamily="2" charset="2"/>
                <a:buChar char="§"/>
              </a:pPr>
              <a:r>
                <a:rPr lang="ru-RU" sz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изуализация информации</a:t>
              </a: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D9C3D893-A7F6-514B-9E1D-E8C59190D6FC}"/>
              </a:ext>
            </a:extLst>
          </p:cNvPr>
          <p:cNvGrpSpPr/>
          <p:nvPr/>
        </p:nvGrpSpPr>
        <p:grpSpPr>
          <a:xfrm>
            <a:off x="8711831" y="1170610"/>
            <a:ext cx="2832473" cy="2842674"/>
            <a:chOff x="3885988" y="747684"/>
            <a:chExt cx="4414647" cy="4430546"/>
          </a:xfrm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D016000A-801B-D247-9669-FB638538A40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743681">
              <a:off x="4329084" y="1211477"/>
              <a:ext cx="3528456" cy="3502961"/>
            </a:xfrm>
            <a:prstGeom prst="rect">
              <a:avLst/>
            </a:prstGeom>
          </p:spPr>
        </p:pic>
        <p:pic>
          <p:nvPicPr>
            <p:cNvPr id="43" name="Рисунок 42" descr="Изображение выглядит как Графика, творческий подход&#10;&#10;Автоматически созданное описание">
              <a:extLst>
                <a:ext uri="{FF2B5EF4-FFF2-40B4-BE49-F238E27FC236}">
                  <a16:creationId xmlns:a16="http://schemas.microsoft.com/office/drawing/2014/main" id="{E5920B7A-770E-934A-865E-F663C1F10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20561626">
              <a:off x="3885988" y="747684"/>
              <a:ext cx="4414647" cy="4430546"/>
            </a:xfrm>
            <a:prstGeom prst="rect">
              <a:avLst/>
            </a:prstGeom>
          </p:spPr>
        </p:pic>
        <p:sp>
          <p:nvSpPr>
            <p:cNvPr id="45" name="Скругленный прямоугольник 44">
              <a:extLst>
                <a:ext uri="{FF2B5EF4-FFF2-40B4-BE49-F238E27FC236}">
                  <a16:creationId xmlns:a16="http://schemas.microsoft.com/office/drawing/2014/main" id="{0AC5C178-B2B8-2A40-ACCC-E8E7BD12DAAC}"/>
                </a:ext>
              </a:extLst>
            </p:cNvPr>
            <p:cNvSpPr/>
            <p:nvPr/>
          </p:nvSpPr>
          <p:spPr>
            <a:xfrm>
              <a:off x="5061648" y="2025217"/>
              <a:ext cx="591721" cy="58686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3000"/>
              </a:schemeClr>
            </a:solidFill>
            <a:ln w="19050" cap="flat">
              <a:solidFill>
                <a:schemeClr val="bg1"/>
              </a:solidFill>
              <a:prstDash val="solid"/>
              <a:miter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  <p:pic>
          <p:nvPicPr>
            <p:cNvPr id="8" name="Рисунок 7" descr="Линейчатая диаграмма с тенденцией к понижению">
              <a:extLst>
                <a:ext uri="{FF2B5EF4-FFF2-40B4-BE49-F238E27FC236}">
                  <a16:creationId xmlns:a16="http://schemas.microsoft.com/office/drawing/2014/main" id="{269300FD-67C4-4780-8F26-B1A6E24BA58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120794" y="3310020"/>
              <a:ext cx="481055" cy="481055"/>
            </a:xfrm>
            <a:prstGeom prst="rect">
              <a:avLst/>
            </a:prstGeom>
          </p:spPr>
        </p:pic>
        <p:pic>
          <p:nvPicPr>
            <p:cNvPr id="10" name="Рисунок 9" descr="Линейчатая диаграмма с тенденцией к повышению">
              <a:extLst>
                <a:ext uri="{FF2B5EF4-FFF2-40B4-BE49-F238E27FC236}">
                  <a16:creationId xmlns:a16="http://schemas.microsoft.com/office/drawing/2014/main" id="{39A78CA6-8738-4684-A9BA-F7391F412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542307" y="3312168"/>
              <a:ext cx="481055" cy="481055"/>
            </a:xfrm>
            <a:prstGeom prst="rect">
              <a:avLst/>
            </a:prstGeom>
          </p:spPr>
        </p:pic>
        <p:pic>
          <p:nvPicPr>
            <p:cNvPr id="12" name="Рисунок 11" descr="Круговая диаграмма">
              <a:extLst>
                <a:ext uri="{FF2B5EF4-FFF2-40B4-BE49-F238E27FC236}">
                  <a16:creationId xmlns:a16="http://schemas.microsoft.com/office/drawing/2014/main" id="{8F1779C3-5911-4D5A-9D11-A0AEF92571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01919" y="2065131"/>
              <a:ext cx="507033" cy="507033"/>
            </a:xfrm>
            <a:prstGeom prst="rect">
              <a:avLst/>
            </a:prstGeom>
          </p:spPr>
        </p:pic>
        <p:pic>
          <p:nvPicPr>
            <p:cNvPr id="14" name="Рисунок 13" descr="Измерительный прибор">
              <a:extLst>
                <a:ext uri="{FF2B5EF4-FFF2-40B4-BE49-F238E27FC236}">
                  <a16:creationId xmlns:a16="http://schemas.microsoft.com/office/drawing/2014/main" id="{E98411E6-0B4A-4500-B97D-92436D0C85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696701" y="2493909"/>
              <a:ext cx="824466" cy="824466"/>
            </a:xfrm>
            <a:prstGeom prst="rect">
              <a:avLst/>
            </a:prstGeom>
          </p:spPr>
        </p:pic>
        <p:pic>
          <p:nvPicPr>
            <p:cNvPr id="16" name="Рисунок 15" descr="Таблица">
              <a:extLst>
                <a:ext uri="{FF2B5EF4-FFF2-40B4-BE49-F238E27FC236}">
                  <a16:creationId xmlns:a16="http://schemas.microsoft.com/office/drawing/2014/main" id="{D70C14BE-1267-467F-B3C0-849887C6ED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541837" y="2058182"/>
              <a:ext cx="507033" cy="507033"/>
            </a:xfrm>
            <a:prstGeom prst="rect">
              <a:avLst/>
            </a:prstGeom>
          </p:spPr>
        </p:pic>
        <p:sp>
          <p:nvSpPr>
            <p:cNvPr id="50" name="Скругленный прямоугольник 49">
              <a:extLst>
                <a:ext uri="{FF2B5EF4-FFF2-40B4-BE49-F238E27FC236}">
                  <a16:creationId xmlns:a16="http://schemas.microsoft.com/office/drawing/2014/main" id="{66A8CDE1-4AB3-5349-8281-4AE4A15FE290}"/>
                </a:ext>
              </a:extLst>
            </p:cNvPr>
            <p:cNvSpPr/>
            <p:nvPr/>
          </p:nvSpPr>
          <p:spPr>
            <a:xfrm>
              <a:off x="6484048" y="2025217"/>
              <a:ext cx="591721" cy="58686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3000"/>
              </a:schemeClr>
            </a:solidFill>
            <a:ln w="19050" cap="flat">
              <a:solidFill>
                <a:schemeClr val="bg1"/>
              </a:solidFill>
              <a:prstDash val="solid"/>
              <a:miter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  <p:sp>
          <p:nvSpPr>
            <p:cNvPr id="51" name="Скругленный прямоугольник 50">
              <a:extLst>
                <a:ext uri="{FF2B5EF4-FFF2-40B4-BE49-F238E27FC236}">
                  <a16:creationId xmlns:a16="http://schemas.microsoft.com/office/drawing/2014/main" id="{2609880C-0E10-384A-A80C-5C068988E4EE}"/>
                </a:ext>
              </a:extLst>
            </p:cNvPr>
            <p:cNvSpPr/>
            <p:nvPr/>
          </p:nvSpPr>
          <p:spPr>
            <a:xfrm>
              <a:off x="5061648" y="3257117"/>
              <a:ext cx="591721" cy="58686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3000"/>
              </a:schemeClr>
            </a:solidFill>
            <a:ln w="19050" cap="flat">
              <a:solidFill>
                <a:schemeClr val="bg1"/>
              </a:solidFill>
              <a:prstDash val="solid"/>
              <a:miter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  <p:sp>
          <p:nvSpPr>
            <p:cNvPr id="52" name="Скругленный прямоугольник 51">
              <a:extLst>
                <a:ext uri="{FF2B5EF4-FFF2-40B4-BE49-F238E27FC236}">
                  <a16:creationId xmlns:a16="http://schemas.microsoft.com/office/drawing/2014/main" id="{1B43835B-D3D1-DA4D-AFBF-15FD501618AE}"/>
                </a:ext>
              </a:extLst>
            </p:cNvPr>
            <p:cNvSpPr/>
            <p:nvPr/>
          </p:nvSpPr>
          <p:spPr>
            <a:xfrm>
              <a:off x="6484048" y="3257117"/>
              <a:ext cx="591721" cy="58686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3000"/>
              </a:schemeClr>
            </a:solidFill>
            <a:ln w="19050" cap="flat">
              <a:solidFill>
                <a:schemeClr val="bg1"/>
              </a:solidFill>
              <a:prstDash val="solid"/>
              <a:miter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</p:grpSp>
      <p:sp>
        <p:nvSpPr>
          <p:cNvPr id="116" name="Glass_00">
            <a:extLst>
              <a:ext uri="{FF2B5EF4-FFF2-40B4-BE49-F238E27FC236}">
                <a16:creationId xmlns:a16="http://schemas.microsoft.com/office/drawing/2014/main" id="{F1E65DF7-EA41-274D-B672-2A6AC75D7E54}"/>
              </a:ext>
            </a:extLst>
          </p:cNvPr>
          <p:cNvSpPr/>
          <p:nvPr/>
        </p:nvSpPr>
        <p:spPr>
          <a:xfrm>
            <a:off x="4355420" y="4079273"/>
            <a:ext cx="3476989" cy="2032215"/>
          </a:xfrm>
          <a:prstGeom prst="roundRect">
            <a:avLst>
              <a:gd name="adj" fmla="val 6509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18" name="Glass_00">
            <a:extLst>
              <a:ext uri="{FF2B5EF4-FFF2-40B4-BE49-F238E27FC236}">
                <a16:creationId xmlns:a16="http://schemas.microsoft.com/office/drawing/2014/main" id="{2B45C212-BAD3-3A43-AE32-86BCFD1DDBCB}"/>
              </a:ext>
            </a:extLst>
          </p:cNvPr>
          <p:cNvSpPr/>
          <p:nvPr/>
        </p:nvSpPr>
        <p:spPr>
          <a:xfrm>
            <a:off x="604687" y="4079273"/>
            <a:ext cx="3476989" cy="2032216"/>
          </a:xfrm>
          <a:prstGeom prst="roundRect">
            <a:avLst>
              <a:gd name="adj" fmla="val 6996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19" name="Glass_00">
            <a:extLst>
              <a:ext uri="{FF2B5EF4-FFF2-40B4-BE49-F238E27FC236}">
                <a16:creationId xmlns:a16="http://schemas.microsoft.com/office/drawing/2014/main" id="{1BD979C5-BFD8-EC47-B0A8-749A1E8B098A}"/>
              </a:ext>
            </a:extLst>
          </p:cNvPr>
          <p:cNvSpPr/>
          <p:nvPr/>
        </p:nvSpPr>
        <p:spPr>
          <a:xfrm>
            <a:off x="8106154" y="4079273"/>
            <a:ext cx="3476989" cy="2032216"/>
          </a:xfrm>
          <a:prstGeom prst="roundRect">
            <a:avLst>
              <a:gd name="adj" fmla="val 4561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0" name="Rectangle: Rounded Corners 12">
            <a:extLst>
              <a:ext uri="{FF2B5EF4-FFF2-40B4-BE49-F238E27FC236}">
                <a16:creationId xmlns:a16="http://schemas.microsoft.com/office/drawing/2014/main" id="{A7E9C96A-6BF1-434F-A951-5DD75E2347AE}"/>
              </a:ext>
            </a:extLst>
          </p:cNvPr>
          <p:cNvSpPr/>
          <p:nvPr/>
        </p:nvSpPr>
        <p:spPr>
          <a:xfrm>
            <a:off x="847725" y="4800452"/>
            <a:ext cx="2990912" cy="1162754"/>
          </a:xfrm>
          <a:prstGeom prst="roundRect">
            <a:avLst>
              <a:gd name="adj" fmla="val 11056"/>
            </a:avLst>
          </a:prstGeom>
          <a:solidFill>
            <a:srgbClr val="EDEE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0661449-2A57-7948-93BE-5A58F1677BF5}"/>
              </a:ext>
            </a:extLst>
          </p:cNvPr>
          <p:cNvSpPr txBox="1"/>
          <p:nvPr/>
        </p:nvSpPr>
        <p:spPr>
          <a:xfrm>
            <a:off x="985112" y="4903045"/>
            <a:ext cx="2596848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Производственный персонал переходит на событийное управление для обеспечения управляемости событий и корректирующих мероприятий</a:t>
            </a:r>
          </a:p>
        </p:txBody>
      </p:sp>
      <p:sp>
        <p:nvSpPr>
          <p:cNvPr id="123" name="Rectangle: Rounded Corners 12">
            <a:extLst>
              <a:ext uri="{FF2B5EF4-FFF2-40B4-BE49-F238E27FC236}">
                <a16:creationId xmlns:a16="http://schemas.microsoft.com/office/drawing/2014/main" id="{D7DB7B2A-2587-AE47-857E-907816C084B1}"/>
              </a:ext>
            </a:extLst>
          </p:cNvPr>
          <p:cNvSpPr/>
          <p:nvPr/>
        </p:nvSpPr>
        <p:spPr>
          <a:xfrm>
            <a:off x="4566062" y="4800452"/>
            <a:ext cx="2990912" cy="1162754"/>
          </a:xfrm>
          <a:prstGeom prst="roundRect">
            <a:avLst>
              <a:gd name="adj" fmla="val 11056"/>
            </a:avLst>
          </a:prstGeom>
          <a:solidFill>
            <a:srgbClr val="EDEEF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36FA3656-526A-8146-8490-DF6927912FC4}"/>
              </a:ext>
            </a:extLst>
          </p:cNvPr>
          <p:cNvSpPr txBox="1"/>
          <p:nvPr/>
        </p:nvSpPr>
        <p:spPr>
          <a:xfrm>
            <a:off x="4774797" y="4903045"/>
            <a:ext cx="2596848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Повышается исполнимость оптимального плана, ускоряется принятие решений</a:t>
            </a:r>
          </a:p>
        </p:txBody>
      </p:sp>
      <p:sp>
        <p:nvSpPr>
          <p:cNvPr id="126" name="Rectangle: Rounded Corners 12">
            <a:extLst>
              <a:ext uri="{FF2B5EF4-FFF2-40B4-BE49-F238E27FC236}">
                <a16:creationId xmlns:a16="http://schemas.microsoft.com/office/drawing/2014/main" id="{964345FF-528E-374D-817C-9E14D2CB6EDC}"/>
              </a:ext>
            </a:extLst>
          </p:cNvPr>
          <p:cNvSpPr/>
          <p:nvPr/>
        </p:nvSpPr>
        <p:spPr>
          <a:xfrm>
            <a:off x="8332151" y="4800452"/>
            <a:ext cx="2990912" cy="1162754"/>
          </a:xfrm>
          <a:prstGeom prst="roundRect">
            <a:avLst>
              <a:gd name="adj" fmla="val 11056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07B753FB-C4CE-8F4E-9038-236934CE9254}"/>
              </a:ext>
            </a:extLst>
          </p:cNvPr>
          <p:cNvSpPr txBox="1"/>
          <p:nvPr/>
        </p:nvSpPr>
        <p:spPr>
          <a:xfrm>
            <a:off x="8469538" y="4903045"/>
            <a:ext cx="2596848" cy="9233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Отслеживание результата за счет расчета ключевых показателей эффективности производства для подтверждения эффективности предпринятых мероприятий</a:t>
            </a:r>
          </a:p>
        </p:txBody>
      </p:sp>
      <p:sp>
        <p:nvSpPr>
          <p:cNvPr id="117" name="Rectangle: Rounded Corners 12">
            <a:extLst>
              <a:ext uri="{FF2B5EF4-FFF2-40B4-BE49-F238E27FC236}">
                <a16:creationId xmlns:a16="http://schemas.microsoft.com/office/drawing/2014/main" id="{0274D1CB-A4DF-F249-BF06-2C91C3804C19}"/>
              </a:ext>
            </a:extLst>
          </p:cNvPr>
          <p:cNvSpPr/>
          <p:nvPr/>
        </p:nvSpPr>
        <p:spPr>
          <a:xfrm>
            <a:off x="5371975" y="4275218"/>
            <a:ext cx="2184999" cy="409267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2" name="Нашивка 18">
            <a:extLst>
              <a:ext uri="{FF2B5EF4-FFF2-40B4-BE49-F238E27FC236}">
                <a16:creationId xmlns:a16="http://schemas.microsoft.com/office/drawing/2014/main" id="{80EF583D-4FB9-F045-A005-0B1C4F709E72}"/>
              </a:ext>
            </a:extLst>
          </p:cNvPr>
          <p:cNvSpPr/>
          <p:nvPr/>
        </p:nvSpPr>
        <p:spPr>
          <a:xfrm>
            <a:off x="4024590" y="4309951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5" name="Нашивка 18">
            <a:extLst>
              <a:ext uri="{FF2B5EF4-FFF2-40B4-BE49-F238E27FC236}">
                <a16:creationId xmlns:a16="http://schemas.microsoft.com/office/drawing/2014/main" id="{AD2AF113-050A-4849-BCEC-09EE9D4DE33F}"/>
              </a:ext>
            </a:extLst>
          </p:cNvPr>
          <p:cNvSpPr/>
          <p:nvPr/>
        </p:nvSpPr>
        <p:spPr>
          <a:xfrm>
            <a:off x="7785603" y="4309951"/>
            <a:ext cx="308287" cy="351625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28" name="Rectangle: Rounded Corners 12">
            <a:extLst>
              <a:ext uri="{FF2B5EF4-FFF2-40B4-BE49-F238E27FC236}">
                <a16:creationId xmlns:a16="http://schemas.microsoft.com/office/drawing/2014/main" id="{A472E546-B235-A84D-A451-9B46F7FD882C}"/>
              </a:ext>
            </a:extLst>
          </p:cNvPr>
          <p:cNvSpPr/>
          <p:nvPr/>
        </p:nvSpPr>
        <p:spPr>
          <a:xfrm>
            <a:off x="4566063" y="4275218"/>
            <a:ext cx="696141" cy="409267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0CDDE5D-251A-7146-9E7A-DA44DAD0332B}"/>
              </a:ext>
            </a:extLst>
          </p:cNvPr>
          <p:cNvSpPr txBox="1"/>
          <p:nvPr/>
        </p:nvSpPr>
        <p:spPr>
          <a:xfrm>
            <a:off x="6061518" y="4381989"/>
            <a:ext cx="103874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ЭФФЕКТ</a:t>
            </a:r>
          </a:p>
        </p:txBody>
      </p:sp>
      <p:pic>
        <p:nvPicPr>
          <p:cNvPr id="130" name="Рисунок 129">
            <a:extLst>
              <a:ext uri="{FF2B5EF4-FFF2-40B4-BE49-F238E27FC236}">
                <a16:creationId xmlns:a16="http://schemas.microsoft.com/office/drawing/2014/main" id="{8FF9120D-A809-CB4F-8747-8EF1CD5B18E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751317" y="4325565"/>
            <a:ext cx="307380" cy="307380"/>
          </a:xfrm>
          <a:prstGeom prst="rect">
            <a:avLst/>
          </a:prstGeom>
        </p:spPr>
      </p:pic>
      <p:sp>
        <p:nvSpPr>
          <p:cNvPr id="131" name="Rectangle: Rounded Corners 12">
            <a:extLst>
              <a:ext uri="{FF2B5EF4-FFF2-40B4-BE49-F238E27FC236}">
                <a16:creationId xmlns:a16="http://schemas.microsoft.com/office/drawing/2014/main" id="{67F951C4-49B9-7943-8204-BA430633F34F}"/>
              </a:ext>
            </a:extLst>
          </p:cNvPr>
          <p:cNvSpPr/>
          <p:nvPr/>
        </p:nvSpPr>
        <p:spPr>
          <a:xfrm>
            <a:off x="1636884" y="4275218"/>
            <a:ext cx="2184999" cy="409267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32" name="Rectangle: Rounded Corners 12">
            <a:extLst>
              <a:ext uri="{FF2B5EF4-FFF2-40B4-BE49-F238E27FC236}">
                <a16:creationId xmlns:a16="http://schemas.microsoft.com/office/drawing/2014/main" id="{66B6E65A-D422-C343-8404-B2F4DFF71634}"/>
              </a:ext>
            </a:extLst>
          </p:cNvPr>
          <p:cNvSpPr/>
          <p:nvPr/>
        </p:nvSpPr>
        <p:spPr>
          <a:xfrm>
            <a:off x="830972" y="4275218"/>
            <a:ext cx="696141" cy="409267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CEABC96-68AC-D648-B622-A1330AA0EF25}"/>
              </a:ext>
            </a:extLst>
          </p:cNvPr>
          <p:cNvSpPr txBox="1"/>
          <p:nvPr/>
        </p:nvSpPr>
        <p:spPr>
          <a:xfrm>
            <a:off x="2200076" y="4381989"/>
            <a:ext cx="103874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ПЕРСОНАЛ</a:t>
            </a:r>
          </a:p>
        </p:txBody>
      </p:sp>
      <p:sp>
        <p:nvSpPr>
          <p:cNvPr id="134" name="Rectangle: Rounded Corners 12">
            <a:extLst>
              <a:ext uri="{FF2B5EF4-FFF2-40B4-BE49-F238E27FC236}">
                <a16:creationId xmlns:a16="http://schemas.microsoft.com/office/drawing/2014/main" id="{476224E5-6B73-AA43-9D2F-53F9E1B55077}"/>
              </a:ext>
            </a:extLst>
          </p:cNvPr>
          <p:cNvSpPr/>
          <p:nvPr/>
        </p:nvSpPr>
        <p:spPr>
          <a:xfrm>
            <a:off x="9138063" y="4275218"/>
            <a:ext cx="2184999" cy="409267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35" name="Rectangle: Rounded Corners 12">
            <a:extLst>
              <a:ext uri="{FF2B5EF4-FFF2-40B4-BE49-F238E27FC236}">
                <a16:creationId xmlns:a16="http://schemas.microsoft.com/office/drawing/2014/main" id="{31EDA430-83AA-2E46-8566-3319D646C3DB}"/>
              </a:ext>
            </a:extLst>
          </p:cNvPr>
          <p:cNvSpPr/>
          <p:nvPr/>
        </p:nvSpPr>
        <p:spPr>
          <a:xfrm>
            <a:off x="8332151" y="4275218"/>
            <a:ext cx="696141" cy="409267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DB66222E-1CB0-FB46-A9AC-2FDE6D0A4D01}"/>
              </a:ext>
            </a:extLst>
          </p:cNvPr>
          <p:cNvSpPr txBox="1"/>
          <p:nvPr/>
        </p:nvSpPr>
        <p:spPr>
          <a:xfrm>
            <a:off x="9736521" y="4381989"/>
            <a:ext cx="103874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КОНТРОЛЬ</a:t>
            </a:r>
          </a:p>
        </p:txBody>
      </p:sp>
      <p:grpSp>
        <p:nvGrpSpPr>
          <p:cNvPr id="137" name="Группа 136">
            <a:extLst>
              <a:ext uri="{FF2B5EF4-FFF2-40B4-BE49-F238E27FC236}">
                <a16:creationId xmlns:a16="http://schemas.microsoft.com/office/drawing/2014/main" id="{A7885443-5806-E844-8A67-5DF43F760D69}"/>
              </a:ext>
            </a:extLst>
          </p:cNvPr>
          <p:cNvGrpSpPr/>
          <p:nvPr/>
        </p:nvGrpSpPr>
        <p:grpSpPr>
          <a:xfrm>
            <a:off x="1023623" y="4333454"/>
            <a:ext cx="269681" cy="268885"/>
            <a:chOff x="2045401" y="1674071"/>
            <a:chExt cx="1670094" cy="1665163"/>
          </a:xfrm>
        </p:grpSpPr>
        <p:sp>
          <p:nvSpPr>
            <p:cNvPr id="138" name="Полилиния 324">
              <a:extLst>
                <a:ext uri="{FF2B5EF4-FFF2-40B4-BE49-F238E27FC236}">
                  <a16:creationId xmlns:a16="http://schemas.microsoft.com/office/drawing/2014/main" id="{FAA59A82-646C-1248-B024-0A75C2C9B425}"/>
                </a:ext>
              </a:extLst>
            </p:cNvPr>
            <p:cNvSpPr/>
            <p:nvPr/>
          </p:nvSpPr>
          <p:spPr>
            <a:xfrm>
              <a:off x="3098288" y="2661947"/>
              <a:ext cx="617207" cy="677284"/>
            </a:xfrm>
            <a:custGeom>
              <a:avLst/>
              <a:gdLst>
                <a:gd name="connsiteX0" fmla="*/ 0 w 161925"/>
                <a:gd name="connsiteY0" fmla="*/ 0 h 178212"/>
                <a:gd name="connsiteX1" fmla="*/ 0 w 161925"/>
                <a:gd name="connsiteY1" fmla="*/ 35338 h 178212"/>
                <a:gd name="connsiteX2" fmla="*/ 98393 w 161925"/>
                <a:gd name="connsiteY2" fmla="*/ 70104 h 178212"/>
                <a:gd name="connsiteX3" fmla="*/ 161925 w 161925"/>
                <a:gd name="connsiteY3" fmla="*/ 159925 h 178212"/>
                <a:gd name="connsiteX4" fmla="*/ 161925 w 161925"/>
                <a:gd name="connsiteY4" fmla="*/ 178213 h 17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78212">
                  <a:moveTo>
                    <a:pt x="0" y="0"/>
                  </a:moveTo>
                  <a:lnTo>
                    <a:pt x="0" y="35338"/>
                  </a:lnTo>
                  <a:lnTo>
                    <a:pt x="98393" y="70104"/>
                  </a:lnTo>
                  <a:cubicBezTo>
                    <a:pt x="136468" y="83550"/>
                    <a:pt x="161928" y="119544"/>
                    <a:pt x="161925" y="159925"/>
                  </a:cubicBezTo>
                  <a:lnTo>
                    <a:pt x="161925" y="1782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Полилиния 325">
              <a:extLst>
                <a:ext uri="{FF2B5EF4-FFF2-40B4-BE49-F238E27FC236}">
                  <a16:creationId xmlns:a16="http://schemas.microsoft.com/office/drawing/2014/main" id="{7DEDEC9B-4D84-314B-8E3D-35FAC1EC2A31}"/>
                </a:ext>
              </a:extLst>
            </p:cNvPr>
            <p:cNvSpPr/>
            <p:nvPr/>
          </p:nvSpPr>
          <p:spPr>
            <a:xfrm>
              <a:off x="2045401" y="2661947"/>
              <a:ext cx="617207" cy="677284"/>
            </a:xfrm>
            <a:custGeom>
              <a:avLst/>
              <a:gdLst>
                <a:gd name="connsiteX0" fmla="*/ 161925 w 161925"/>
                <a:gd name="connsiteY0" fmla="*/ 0 h 178212"/>
                <a:gd name="connsiteX1" fmla="*/ 161925 w 161925"/>
                <a:gd name="connsiteY1" fmla="*/ 35338 h 178212"/>
                <a:gd name="connsiteX2" fmla="*/ 63532 w 161925"/>
                <a:gd name="connsiteY2" fmla="*/ 70104 h 178212"/>
                <a:gd name="connsiteX3" fmla="*/ 0 w 161925"/>
                <a:gd name="connsiteY3" fmla="*/ 159925 h 178212"/>
                <a:gd name="connsiteX4" fmla="*/ 0 w 161925"/>
                <a:gd name="connsiteY4" fmla="*/ 178213 h 17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178212">
                  <a:moveTo>
                    <a:pt x="161925" y="0"/>
                  </a:moveTo>
                  <a:lnTo>
                    <a:pt x="161925" y="35338"/>
                  </a:lnTo>
                  <a:lnTo>
                    <a:pt x="63532" y="70104"/>
                  </a:lnTo>
                  <a:cubicBezTo>
                    <a:pt x="25456" y="83550"/>
                    <a:pt x="-3" y="119544"/>
                    <a:pt x="0" y="159925"/>
                  </a:cubicBezTo>
                  <a:lnTo>
                    <a:pt x="0" y="178213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Полилиния 326">
              <a:extLst>
                <a:ext uri="{FF2B5EF4-FFF2-40B4-BE49-F238E27FC236}">
                  <a16:creationId xmlns:a16="http://schemas.microsoft.com/office/drawing/2014/main" id="{7AC61849-1CA8-6340-978A-B0372A65F69D}"/>
                </a:ext>
              </a:extLst>
            </p:cNvPr>
            <p:cNvSpPr/>
            <p:nvPr/>
          </p:nvSpPr>
          <p:spPr>
            <a:xfrm>
              <a:off x="2589999" y="2289457"/>
              <a:ext cx="580901" cy="470589"/>
            </a:xfrm>
            <a:custGeom>
              <a:avLst/>
              <a:gdLst>
                <a:gd name="connsiteX0" fmla="*/ 152400 w 152400"/>
                <a:gd name="connsiteY0" fmla="*/ 0 h 123825"/>
                <a:gd name="connsiteX1" fmla="*/ 152400 w 152400"/>
                <a:gd name="connsiteY1" fmla="*/ 47625 h 123825"/>
                <a:gd name="connsiteX2" fmla="*/ 76200 w 152400"/>
                <a:gd name="connsiteY2" fmla="*/ 123825 h 123825"/>
                <a:gd name="connsiteX3" fmla="*/ 76200 w 152400"/>
                <a:gd name="connsiteY3" fmla="*/ 123825 h 123825"/>
                <a:gd name="connsiteX4" fmla="*/ 0 w 152400"/>
                <a:gd name="connsiteY4" fmla="*/ 47625 h 123825"/>
                <a:gd name="connsiteX5" fmla="*/ 0 w 152400"/>
                <a:gd name="connsiteY5" fmla="*/ 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123825">
                  <a:moveTo>
                    <a:pt x="152400" y="0"/>
                  </a:moveTo>
                  <a:lnTo>
                    <a:pt x="152400" y="47625"/>
                  </a:lnTo>
                  <a:cubicBezTo>
                    <a:pt x="152400" y="89709"/>
                    <a:pt x="118284" y="123825"/>
                    <a:pt x="76200" y="123825"/>
                  </a:cubicBezTo>
                  <a:lnTo>
                    <a:pt x="76200" y="123825"/>
                  </a:lnTo>
                  <a:cubicBezTo>
                    <a:pt x="34116" y="123825"/>
                    <a:pt x="0" y="89709"/>
                    <a:pt x="0" y="47625"/>
                  </a:cubicBezTo>
                  <a:lnTo>
                    <a:pt x="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Полилиния 327">
              <a:extLst>
                <a:ext uri="{FF2B5EF4-FFF2-40B4-BE49-F238E27FC236}">
                  <a16:creationId xmlns:a16="http://schemas.microsoft.com/office/drawing/2014/main" id="{BAEF3586-1896-B94E-8C5C-53BF7A8F69CF}"/>
                </a:ext>
              </a:extLst>
            </p:cNvPr>
            <p:cNvSpPr/>
            <p:nvPr/>
          </p:nvSpPr>
          <p:spPr>
            <a:xfrm>
              <a:off x="3170901" y="2289457"/>
              <a:ext cx="145225" cy="144797"/>
            </a:xfrm>
            <a:custGeom>
              <a:avLst/>
              <a:gdLst>
                <a:gd name="connsiteX0" fmla="*/ 19050 w 38100"/>
                <a:gd name="connsiteY0" fmla="*/ 38100 h 38100"/>
                <a:gd name="connsiteX1" fmla="*/ 0 w 38100"/>
                <a:gd name="connsiteY1" fmla="*/ 38100 h 38100"/>
                <a:gd name="connsiteX2" fmla="*/ 0 w 38100"/>
                <a:gd name="connsiteY2" fmla="*/ 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  <a:gd name="connsiteX5" fmla="*/ 38100 w 38100"/>
                <a:gd name="connsiteY5" fmla="*/ 19050 h 38100"/>
                <a:gd name="connsiteX6" fmla="*/ 19050 w 38100"/>
                <a:gd name="connsiteY6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9050" y="38100"/>
                  </a:moveTo>
                  <a:lnTo>
                    <a:pt x="0" y="38100"/>
                  </a:lnTo>
                  <a:lnTo>
                    <a:pt x="0" y="0"/>
                  </a:lnTo>
                  <a:lnTo>
                    <a:pt x="19050" y="0"/>
                  </a:lnTo>
                  <a:cubicBezTo>
                    <a:pt x="29571" y="0"/>
                    <a:pt x="38100" y="8529"/>
                    <a:pt x="38100" y="19050"/>
                  </a:cubicBezTo>
                  <a:lnTo>
                    <a:pt x="38100" y="19050"/>
                  </a:lnTo>
                  <a:cubicBezTo>
                    <a:pt x="38100" y="29571"/>
                    <a:pt x="29571" y="38100"/>
                    <a:pt x="19050" y="3810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Полилиния 328">
              <a:extLst>
                <a:ext uri="{FF2B5EF4-FFF2-40B4-BE49-F238E27FC236}">
                  <a16:creationId xmlns:a16="http://schemas.microsoft.com/office/drawing/2014/main" id="{78FE9165-585F-5846-83F7-81AE08BEADA9}"/>
                </a:ext>
              </a:extLst>
            </p:cNvPr>
            <p:cNvSpPr/>
            <p:nvPr/>
          </p:nvSpPr>
          <p:spPr>
            <a:xfrm>
              <a:off x="2444774" y="2289457"/>
              <a:ext cx="145225" cy="144797"/>
            </a:xfrm>
            <a:custGeom>
              <a:avLst/>
              <a:gdLst>
                <a:gd name="connsiteX0" fmla="*/ 19050 w 38100"/>
                <a:gd name="connsiteY0" fmla="*/ 38100 h 38100"/>
                <a:gd name="connsiteX1" fmla="*/ 38100 w 38100"/>
                <a:gd name="connsiteY1" fmla="*/ 38100 h 38100"/>
                <a:gd name="connsiteX2" fmla="*/ 38100 w 38100"/>
                <a:gd name="connsiteY2" fmla="*/ 0 h 38100"/>
                <a:gd name="connsiteX3" fmla="*/ 19050 w 38100"/>
                <a:gd name="connsiteY3" fmla="*/ 0 h 38100"/>
                <a:gd name="connsiteX4" fmla="*/ 0 w 38100"/>
                <a:gd name="connsiteY4" fmla="*/ 19050 h 38100"/>
                <a:gd name="connsiteX5" fmla="*/ 0 w 38100"/>
                <a:gd name="connsiteY5" fmla="*/ 19050 h 38100"/>
                <a:gd name="connsiteX6" fmla="*/ 19050 w 38100"/>
                <a:gd name="connsiteY6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38100">
                  <a:moveTo>
                    <a:pt x="19050" y="38100"/>
                  </a:moveTo>
                  <a:lnTo>
                    <a:pt x="38100" y="38100"/>
                  </a:lnTo>
                  <a:lnTo>
                    <a:pt x="38100" y="0"/>
                  </a:lnTo>
                  <a:lnTo>
                    <a:pt x="19050" y="0"/>
                  </a:lnTo>
                  <a:cubicBezTo>
                    <a:pt x="8529" y="0"/>
                    <a:pt x="0" y="8529"/>
                    <a:pt x="0" y="19050"/>
                  </a:cubicBezTo>
                  <a:lnTo>
                    <a:pt x="0" y="19050"/>
                  </a:lnTo>
                  <a:cubicBezTo>
                    <a:pt x="0" y="29571"/>
                    <a:pt x="8529" y="38100"/>
                    <a:pt x="19050" y="3810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Полилиния 329">
              <a:extLst>
                <a:ext uri="{FF2B5EF4-FFF2-40B4-BE49-F238E27FC236}">
                  <a16:creationId xmlns:a16="http://schemas.microsoft.com/office/drawing/2014/main" id="{7E2D5E15-7F7D-E64F-B9FC-DEBD5435D578}"/>
                </a:ext>
              </a:extLst>
            </p:cNvPr>
            <p:cNvSpPr/>
            <p:nvPr/>
          </p:nvSpPr>
          <p:spPr>
            <a:xfrm>
              <a:off x="2481081" y="2144661"/>
              <a:ext cx="798739" cy="144797"/>
            </a:xfrm>
            <a:custGeom>
              <a:avLst/>
              <a:gdLst>
                <a:gd name="connsiteX0" fmla="*/ 200025 w 209550"/>
                <a:gd name="connsiteY0" fmla="*/ 0 h 38100"/>
                <a:gd name="connsiteX1" fmla="*/ 209550 w 209550"/>
                <a:gd name="connsiteY1" fmla="*/ 0 h 38100"/>
                <a:gd name="connsiteX2" fmla="*/ 209550 w 209550"/>
                <a:gd name="connsiteY2" fmla="*/ 38100 h 38100"/>
                <a:gd name="connsiteX3" fmla="*/ 200025 w 209550"/>
                <a:gd name="connsiteY3" fmla="*/ 38100 h 38100"/>
                <a:gd name="connsiteX4" fmla="*/ 9525 w 209550"/>
                <a:gd name="connsiteY4" fmla="*/ 38100 h 38100"/>
                <a:gd name="connsiteX5" fmla="*/ 0 w 209550"/>
                <a:gd name="connsiteY5" fmla="*/ 38100 h 38100"/>
                <a:gd name="connsiteX6" fmla="*/ 0 w 209550"/>
                <a:gd name="connsiteY6" fmla="*/ 0 h 38100"/>
                <a:gd name="connsiteX7" fmla="*/ 9525 w 209550"/>
                <a:gd name="connsiteY7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0" h="38100">
                  <a:moveTo>
                    <a:pt x="200025" y="0"/>
                  </a:moveTo>
                  <a:cubicBezTo>
                    <a:pt x="205286" y="0"/>
                    <a:pt x="209550" y="0"/>
                    <a:pt x="209550" y="0"/>
                  </a:cubicBezTo>
                  <a:lnTo>
                    <a:pt x="209550" y="38100"/>
                  </a:lnTo>
                  <a:cubicBezTo>
                    <a:pt x="209550" y="38100"/>
                    <a:pt x="205286" y="38100"/>
                    <a:pt x="200025" y="38100"/>
                  </a:cubicBezTo>
                  <a:lnTo>
                    <a:pt x="9525" y="38100"/>
                  </a:lnTo>
                  <a:cubicBezTo>
                    <a:pt x="4264" y="38100"/>
                    <a:pt x="0" y="38100"/>
                    <a:pt x="0" y="38100"/>
                  </a:cubicBezTo>
                  <a:lnTo>
                    <a:pt x="0" y="0"/>
                  </a:lnTo>
                  <a:cubicBezTo>
                    <a:pt x="0" y="0"/>
                    <a:pt x="4264" y="0"/>
                    <a:pt x="9525" y="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Полилиния 330">
              <a:extLst>
                <a:ext uri="{FF2B5EF4-FFF2-40B4-BE49-F238E27FC236}">
                  <a16:creationId xmlns:a16="http://schemas.microsoft.com/office/drawing/2014/main" id="{6180ECD2-F197-3941-B59C-2F5EC7736827}"/>
                </a:ext>
              </a:extLst>
            </p:cNvPr>
            <p:cNvSpPr/>
            <p:nvPr/>
          </p:nvSpPr>
          <p:spPr>
            <a:xfrm>
              <a:off x="2517387" y="1782669"/>
              <a:ext cx="726127" cy="361992"/>
            </a:xfrm>
            <a:custGeom>
              <a:avLst/>
              <a:gdLst>
                <a:gd name="connsiteX0" fmla="*/ 114300 w 190500"/>
                <a:gd name="connsiteY0" fmla="*/ 0 h 95250"/>
                <a:gd name="connsiteX1" fmla="*/ 190500 w 190500"/>
                <a:gd name="connsiteY1" fmla="*/ 76200 h 95250"/>
                <a:gd name="connsiteX2" fmla="*/ 190500 w 190500"/>
                <a:gd name="connsiteY2" fmla="*/ 95250 h 95250"/>
                <a:gd name="connsiteX3" fmla="*/ 0 w 190500"/>
                <a:gd name="connsiteY3" fmla="*/ 95250 h 95250"/>
                <a:gd name="connsiteX4" fmla="*/ 0 w 190500"/>
                <a:gd name="connsiteY4" fmla="*/ 76200 h 95250"/>
                <a:gd name="connsiteX5" fmla="*/ 76200 w 190500"/>
                <a:gd name="connsiteY5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90500" h="95250">
                  <a:moveTo>
                    <a:pt x="114300" y="0"/>
                  </a:moveTo>
                  <a:cubicBezTo>
                    <a:pt x="156384" y="0"/>
                    <a:pt x="190500" y="34116"/>
                    <a:pt x="190500" y="76200"/>
                  </a:cubicBezTo>
                  <a:lnTo>
                    <a:pt x="190500" y="95250"/>
                  </a:lnTo>
                  <a:lnTo>
                    <a:pt x="0" y="95250"/>
                  </a:lnTo>
                  <a:lnTo>
                    <a:pt x="0" y="76200"/>
                  </a:lnTo>
                  <a:cubicBezTo>
                    <a:pt x="0" y="34116"/>
                    <a:pt x="34116" y="0"/>
                    <a:pt x="76200" y="0"/>
                  </a:cubicBez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Полилиния 331">
              <a:extLst>
                <a:ext uri="{FF2B5EF4-FFF2-40B4-BE49-F238E27FC236}">
                  <a16:creationId xmlns:a16="http://schemas.microsoft.com/office/drawing/2014/main" id="{9638975B-5BE5-CC4B-AD27-3E8464FF4C44}"/>
                </a:ext>
              </a:extLst>
            </p:cNvPr>
            <p:cNvSpPr/>
            <p:nvPr/>
          </p:nvSpPr>
          <p:spPr>
            <a:xfrm>
              <a:off x="2807837" y="1674071"/>
              <a:ext cx="145225" cy="289593"/>
            </a:xfrm>
            <a:custGeom>
              <a:avLst/>
              <a:gdLst>
                <a:gd name="connsiteX0" fmla="*/ 0 w 38100"/>
                <a:gd name="connsiteY0" fmla="*/ 0 h 76200"/>
                <a:gd name="connsiteX1" fmla="*/ 38100 w 38100"/>
                <a:gd name="connsiteY1" fmla="*/ 0 h 76200"/>
                <a:gd name="connsiteX2" fmla="*/ 38100 w 38100"/>
                <a:gd name="connsiteY2" fmla="*/ 76200 h 76200"/>
                <a:gd name="connsiteX3" fmla="*/ 0 w 38100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76200">
                  <a:moveTo>
                    <a:pt x="0" y="0"/>
                  </a:moveTo>
                  <a:lnTo>
                    <a:pt x="38100" y="0"/>
                  </a:lnTo>
                  <a:lnTo>
                    <a:pt x="38100" y="76200"/>
                  </a:lnTo>
                  <a:lnTo>
                    <a:pt x="0" y="76200"/>
                  </a:ln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Полилиния 332">
              <a:extLst>
                <a:ext uri="{FF2B5EF4-FFF2-40B4-BE49-F238E27FC236}">
                  <a16:creationId xmlns:a16="http://schemas.microsoft.com/office/drawing/2014/main" id="{F9D78742-E5F7-3B4F-BA40-BDC27783BB4F}"/>
                </a:ext>
              </a:extLst>
            </p:cNvPr>
            <p:cNvSpPr/>
            <p:nvPr/>
          </p:nvSpPr>
          <p:spPr>
            <a:xfrm>
              <a:off x="2662612" y="2072263"/>
              <a:ext cx="36306" cy="72399"/>
            </a:xfrm>
            <a:custGeom>
              <a:avLst/>
              <a:gdLst>
                <a:gd name="connsiteX0" fmla="*/ 0 w 9525"/>
                <a:gd name="connsiteY0" fmla="*/ 19050 h 19050"/>
                <a:gd name="connsiteX1" fmla="*/ 0 w 9525"/>
                <a:gd name="connsiteY1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1905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Полилиния 333">
              <a:extLst>
                <a:ext uri="{FF2B5EF4-FFF2-40B4-BE49-F238E27FC236}">
                  <a16:creationId xmlns:a16="http://schemas.microsoft.com/office/drawing/2014/main" id="{AAB33AED-0B4B-A04F-B75B-C318351C2BC8}"/>
                </a:ext>
              </a:extLst>
            </p:cNvPr>
            <p:cNvSpPr/>
            <p:nvPr/>
          </p:nvSpPr>
          <p:spPr>
            <a:xfrm>
              <a:off x="3098288" y="2072263"/>
              <a:ext cx="36306" cy="72399"/>
            </a:xfrm>
            <a:custGeom>
              <a:avLst/>
              <a:gdLst>
                <a:gd name="connsiteX0" fmla="*/ 0 w 9525"/>
                <a:gd name="connsiteY0" fmla="*/ 19050 h 19050"/>
                <a:gd name="connsiteX1" fmla="*/ 0 w 9525"/>
                <a:gd name="connsiteY1" fmla="*/ 0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9050">
                  <a:moveTo>
                    <a:pt x="0" y="19050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Полилиния 334">
              <a:extLst>
                <a:ext uri="{FF2B5EF4-FFF2-40B4-BE49-F238E27FC236}">
                  <a16:creationId xmlns:a16="http://schemas.microsoft.com/office/drawing/2014/main" id="{CA9CE8CB-745D-3047-9A5F-C1A7EBB4881D}"/>
                </a:ext>
              </a:extLst>
            </p:cNvPr>
            <p:cNvSpPr/>
            <p:nvPr/>
          </p:nvSpPr>
          <p:spPr>
            <a:xfrm>
              <a:off x="2372162" y="3049641"/>
              <a:ext cx="1016577" cy="289593"/>
            </a:xfrm>
            <a:custGeom>
              <a:avLst/>
              <a:gdLst>
                <a:gd name="connsiteX0" fmla="*/ 0 w 266700"/>
                <a:gd name="connsiteY0" fmla="*/ 76200 h 76200"/>
                <a:gd name="connsiteX1" fmla="*/ 0 w 266700"/>
                <a:gd name="connsiteY1" fmla="*/ 28575 h 76200"/>
                <a:gd name="connsiteX2" fmla="*/ 28575 w 266700"/>
                <a:gd name="connsiteY2" fmla="*/ 0 h 76200"/>
                <a:gd name="connsiteX3" fmla="*/ 238125 w 266700"/>
                <a:gd name="connsiteY3" fmla="*/ 0 h 76200"/>
                <a:gd name="connsiteX4" fmla="*/ 266700 w 266700"/>
                <a:gd name="connsiteY4" fmla="*/ 28575 h 76200"/>
                <a:gd name="connsiteX5" fmla="*/ 266700 w 266700"/>
                <a:gd name="connsiteY5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0" h="76200">
                  <a:moveTo>
                    <a:pt x="0" y="76200"/>
                  </a:moveTo>
                  <a:lnTo>
                    <a:pt x="0" y="28575"/>
                  </a:lnTo>
                  <a:cubicBezTo>
                    <a:pt x="0" y="12793"/>
                    <a:pt x="12793" y="0"/>
                    <a:pt x="28575" y="0"/>
                  </a:cubicBezTo>
                  <a:lnTo>
                    <a:pt x="238125" y="0"/>
                  </a:lnTo>
                  <a:cubicBezTo>
                    <a:pt x="253907" y="0"/>
                    <a:pt x="266700" y="12793"/>
                    <a:pt x="266700" y="28575"/>
                  </a:cubicBezTo>
                  <a:lnTo>
                    <a:pt x="266700" y="7620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Полилиния 335">
              <a:extLst>
                <a:ext uri="{FF2B5EF4-FFF2-40B4-BE49-F238E27FC236}">
                  <a16:creationId xmlns:a16="http://schemas.microsoft.com/office/drawing/2014/main" id="{33F9443F-C64B-EC45-B76F-5D9378DD68F0}"/>
                </a:ext>
              </a:extLst>
            </p:cNvPr>
            <p:cNvSpPr/>
            <p:nvPr/>
          </p:nvSpPr>
          <p:spPr>
            <a:xfrm>
              <a:off x="2589999" y="2821945"/>
              <a:ext cx="36306" cy="227692"/>
            </a:xfrm>
            <a:custGeom>
              <a:avLst/>
              <a:gdLst>
                <a:gd name="connsiteX0" fmla="*/ 0 w 9525"/>
                <a:gd name="connsiteY0" fmla="*/ 59912 h 59912"/>
                <a:gd name="connsiteX1" fmla="*/ 0 w 9525"/>
                <a:gd name="connsiteY1" fmla="*/ 0 h 5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9912">
                  <a:moveTo>
                    <a:pt x="0" y="5991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Полилиния 336">
              <a:extLst>
                <a:ext uri="{FF2B5EF4-FFF2-40B4-BE49-F238E27FC236}">
                  <a16:creationId xmlns:a16="http://schemas.microsoft.com/office/drawing/2014/main" id="{BA7A8C81-5B46-594F-88B6-837BDFD19022}"/>
                </a:ext>
              </a:extLst>
            </p:cNvPr>
            <p:cNvSpPr/>
            <p:nvPr/>
          </p:nvSpPr>
          <p:spPr>
            <a:xfrm>
              <a:off x="2444774" y="2872988"/>
              <a:ext cx="36306" cy="176652"/>
            </a:xfrm>
            <a:custGeom>
              <a:avLst/>
              <a:gdLst>
                <a:gd name="connsiteX0" fmla="*/ 0 w 9525"/>
                <a:gd name="connsiteY0" fmla="*/ 46482 h 46482"/>
                <a:gd name="connsiteX1" fmla="*/ 0 w 9525"/>
                <a:gd name="connsiteY1" fmla="*/ 0 h 4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482">
                  <a:moveTo>
                    <a:pt x="0" y="4648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Полилиния 337">
              <a:extLst>
                <a:ext uri="{FF2B5EF4-FFF2-40B4-BE49-F238E27FC236}">
                  <a16:creationId xmlns:a16="http://schemas.microsoft.com/office/drawing/2014/main" id="{BDCE718F-956B-A740-95DA-245C6895EA38}"/>
                </a:ext>
              </a:extLst>
            </p:cNvPr>
            <p:cNvSpPr/>
            <p:nvPr/>
          </p:nvSpPr>
          <p:spPr>
            <a:xfrm>
              <a:off x="3316126" y="2872988"/>
              <a:ext cx="36306" cy="176652"/>
            </a:xfrm>
            <a:custGeom>
              <a:avLst/>
              <a:gdLst>
                <a:gd name="connsiteX0" fmla="*/ 0 w 9525"/>
                <a:gd name="connsiteY0" fmla="*/ 46482 h 46482"/>
                <a:gd name="connsiteX1" fmla="*/ 0 w 9525"/>
                <a:gd name="connsiteY1" fmla="*/ 0 h 46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6482">
                  <a:moveTo>
                    <a:pt x="0" y="4648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Полилиния 338">
              <a:extLst>
                <a:ext uri="{FF2B5EF4-FFF2-40B4-BE49-F238E27FC236}">
                  <a16:creationId xmlns:a16="http://schemas.microsoft.com/office/drawing/2014/main" id="{88F50E56-000F-D543-83A4-BAE511DF02E1}"/>
                </a:ext>
              </a:extLst>
            </p:cNvPr>
            <p:cNvSpPr/>
            <p:nvPr/>
          </p:nvSpPr>
          <p:spPr>
            <a:xfrm>
              <a:off x="3170901" y="2821945"/>
              <a:ext cx="36306" cy="227692"/>
            </a:xfrm>
            <a:custGeom>
              <a:avLst/>
              <a:gdLst>
                <a:gd name="connsiteX0" fmla="*/ 0 w 9525"/>
                <a:gd name="connsiteY0" fmla="*/ 59912 h 59912"/>
                <a:gd name="connsiteX1" fmla="*/ 0 w 9525"/>
                <a:gd name="connsiteY1" fmla="*/ 0 h 5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9912">
                  <a:moveTo>
                    <a:pt x="0" y="59912"/>
                  </a:moveTo>
                  <a:lnTo>
                    <a:pt x="0" y="0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Полилиния 339">
              <a:extLst>
                <a:ext uri="{FF2B5EF4-FFF2-40B4-BE49-F238E27FC236}">
                  <a16:creationId xmlns:a16="http://schemas.microsoft.com/office/drawing/2014/main" id="{A53AF26D-3369-EC45-A667-90AB1C92D7F5}"/>
                </a:ext>
              </a:extLst>
            </p:cNvPr>
            <p:cNvSpPr/>
            <p:nvPr/>
          </p:nvSpPr>
          <p:spPr>
            <a:xfrm>
              <a:off x="2662612" y="2796246"/>
              <a:ext cx="435675" cy="253394"/>
            </a:xfrm>
            <a:custGeom>
              <a:avLst/>
              <a:gdLst>
                <a:gd name="connsiteX0" fmla="*/ 0 w 114300"/>
                <a:gd name="connsiteY0" fmla="*/ 0 h 66675"/>
                <a:gd name="connsiteX1" fmla="*/ 57150 w 114300"/>
                <a:gd name="connsiteY1" fmla="*/ 66675 h 66675"/>
                <a:gd name="connsiteX2" fmla="*/ 114300 w 114300"/>
                <a:gd name="connsiteY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66675">
                  <a:moveTo>
                    <a:pt x="0" y="0"/>
                  </a:moveTo>
                  <a:lnTo>
                    <a:pt x="57150" y="66675"/>
                  </a:lnTo>
                  <a:lnTo>
                    <a:pt x="114300" y="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ES" sz="1800" b="0" i="0" u="none" strike="noStrike" kern="0" cap="none" spc="0" normalizeH="0" baseline="0" noProof="0">
                <a:ln>
                  <a:noFill/>
                </a:ln>
                <a:solidFill>
                  <a:srgbClr val="EFEEEF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54" name="Рисунок 153">
            <a:extLst>
              <a:ext uri="{FF2B5EF4-FFF2-40B4-BE49-F238E27FC236}">
                <a16:creationId xmlns:a16="http://schemas.microsoft.com/office/drawing/2014/main" id="{A414DD02-6449-1844-BC31-9FAB1C78DAB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535480" y="4342885"/>
            <a:ext cx="297763" cy="296884"/>
          </a:xfrm>
          <a:prstGeom prst="rect">
            <a:avLst/>
          </a:prstGeom>
        </p:spPr>
      </p:pic>
      <p:sp>
        <p:nvSpPr>
          <p:cNvPr id="168" name="Rectangle: Rounded Corners 12">
            <a:extLst>
              <a:ext uri="{FF2B5EF4-FFF2-40B4-BE49-F238E27FC236}">
                <a16:creationId xmlns:a16="http://schemas.microsoft.com/office/drawing/2014/main" id="{6F1D52B1-7E8A-DE4E-9169-AA7B40F6BD02}"/>
              </a:ext>
            </a:extLst>
          </p:cNvPr>
          <p:cNvSpPr/>
          <p:nvPr/>
        </p:nvSpPr>
        <p:spPr>
          <a:xfrm>
            <a:off x="797906" y="1271089"/>
            <a:ext cx="1467711" cy="409267"/>
          </a:xfrm>
          <a:prstGeom prst="roundRect">
            <a:avLst>
              <a:gd name="adj" fmla="val 11056"/>
            </a:avLst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tx2">
                <a:lumMod val="40000"/>
                <a:lumOff val="6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E8EB5223-9B83-3146-9B81-9D60D2180FC4}"/>
              </a:ext>
            </a:extLst>
          </p:cNvPr>
          <p:cNvSpPr txBox="1"/>
          <p:nvPr/>
        </p:nvSpPr>
        <p:spPr>
          <a:xfrm>
            <a:off x="755176" y="1396448"/>
            <a:ext cx="1414811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РЕШЕНИЕ</a:t>
            </a:r>
          </a:p>
        </p:txBody>
      </p:sp>
    </p:spTree>
    <p:extLst>
      <p:ext uri="{BB962C8B-B14F-4D97-AF65-F5344CB8AC3E}">
        <p14:creationId xmlns:p14="http://schemas.microsoft.com/office/powerpoint/2010/main" val="3520891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Рисунок 38" descr="Изображение выглядит как Графика, творческий подход&#10;&#10;Автоматически созданное описание">
            <a:extLst>
              <a:ext uri="{FF2B5EF4-FFF2-40B4-BE49-F238E27FC236}">
                <a16:creationId xmlns:a16="http://schemas.microsoft.com/office/drawing/2014/main" id="{B8EFEEEB-22D1-F447-BE96-9F570B8DC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3042796">
            <a:off x="6857277" y="-1926416"/>
            <a:ext cx="7898853" cy="7927300"/>
          </a:xfrm>
          <a:prstGeom prst="rect">
            <a:avLst/>
          </a:prstGeom>
        </p:spPr>
      </p:pic>
      <p:sp>
        <p:nvSpPr>
          <p:cNvPr id="26" name="Rounded Rectangle 3">
            <a:extLst>
              <a:ext uri="{FF2B5EF4-FFF2-40B4-BE49-F238E27FC236}">
                <a16:creationId xmlns:a16="http://schemas.microsoft.com/office/drawing/2014/main" id="{480B981C-9677-3F4A-9831-F4EC747C474B}"/>
              </a:ext>
            </a:extLst>
          </p:cNvPr>
          <p:cNvSpPr/>
          <p:nvPr/>
        </p:nvSpPr>
        <p:spPr>
          <a:xfrm>
            <a:off x="5226128" y="1527854"/>
            <a:ext cx="4120025" cy="1063939"/>
          </a:xfrm>
          <a:prstGeom prst="roundRect">
            <a:avLst>
              <a:gd name="adj" fmla="val 9356"/>
            </a:avLst>
          </a:prstGeom>
          <a:solidFill>
            <a:srgbClr val="FFFFFF">
              <a:alpha val="78824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Rounded Rectangle 3">
            <a:extLst>
              <a:ext uri="{FF2B5EF4-FFF2-40B4-BE49-F238E27FC236}">
                <a16:creationId xmlns:a16="http://schemas.microsoft.com/office/drawing/2014/main" id="{361CF8F1-86BD-B540-85D5-1900DC1BE9C4}"/>
              </a:ext>
            </a:extLst>
          </p:cNvPr>
          <p:cNvSpPr/>
          <p:nvPr/>
        </p:nvSpPr>
        <p:spPr>
          <a:xfrm>
            <a:off x="5246923" y="3175346"/>
            <a:ext cx="4987773" cy="2708530"/>
          </a:xfrm>
          <a:prstGeom prst="roundRect">
            <a:avLst>
              <a:gd name="adj" fmla="val 3626"/>
            </a:avLst>
          </a:prstGeom>
          <a:solidFill>
            <a:srgbClr val="FFFFFF">
              <a:alpha val="78824"/>
            </a:srgb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05B2C-EB7E-4A72-ADE9-34CEE117C8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9" y="1"/>
            <a:ext cx="8489590" cy="1449388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Zyfra Smart Plant Monitoring 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как средство обеспечения управляемости событий и заданий на производстве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93AA891-ED6D-44AA-A88C-F57C6A623D78}"/>
              </a:ext>
            </a:extLst>
          </p:cNvPr>
          <p:cNvSpPr/>
          <p:nvPr/>
        </p:nvSpPr>
        <p:spPr>
          <a:xfrm>
            <a:off x="7522466" y="5934664"/>
            <a:ext cx="295077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tx2">
                    <a:lumMod val="60000"/>
                    <a:lumOff val="4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rPr>
              <a:t>*Пример для НПЗ мощностью 10 млн т/год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D1B304-E8A6-1F49-82D0-582957386B16}"/>
              </a:ext>
            </a:extLst>
          </p:cNvPr>
          <p:cNvSpPr txBox="1"/>
          <p:nvPr/>
        </p:nvSpPr>
        <p:spPr>
          <a:xfrm>
            <a:off x="5967736" y="2084983"/>
            <a:ext cx="3083660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dirty="0">
                <a:solidFill>
                  <a:schemeClr val="tx2">
                    <a:lumMod val="50000"/>
                  </a:schemeClr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Увеличение исполнимости оптимального плана производства до 94,1-95%</a:t>
            </a:r>
          </a:p>
        </p:txBody>
      </p:sp>
      <p:sp>
        <p:nvSpPr>
          <p:cNvPr id="23" name="Rectangle: Rounded Corners 9">
            <a:extLst>
              <a:ext uri="{FF2B5EF4-FFF2-40B4-BE49-F238E27FC236}">
                <a16:creationId xmlns:a16="http://schemas.microsoft.com/office/drawing/2014/main" id="{C433ACCB-DA87-A343-A562-432C5F41C2E4}"/>
              </a:ext>
            </a:extLst>
          </p:cNvPr>
          <p:cNvSpPr/>
          <p:nvPr/>
        </p:nvSpPr>
        <p:spPr>
          <a:xfrm>
            <a:off x="5967735" y="1633577"/>
            <a:ext cx="2497120" cy="29677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accent3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1198BE-BDA3-6947-BAD5-F60D821F4096}"/>
              </a:ext>
            </a:extLst>
          </p:cNvPr>
          <p:cNvSpPr txBox="1"/>
          <p:nvPr/>
        </p:nvSpPr>
        <p:spPr>
          <a:xfrm>
            <a:off x="6081275" y="1695133"/>
            <a:ext cx="2033782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cap="all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Ключевой эффект</a:t>
            </a:r>
          </a:p>
        </p:txBody>
      </p:sp>
      <p:sp>
        <p:nvSpPr>
          <p:cNvPr id="27" name="Rectangle: Rounded Corners 14">
            <a:extLst>
              <a:ext uri="{FF2B5EF4-FFF2-40B4-BE49-F238E27FC236}">
                <a16:creationId xmlns:a16="http://schemas.microsoft.com/office/drawing/2014/main" id="{10D6370A-6ADA-4045-8158-1F42657829A0}"/>
              </a:ext>
            </a:extLst>
          </p:cNvPr>
          <p:cNvSpPr/>
          <p:nvPr/>
        </p:nvSpPr>
        <p:spPr>
          <a:xfrm>
            <a:off x="5967735" y="3076290"/>
            <a:ext cx="2497120" cy="29677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27000" dist="76200" dir="2700000" algn="tl" rotWithShape="0">
              <a:schemeClr val="accent3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453D4D0-E13E-9644-812D-22C430505E59}"/>
              </a:ext>
            </a:extLst>
          </p:cNvPr>
          <p:cNvSpPr txBox="1"/>
          <p:nvPr/>
        </p:nvSpPr>
        <p:spPr>
          <a:xfrm>
            <a:off x="6081275" y="3137846"/>
            <a:ext cx="2417446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cap="all" dirty="0">
                <a:solidFill>
                  <a:schemeClr val="bg1"/>
                </a:solidFill>
                <a:ea typeface="Lato" panose="020F0502020204030203" pitchFamily="34" charset="0"/>
                <a:cs typeface="Lato" panose="020F0502020204030203" pitchFamily="34" charset="0"/>
              </a:rPr>
              <a:t>качественные эффекты</a:t>
            </a:r>
          </a:p>
        </p:txBody>
      </p:sp>
      <p:sp>
        <p:nvSpPr>
          <p:cNvPr id="31" name="Glass_00">
            <a:extLst>
              <a:ext uri="{FF2B5EF4-FFF2-40B4-BE49-F238E27FC236}">
                <a16:creationId xmlns:a16="http://schemas.microsoft.com/office/drawing/2014/main" id="{7530686B-066B-FB41-9A6E-C5261242B50C}"/>
              </a:ext>
            </a:extLst>
          </p:cNvPr>
          <p:cNvSpPr/>
          <p:nvPr/>
        </p:nvSpPr>
        <p:spPr>
          <a:xfrm>
            <a:off x="828704" y="1526225"/>
            <a:ext cx="3840832" cy="4413100"/>
          </a:xfrm>
          <a:prstGeom prst="roundRect">
            <a:avLst>
              <a:gd name="adj" fmla="val 4723"/>
            </a:avLst>
          </a:prstGeom>
          <a:solidFill>
            <a:schemeClr val="accent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4" name="Rectangle: Rounded Corners 12">
            <a:extLst>
              <a:ext uri="{FF2B5EF4-FFF2-40B4-BE49-F238E27FC236}">
                <a16:creationId xmlns:a16="http://schemas.microsoft.com/office/drawing/2014/main" id="{A67122B6-5D04-A249-BBA4-E092173AAE38}"/>
              </a:ext>
            </a:extLst>
          </p:cNvPr>
          <p:cNvSpPr/>
          <p:nvPr/>
        </p:nvSpPr>
        <p:spPr>
          <a:xfrm>
            <a:off x="1406091" y="1748148"/>
            <a:ext cx="2410005" cy="613416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27000" dist="76200" dir="2700000" algn="tl" rotWithShape="0">
              <a:schemeClr val="accent3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6A41287-F0B3-6846-9AC7-D449C19E3A07}"/>
              </a:ext>
            </a:extLst>
          </p:cNvPr>
          <p:cNvSpPr txBox="1"/>
          <p:nvPr/>
        </p:nvSpPr>
        <p:spPr>
          <a:xfrm>
            <a:off x="1554289" y="1833018"/>
            <a:ext cx="1896048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cap="all" dirty="0">
                <a:solidFill>
                  <a:schemeClr val="accent1"/>
                </a:solidFill>
                <a:ea typeface="Lato" panose="020F0502020204030203" pitchFamily="34" charset="0"/>
                <a:cs typeface="Lato" panose="020F0502020204030203" pitchFamily="34" charset="0"/>
              </a:rPr>
              <a:t>Zyfra smart plant monitoring</a:t>
            </a:r>
            <a:endParaRPr kumimoji="0" lang="ru-RU" sz="1400" b="1" i="0" u="none" strike="noStrike" kern="1200" cap="all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6" name="Текст 3">
            <a:extLst>
              <a:ext uri="{FF2B5EF4-FFF2-40B4-BE49-F238E27FC236}">
                <a16:creationId xmlns:a16="http://schemas.microsoft.com/office/drawing/2014/main" id="{3CF4294B-6816-0E40-8126-3081F058BBC3}"/>
              </a:ext>
            </a:extLst>
          </p:cNvPr>
          <p:cNvSpPr txBox="1">
            <a:spLocks/>
          </p:cNvSpPr>
          <p:nvPr/>
        </p:nvSpPr>
        <p:spPr>
          <a:xfrm>
            <a:off x="1385296" y="2502836"/>
            <a:ext cx="2981175" cy="9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2CB4E9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Средство диспетчеризации производства, обеспечивающее оперативное координирование и мониторинг работы предприятия</a:t>
            </a:r>
          </a:p>
        </p:txBody>
      </p:sp>
      <p:sp>
        <p:nvSpPr>
          <p:cNvPr id="38" name="Glass_00">
            <a:extLst>
              <a:ext uri="{FF2B5EF4-FFF2-40B4-BE49-F238E27FC236}">
                <a16:creationId xmlns:a16="http://schemas.microsoft.com/office/drawing/2014/main" id="{2849A602-DBE5-C746-A113-A282325A129B}"/>
              </a:ext>
            </a:extLst>
          </p:cNvPr>
          <p:cNvSpPr/>
          <p:nvPr/>
        </p:nvSpPr>
        <p:spPr>
          <a:xfrm>
            <a:off x="677331" y="1748856"/>
            <a:ext cx="612000" cy="612000"/>
          </a:xfrm>
          <a:prstGeom prst="roundRect">
            <a:avLst>
              <a:gd name="adj" fmla="val 8944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CDC73F2-B517-B54A-9042-96841B37FFB6}"/>
              </a:ext>
            </a:extLst>
          </p:cNvPr>
          <p:cNvSpPr txBox="1"/>
          <p:nvPr/>
        </p:nvSpPr>
        <p:spPr>
          <a:xfrm>
            <a:off x="1448512" y="3624888"/>
            <a:ext cx="2982230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Lato" panose="020F0502020204030203" pitchFamily="34" charset="0"/>
                <a:cs typeface="Lato" panose="020F0502020204030203" pitchFamily="34" charset="0"/>
              </a:rPr>
              <a:t>ЦЕННОСТНОЕ ПРЕДЛОЖЕНИЕ:</a:t>
            </a:r>
          </a:p>
        </p:txBody>
      </p:sp>
      <p:sp>
        <p:nvSpPr>
          <p:cNvPr id="41" name="Текст 3">
            <a:extLst>
              <a:ext uri="{FF2B5EF4-FFF2-40B4-BE49-F238E27FC236}">
                <a16:creationId xmlns:a16="http://schemas.microsoft.com/office/drawing/2014/main" id="{90888662-F079-994B-8A26-9D50A9CABDC8}"/>
              </a:ext>
            </a:extLst>
          </p:cNvPr>
          <p:cNvSpPr txBox="1">
            <a:spLocks/>
          </p:cNvSpPr>
          <p:nvPr/>
        </p:nvSpPr>
        <p:spPr>
          <a:xfrm>
            <a:off x="1299167" y="3890490"/>
            <a:ext cx="2870497" cy="16584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2CB4E9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4077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Обеспечение минимального расхождения между планом и фактом производства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Ускорению принятия решений и реагирования на отклонения</a:t>
            </a:r>
            <a:endParaRPr lang="en-US" sz="1200" dirty="0">
              <a:solidFill>
                <a:schemeClr val="bg1"/>
              </a:solidFill>
              <a:latin typeface="+mn-lt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Усиление эффектов продуктов и приложений </a:t>
            </a:r>
            <a:r>
              <a:rPr lang="en-US" sz="1200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MES</a:t>
            </a:r>
            <a:r>
              <a:rPr lang="ru-RU" sz="1200" dirty="0">
                <a:solidFill>
                  <a:schemeClr val="bg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rPr>
              <a:t>, разработанных в ЦИП или самостоятельно</a:t>
            </a:r>
          </a:p>
        </p:txBody>
      </p:sp>
      <p:sp>
        <p:nvSpPr>
          <p:cNvPr id="42" name="Glass_00">
            <a:extLst>
              <a:ext uri="{FF2B5EF4-FFF2-40B4-BE49-F238E27FC236}">
                <a16:creationId xmlns:a16="http://schemas.microsoft.com/office/drawing/2014/main" id="{45BF21A1-DCA7-B344-8983-C33EE945EF4F}"/>
              </a:ext>
            </a:extLst>
          </p:cNvPr>
          <p:cNvSpPr/>
          <p:nvPr/>
        </p:nvSpPr>
        <p:spPr>
          <a:xfrm>
            <a:off x="5137449" y="1593748"/>
            <a:ext cx="612000" cy="612000"/>
          </a:xfrm>
          <a:prstGeom prst="roundRect">
            <a:avLst>
              <a:gd name="adj" fmla="val 8944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C8E1918-2450-344E-A2E3-83895F16E475}"/>
              </a:ext>
            </a:extLst>
          </p:cNvPr>
          <p:cNvSpPr txBox="1"/>
          <p:nvPr/>
        </p:nvSpPr>
        <p:spPr>
          <a:xfrm>
            <a:off x="5967735" y="3496411"/>
            <a:ext cx="3840833" cy="22159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lvl="0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2">
                    <a:lumMod val="50000"/>
                  </a:schemeClr>
                </a:solidFill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Повышение информированности о текущем статусе предприят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Обеспечение немедленного реагирования на отклонения и реализацию корректирующих мероприятий для управления отклонения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Снижение затрат на бумажную работу на за счет автоматически заполняемого вахтового журна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Снижения риска потери информации при ведении вахтовых журналов/отчетов</a:t>
            </a:r>
          </a:p>
        </p:txBody>
      </p:sp>
      <p:sp>
        <p:nvSpPr>
          <p:cNvPr id="44" name="Glass_00">
            <a:extLst>
              <a:ext uri="{FF2B5EF4-FFF2-40B4-BE49-F238E27FC236}">
                <a16:creationId xmlns:a16="http://schemas.microsoft.com/office/drawing/2014/main" id="{4DFE5066-830A-264C-8BB9-06C057E436D2}"/>
              </a:ext>
            </a:extLst>
          </p:cNvPr>
          <p:cNvSpPr/>
          <p:nvPr/>
        </p:nvSpPr>
        <p:spPr>
          <a:xfrm>
            <a:off x="5137449" y="3067066"/>
            <a:ext cx="612000" cy="612000"/>
          </a:xfrm>
          <a:prstGeom prst="roundRect">
            <a:avLst>
              <a:gd name="adj" fmla="val 8944"/>
            </a:avLst>
          </a:prstGeom>
          <a:solidFill>
            <a:schemeClr val="bg1"/>
          </a:solidFill>
          <a:ln>
            <a:gradFill>
              <a:gsLst>
                <a:gs pos="0">
                  <a:schemeClr val="bg1">
                    <a:alpha val="19000"/>
                  </a:schemeClr>
                </a:gs>
                <a:gs pos="100000">
                  <a:schemeClr val="bg1">
                    <a:alpha val="13000"/>
                  </a:schemeClr>
                </a:gs>
              </a:gsLst>
              <a:lin ang="5400000" scaled="1"/>
            </a:gradFill>
          </a:ln>
          <a:effectLst>
            <a:outerShdw blurRad="177800" sx="102000" sy="102000" algn="ctr" rotWithShape="0">
              <a:prstClr val="black">
                <a:alpha val="10000"/>
              </a:prstClr>
            </a:outerShdw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6311577-58B1-2646-8B9A-C4EFD7A89350}"/>
              </a:ext>
            </a:extLst>
          </p:cNvPr>
          <p:cNvSpPr txBox="1"/>
          <p:nvPr/>
        </p:nvSpPr>
        <p:spPr>
          <a:xfrm>
            <a:off x="9652326" y="1542581"/>
            <a:ext cx="202674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1000"/>
              </a:spcBef>
            </a:pPr>
            <a:r>
              <a:rPr lang="ru-RU" sz="1200" b="1" dirty="0">
                <a:solidFill>
                  <a:schemeClr val="bg1"/>
                </a:solidFill>
              </a:rPr>
              <a:t>ДОПОЛНИТЕЛЬНАЯ ВЫРУЧКА</a:t>
            </a:r>
            <a:endParaRPr lang="en-US" sz="1200" b="1" dirty="0">
              <a:solidFill>
                <a:schemeClr val="bg1"/>
              </a:solidFill>
            </a:endParaRP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A5DCCE93-95DB-DD46-9548-1124C615EA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7290" y="1808634"/>
            <a:ext cx="457200" cy="457200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B7E4F55B-C2DF-5149-B762-F6496C0DB6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214849" y="3137846"/>
            <a:ext cx="457200" cy="457200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980AC43D-B90F-0A47-8BDC-B6C4B48AA3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209918" y="1651199"/>
            <a:ext cx="457200" cy="4572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6FEEED74-1F44-124E-89F3-430950A07474}"/>
              </a:ext>
            </a:extLst>
          </p:cNvPr>
          <p:cNvSpPr txBox="1"/>
          <p:nvPr/>
        </p:nvSpPr>
        <p:spPr>
          <a:xfrm>
            <a:off x="9591969" y="1814196"/>
            <a:ext cx="127750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ОТ</a:t>
            </a:r>
            <a:r>
              <a:rPr lang="ru-RU" sz="2000" b="1" dirty="0">
                <a:solidFill>
                  <a:schemeClr val="bg1"/>
                </a:solidFill>
              </a:rPr>
              <a:t> </a:t>
            </a:r>
            <a:r>
              <a:rPr lang="ru-RU" sz="4400" b="1" dirty="0">
                <a:solidFill>
                  <a:schemeClr val="bg1"/>
                </a:solidFill>
              </a:rPr>
              <a:t>70</a:t>
            </a:r>
            <a:endParaRPr lang="ru-RU" sz="4400" dirty="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D10964F-6B7B-6540-A0E3-7402B0E1BFB9}"/>
              </a:ext>
            </a:extLst>
          </p:cNvPr>
          <p:cNvSpPr txBox="1"/>
          <p:nvPr/>
        </p:nvSpPr>
        <p:spPr>
          <a:xfrm>
            <a:off x="10707735" y="1877470"/>
            <a:ext cx="12775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bg1"/>
                </a:solidFill>
              </a:rPr>
              <a:t>МЛН Р/</a:t>
            </a:r>
          </a:p>
          <a:p>
            <a:r>
              <a:rPr lang="ru-RU" sz="1800" b="1" dirty="0">
                <a:solidFill>
                  <a:schemeClr val="bg1"/>
                </a:solidFill>
              </a:rPr>
              <a:t>ГОД*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22038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J7b_GkQPC7WHXbIJwbTQ"/>
</p:tagLst>
</file>

<file path=ppt/theme/theme1.xml><?xml version="1.0" encoding="utf-8"?>
<a:theme xmlns:a="http://schemas.openxmlformats.org/drawingml/2006/main" name="Тема2">
  <a:themeElements>
    <a:clrScheme name="Цифра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FBB48"/>
      </a:accent1>
      <a:accent2>
        <a:srgbClr val="B5CE4A"/>
      </a:accent2>
      <a:accent3>
        <a:srgbClr val="12151A"/>
      </a:accent3>
      <a:accent4>
        <a:srgbClr val="181F26"/>
      </a:accent4>
      <a:accent5>
        <a:srgbClr val="647C9C"/>
      </a:accent5>
      <a:accent6>
        <a:srgbClr val="CAD2DE"/>
      </a:accent6>
      <a:hlink>
        <a:srgbClr val="0563C1"/>
      </a:hlink>
      <a:folHlink>
        <a:srgbClr val="954F72"/>
      </a:folHlink>
    </a:clrScheme>
    <a:fontScheme name="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wrap="square">
        <a:spAutoFit/>
      </a:bodyPr>
      <a:lstStyle>
        <a:defPPr algn="l">
          <a:defRPr sz="1400" b="0" i="0" dirty="0">
            <a:solidFill>
              <a:srgbClr val="FFFFFF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defRPr>
        </a:defPPr>
      </a:lstStyle>
    </a:spDef>
    <a:txDef>
      <a:spPr/>
      <a:bodyPr wrap="none" rtlCol="0">
        <a:spAutoFit/>
      </a:bodyPr>
      <a:lstStyle>
        <a:defPPr algn="l">
          <a:defRPr sz="1600" dirty="0">
            <a:solidFill>
              <a:schemeClr val="tx2">
                <a:lumMod val="50000"/>
              </a:schemeClr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Тема2" id="{D3C93F6A-8100-2749-9AAA-2625481FFF5E}" vid="{D5C23F94-79BA-0749-A3E4-0B4BB301AC7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981</TotalTime>
  <Words>2594</Words>
  <Application>Microsoft Office PowerPoint</Application>
  <PresentationFormat>Широкоэкранный</PresentationFormat>
  <Paragraphs>357</Paragraphs>
  <Slides>17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0" baseType="lpstr">
      <vt:lpstr>Arial</vt:lpstr>
      <vt:lpstr>Arial Black</vt:lpstr>
      <vt:lpstr>Calibri</vt:lpstr>
      <vt:lpstr>Lato</vt:lpstr>
      <vt:lpstr>Lato Black</vt:lpstr>
      <vt:lpstr>Open Sans</vt:lpstr>
      <vt:lpstr>Open Sans ExtraBold</vt:lpstr>
      <vt:lpstr>Open Sans Light</vt:lpstr>
      <vt:lpstr>Poppins SemiBold</vt:lpstr>
      <vt:lpstr>Tahoma</vt:lpstr>
      <vt:lpstr>Wingdings</vt:lpstr>
      <vt:lpstr>Тема2</vt:lpstr>
      <vt:lpstr>think-cell Slide</vt:lpstr>
      <vt:lpstr>Презентация PowerPoint</vt:lpstr>
      <vt:lpstr>ООО «ЦИФРОВАЯ ИНДУСТРИАЛЬНАЯ ПЛАТФОРМА» </vt:lpstr>
      <vt:lpstr>Основная проблема типового нефтеперерабатывающего/химического предприятия – отклонения от оптимального плана производства</vt:lpstr>
      <vt:lpstr>Переход к событийному управлению по исполнимости, качеству, энергетике, и безопасности для повышения исполнимости плана производства</vt:lpstr>
      <vt:lpstr>Человек как драйвер достижения исполнимости оптимального плана производства</vt:lpstr>
      <vt:lpstr>Обеспечение управляемости событий и реализации корректирующих мероприятий</vt:lpstr>
      <vt:lpstr>Эффективность любого управляющего воздействия необходимо регулярно отслеживать </vt:lpstr>
      <vt:lpstr>Отслеживание эффективности событийного управления на основе расчета КПЭ</vt:lpstr>
      <vt:lpstr>Zyfra Smart Plant Monitoring как средство обеспечения управляемости событий и заданий на производстве</vt:lpstr>
      <vt:lpstr>Ключевые пользователи продукта</vt:lpstr>
      <vt:lpstr>Z-SPM состоит из модулей, позволяющих реализовать процессы управления отклонениями на производстве</vt:lpstr>
      <vt:lpstr>Z-SPM позволяет контролировать целевые режимы и параметры работ, рассчитанные в других продуктах компании</vt:lpstr>
      <vt:lpstr>Сценарий использования всех модулей Z-SPM *на примере взаимодействия с системой Z-EFAA (Энергоконтроль)</vt:lpstr>
      <vt:lpstr>Ключевые преимущества продукта</vt:lpstr>
      <vt:lpstr>Кейсы и референсы</vt:lpstr>
      <vt:lpstr>Этапы развития продукт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astasiya Zatsepina</dc:creator>
  <cp:lastModifiedBy>Anastasiya Zatsepina</cp:lastModifiedBy>
  <cp:revision>188</cp:revision>
  <dcterms:created xsi:type="dcterms:W3CDTF">2024-04-03T05:39:06Z</dcterms:created>
  <dcterms:modified xsi:type="dcterms:W3CDTF">2024-07-31T06:20:13Z</dcterms:modified>
</cp:coreProperties>
</file>